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tif" ContentType="image/tiff"/>
  <Default Extension="tiff" ContentType="image/tiff"/>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2.xml" ContentType="application/vnd.openxmlformats-officedocument.themeOverr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7.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8.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notesSlides/notesSlide9.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notesSlides/notesSlide19.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notesSlides/notesSlide20.xml" ContentType="application/vnd.openxmlformats-officedocument.presentationml.notesSlide+xml"/>
  <Override PartName="/ppt/charts/chart5.xml" ContentType="application/vnd.openxmlformats-officedocument.drawingml.chart+xml"/>
  <Override PartName="/ppt/notesSlides/notesSlide21.xml" ContentType="application/vnd.openxmlformats-officedocument.presentationml.notesSlide+xml"/>
  <Override PartName="/ppt/tags/tag33.xml" ContentType="application/vnd.openxmlformats-officedocument.presentationml.tags+xml"/>
  <Override PartName="/ppt/tags/tag34.xml" ContentType="application/vnd.openxmlformats-officedocument.presentationml.tags+xml"/>
  <Override PartName="/ppt/charts/chart6.xml" ContentType="application/vnd.openxmlformats-officedocument.drawingml.chart+xml"/>
  <Override PartName="/ppt/charts/chart7.xml" ContentType="application/vnd.openxmlformats-officedocument.drawingml.chart+xml"/>
  <Override PartName="/ppt/tags/tag35.xml" ContentType="application/vnd.openxmlformats-officedocument.presentationml.tags+xml"/>
  <Override PartName="/ppt/tags/tag36.xml" ContentType="application/vnd.openxmlformats-officedocument.presentationml.tags+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notesSlides/notesSlide27.xml" ContentType="application/vnd.openxmlformats-officedocument.presentationml.notesSlide+xml"/>
  <Override PartName="/ppt/tags/tag42.xml" ContentType="application/vnd.openxmlformats-officedocument.presentationml.tags+xml"/>
  <Override PartName="/ppt/tags/tag43.xml" ContentType="application/vnd.openxmlformats-officedocument.presentationml.tags+xml"/>
  <Override PartName="/ppt/charts/chart8.xml" ContentType="application/vnd.openxmlformats-officedocument.drawingml.chart+xml"/>
  <Override PartName="/ppt/tags/tag44.xml" ContentType="application/vnd.openxmlformats-officedocument.presentationml.tags+xml"/>
  <Override PartName="/ppt/tags/tag45.xml" ContentType="application/vnd.openxmlformats-officedocument.presentationml.tags+xml"/>
  <Override PartName="/ppt/charts/chart9.xml" ContentType="application/vnd.openxmlformats-officedocument.drawingml.chart+xml"/>
  <Override PartName="/ppt/notesSlides/notesSlide28.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08" r:id="rId1"/>
  </p:sldMasterIdLst>
  <p:notesMasterIdLst>
    <p:notesMasterId r:id="rId58"/>
  </p:notesMasterIdLst>
  <p:sldIdLst>
    <p:sldId id="257" r:id="rId2"/>
    <p:sldId id="561" r:id="rId3"/>
    <p:sldId id="1048" r:id="rId4"/>
    <p:sldId id="1062" r:id="rId5"/>
    <p:sldId id="1204" r:id="rId6"/>
    <p:sldId id="259" r:id="rId7"/>
    <p:sldId id="1216" r:id="rId8"/>
    <p:sldId id="1207" r:id="rId9"/>
    <p:sldId id="1192" r:id="rId10"/>
    <p:sldId id="2960" r:id="rId11"/>
    <p:sldId id="2961" r:id="rId12"/>
    <p:sldId id="1162" r:id="rId13"/>
    <p:sldId id="1163" r:id="rId14"/>
    <p:sldId id="735" r:id="rId15"/>
    <p:sldId id="716" r:id="rId16"/>
    <p:sldId id="413" r:id="rId17"/>
    <p:sldId id="792" r:id="rId18"/>
    <p:sldId id="790" r:id="rId19"/>
    <p:sldId id="572" r:id="rId20"/>
    <p:sldId id="573" r:id="rId21"/>
    <p:sldId id="728" r:id="rId22"/>
    <p:sldId id="646" r:id="rId23"/>
    <p:sldId id="2962" r:id="rId24"/>
    <p:sldId id="1088" r:id="rId25"/>
    <p:sldId id="1094" r:id="rId26"/>
    <p:sldId id="1202" r:id="rId27"/>
    <p:sldId id="1095" r:id="rId28"/>
    <p:sldId id="651" r:id="rId29"/>
    <p:sldId id="290" r:id="rId30"/>
    <p:sldId id="558" r:id="rId31"/>
    <p:sldId id="734" r:id="rId32"/>
    <p:sldId id="2963" r:id="rId33"/>
    <p:sldId id="532" r:id="rId34"/>
    <p:sldId id="789" r:id="rId35"/>
    <p:sldId id="693" r:id="rId36"/>
    <p:sldId id="822" r:id="rId37"/>
    <p:sldId id="1256" r:id="rId38"/>
    <p:sldId id="689" r:id="rId39"/>
    <p:sldId id="688" r:id="rId40"/>
    <p:sldId id="273" r:id="rId41"/>
    <p:sldId id="1165" r:id="rId42"/>
    <p:sldId id="744" r:id="rId43"/>
    <p:sldId id="1188" r:id="rId44"/>
    <p:sldId id="574" r:id="rId45"/>
    <p:sldId id="738" r:id="rId46"/>
    <p:sldId id="743" r:id="rId47"/>
    <p:sldId id="804" r:id="rId48"/>
    <p:sldId id="457" r:id="rId49"/>
    <p:sldId id="458" r:id="rId50"/>
    <p:sldId id="461" r:id="rId51"/>
    <p:sldId id="741" r:id="rId52"/>
    <p:sldId id="742" r:id="rId53"/>
    <p:sldId id="1206" r:id="rId54"/>
    <p:sldId id="696" r:id="rId55"/>
    <p:sldId id="1042" r:id="rId56"/>
    <p:sldId id="1034" r:id="rId57"/>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88AE8DE-2447-4A54-A35C-D622A1DFBA03}" v="58" dt="2023-08-30T17:23:55.139"/>
  </p1510:revLst>
</p1510:revInfo>
</file>

<file path=ppt/tableStyles.xml><?xml version="1.0" encoding="utf-8"?>
<a:tblStyleLst xmlns:a="http://schemas.openxmlformats.org/drawingml/2006/main" def="{5C22544A-7EE6-4342-B048-85BDC9FD1C3A}">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83" autoAdjust="0"/>
    <p:restoredTop sz="94660"/>
  </p:normalViewPr>
  <p:slideViewPr>
    <p:cSldViewPr snapToGrid="0">
      <p:cViewPr varScale="1">
        <p:scale>
          <a:sx n="106" d="100"/>
          <a:sy n="106" d="100"/>
        </p:scale>
        <p:origin x="832" y="176"/>
      </p:cViewPr>
      <p:guideLst/>
    </p:cSldViewPr>
  </p:slideViewPr>
  <p:notesTextViewPr>
    <p:cViewPr>
      <p:scale>
        <a:sx n="1" d="1"/>
        <a:sy n="1" d="1"/>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microsoft.com/office/2015/10/relationships/revisionInfo" Target="revisionInfo.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notesMaster" Target="notesMasters/notesMaster1.xml"/><Relationship Id="rId5" Type="http://schemas.openxmlformats.org/officeDocument/2006/relationships/slide" Target="slides/slide4.xml"/><Relationship Id="rId61" Type="http://schemas.openxmlformats.org/officeDocument/2006/relationships/theme" Target="theme/theme1.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presProps" Target="presProps.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file:///C:\Users\Noreen\Documents\CCI%20Documents\CCI%20Market%20Model\Market%20Model%20Iterations\CCI%20Market%20Model%2011%204%2009.xlsx" TargetMode="External"/><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2400" b="1" i="0" u="none" strike="noStrike" kern="1200" spc="0" baseline="0">
                <a:solidFill>
                  <a:schemeClr val="tx1">
                    <a:lumMod val="65000"/>
                    <a:lumOff val="35000"/>
                  </a:schemeClr>
                </a:solidFill>
                <a:latin typeface="+mn-lt"/>
                <a:ea typeface="+mn-ea"/>
                <a:cs typeface="+mn-cs"/>
              </a:defRPr>
            </a:pPr>
            <a:r>
              <a:rPr lang="en-US" sz="2400" b="1" dirty="0"/>
              <a:t>Group</a:t>
            </a:r>
            <a:r>
              <a:rPr lang="en-US" sz="2400" b="1" baseline="0" dirty="0"/>
              <a:t> A – Continued CPAP at 1 year</a:t>
            </a:r>
            <a:endParaRPr lang="en-US" sz="2400" b="1" dirty="0"/>
          </a:p>
        </c:rich>
      </c:tx>
      <c:layout>
        <c:manualLayout>
          <c:xMode val="edge"/>
          <c:yMode val="edge"/>
          <c:x val="0.11144602414388922"/>
          <c:y val="0"/>
        </c:manualLayout>
      </c:layout>
      <c:overlay val="0"/>
      <c:spPr>
        <a:noFill/>
        <a:ln>
          <a:noFill/>
        </a:ln>
        <a:effectLst/>
      </c:spPr>
      <c:txPr>
        <a:bodyPr rot="0" spcFirstLastPara="1" vertOverflow="ellipsis" vert="horz" wrap="square" anchor="ctr" anchorCtr="1"/>
        <a:lstStyle/>
        <a:p>
          <a:pPr>
            <a:defRPr sz="24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24383835074739368"/>
          <c:y val="0.11201011860404565"/>
          <c:w val="0.49943684552317558"/>
          <c:h val="0.77335830811912476"/>
        </c:manualLayout>
      </c:layout>
      <c:pieChart>
        <c:varyColors val="1"/>
        <c:ser>
          <c:idx val="0"/>
          <c:order val="0"/>
          <c:spPr>
            <a:solidFill>
              <a:srgbClr val="FF9900"/>
            </a:solidFill>
          </c:spPr>
          <c:dPt>
            <c:idx val="0"/>
            <c:bubble3D val="0"/>
            <c:spPr>
              <a:solidFill>
                <a:srgbClr val="0083C7"/>
              </a:solidFill>
              <a:ln w="19050">
                <a:solidFill>
                  <a:schemeClr val="lt1"/>
                </a:solidFill>
              </a:ln>
              <a:effectLst/>
            </c:spPr>
            <c:extLst>
              <c:ext xmlns:c16="http://schemas.microsoft.com/office/drawing/2014/chart" uri="{C3380CC4-5D6E-409C-BE32-E72D297353CC}">
                <c16:uniqueId val="{00000001-D43D-4A56-BC4D-5A67B85BEC02}"/>
              </c:ext>
            </c:extLst>
          </c:dPt>
          <c:dPt>
            <c:idx val="1"/>
            <c:bubble3D val="0"/>
            <c:spPr>
              <a:solidFill>
                <a:srgbClr val="E89041"/>
              </a:solidFill>
              <a:ln w="19050">
                <a:solidFill>
                  <a:schemeClr val="lt1"/>
                </a:solidFill>
              </a:ln>
              <a:effectLst/>
            </c:spPr>
            <c:extLst>
              <c:ext xmlns:c16="http://schemas.microsoft.com/office/drawing/2014/chart" uri="{C3380CC4-5D6E-409C-BE32-E72D297353CC}">
                <c16:uniqueId val="{00000003-D43D-4A56-BC4D-5A67B85BEC02}"/>
              </c:ext>
            </c:extLst>
          </c:dPt>
          <c:dLbls>
            <c:dLbl>
              <c:idx val="0"/>
              <c:layout>
                <c:manualLayout>
                  <c:x val="-0.15832106038291613"/>
                  <c:y val="-0.22090587094515135"/>
                </c:manualLayout>
              </c:layout>
              <c:tx>
                <c:rich>
                  <a:bodyPr rot="0" spcFirstLastPara="1" vertOverflow="ellipsis" vert="horz" wrap="square" lIns="38100" tIns="19050" rIns="38100" bIns="19050" anchor="ctr" anchorCtr="1">
                    <a:noAutofit/>
                  </a:bodyPr>
                  <a:lstStyle/>
                  <a:p>
                    <a:pPr>
                      <a:defRPr sz="2000" b="1" i="0" u="none" strike="noStrike" kern="1200" baseline="0">
                        <a:solidFill>
                          <a:schemeClr val="bg1"/>
                        </a:solidFill>
                        <a:latin typeface="+mn-lt"/>
                        <a:ea typeface="+mn-ea"/>
                        <a:cs typeface="+mn-cs"/>
                      </a:defRPr>
                    </a:pPr>
                    <a:fld id="{99C27BDD-43E3-4DCB-8299-CA5B29E6B3EC}" type="VALUE">
                      <a:rPr lang="en-US" sz="2000" b="1" smtClean="0">
                        <a:solidFill>
                          <a:schemeClr val="bg1"/>
                        </a:solidFill>
                      </a:rPr>
                      <a:pPr>
                        <a:defRPr sz="2000" b="1">
                          <a:solidFill>
                            <a:schemeClr val="bg1"/>
                          </a:solidFill>
                        </a:defRPr>
                      </a:pPr>
                      <a:t>[VALUE]</a:t>
                    </a:fld>
                    <a:r>
                      <a:rPr lang="en-US" sz="2000" b="1" dirty="0">
                        <a:solidFill>
                          <a:schemeClr val="bg1"/>
                        </a:solidFill>
                      </a:rPr>
                      <a:t>%</a:t>
                    </a:r>
                  </a:p>
                </c:rich>
              </c:tx>
              <c:spPr>
                <a:noFill/>
                <a:ln>
                  <a:noFill/>
                </a:ln>
                <a:effectLst/>
              </c:spPr>
              <c:txPr>
                <a:bodyPr rot="0" spcFirstLastPara="1" vertOverflow="ellipsis" vert="horz" wrap="square" lIns="38100" tIns="19050" rIns="38100" bIns="19050" anchor="ctr" anchorCtr="1">
                  <a:noAutofit/>
                </a:bodyPr>
                <a:lstStyle/>
                <a:p>
                  <a:pPr>
                    <a:defRPr sz="2000" b="1" i="0" u="none" strike="noStrike" kern="1200" baseline="0">
                      <a:solidFill>
                        <a:schemeClr val="bg1"/>
                      </a:solidFill>
                      <a:latin typeface="+mn-lt"/>
                      <a:ea typeface="+mn-ea"/>
                      <a:cs typeface="+mn-cs"/>
                    </a:defRPr>
                  </a:pPr>
                  <a:endParaRPr lang="en-US"/>
                </a:p>
              </c:txPr>
              <c:dLblPos val="bestFit"/>
              <c:showLegendKey val="0"/>
              <c:showVal val="1"/>
              <c:showCatName val="0"/>
              <c:showSerName val="0"/>
              <c:showPercent val="0"/>
              <c:showBubbleSize val="0"/>
              <c:extLst>
                <c:ext xmlns:c15="http://schemas.microsoft.com/office/drawing/2012/chart" uri="{CE6537A1-D6FC-4f65-9D91-7224C49458BB}">
                  <c15:layout>
                    <c:manualLayout>
                      <c:w val="0.1132179675994109"/>
                      <c:h val="6.698973774230331E-2"/>
                    </c:manualLayout>
                  </c15:layout>
                  <c15:dlblFieldTable/>
                  <c15:showDataLabelsRange val="0"/>
                </c:ext>
                <c:ext xmlns:c16="http://schemas.microsoft.com/office/drawing/2014/chart" uri="{C3380CC4-5D6E-409C-BE32-E72D297353CC}">
                  <c16:uniqueId val="{00000001-D43D-4A56-BC4D-5A67B85BEC02}"/>
                </c:ext>
              </c:extLst>
            </c:dLbl>
            <c:dLbl>
              <c:idx val="1"/>
              <c:layout>
                <c:manualLayout>
                  <c:x val="0.11966126656848307"/>
                  <c:y val="0.18714883416083822"/>
                </c:manualLayout>
              </c:layout>
              <c:tx>
                <c:rich>
                  <a:bodyPr rot="0" spcFirstLastPara="1" vertOverflow="ellipsis" vert="horz" wrap="square" lIns="38100" tIns="19050" rIns="38100" bIns="19050" anchor="ctr" anchorCtr="1">
                    <a:noAutofit/>
                  </a:bodyPr>
                  <a:lstStyle/>
                  <a:p>
                    <a:pPr>
                      <a:defRPr sz="2000" b="1" i="0" u="none" strike="noStrike" kern="1200" baseline="0">
                        <a:solidFill>
                          <a:schemeClr val="bg1"/>
                        </a:solidFill>
                        <a:latin typeface="+mn-lt"/>
                        <a:ea typeface="+mn-ea"/>
                        <a:cs typeface="+mn-cs"/>
                      </a:defRPr>
                    </a:pPr>
                    <a:fld id="{895E2D76-EAA5-40F5-B0DF-B5185C3FF610}" type="VALUE">
                      <a:rPr lang="en-US" sz="2000" b="1" smtClean="0">
                        <a:solidFill>
                          <a:schemeClr val="bg1"/>
                        </a:solidFill>
                      </a:rPr>
                      <a:pPr>
                        <a:defRPr sz="2000" b="1">
                          <a:solidFill>
                            <a:schemeClr val="bg1"/>
                          </a:solidFill>
                        </a:defRPr>
                      </a:pPr>
                      <a:t>[VALUE]</a:t>
                    </a:fld>
                    <a:r>
                      <a:rPr lang="en-US" sz="2000" b="1" dirty="0">
                        <a:solidFill>
                          <a:schemeClr val="bg1"/>
                        </a:solidFill>
                      </a:rPr>
                      <a:t>%</a:t>
                    </a:r>
                  </a:p>
                </c:rich>
              </c:tx>
              <c:spPr>
                <a:noFill/>
                <a:ln>
                  <a:noFill/>
                </a:ln>
                <a:effectLst/>
              </c:spPr>
              <c:txPr>
                <a:bodyPr rot="0" spcFirstLastPara="1" vertOverflow="ellipsis" vert="horz" wrap="square" lIns="38100" tIns="19050" rIns="38100" bIns="19050" anchor="ctr" anchorCtr="1">
                  <a:noAutofit/>
                </a:bodyPr>
                <a:lstStyle/>
                <a:p>
                  <a:pPr>
                    <a:defRPr sz="2000" b="1" i="0" u="none" strike="noStrike" kern="1200" baseline="0">
                      <a:solidFill>
                        <a:schemeClr val="bg1"/>
                      </a:solidFill>
                      <a:latin typeface="+mn-lt"/>
                      <a:ea typeface="+mn-ea"/>
                      <a:cs typeface="+mn-cs"/>
                    </a:defRPr>
                  </a:pPr>
                  <a:endParaRPr lang="en-US"/>
                </a:p>
              </c:txPr>
              <c:dLblPos val="bestFit"/>
              <c:showLegendKey val="0"/>
              <c:showVal val="1"/>
              <c:showCatName val="0"/>
              <c:showSerName val="0"/>
              <c:showPercent val="0"/>
              <c:showBubbleSize val="0"/>
              <c:extLst>
                <c:ext xmlns:c15="http://schemas.microsoft.com/office/drawing/2012/chart" uri="{CE6537A1-D6FC-4f65-9D91-7224C49458BB}">
                  <c15:layout>
                    <c:manualLayout>
                      <c:w val="0.1132179675994109"/>
                      <c:h val="8.908209806157355E-2"/>
                    </c:manualLayout>
                  </c15:layout>
                  <c15:dlblFieldTable/>
                  <c15:showDataLabelsRange val="0"/>
                </c:ext>
                <c:ext xmlns:c16="http://schemas.microsoft.com/office/drawing/2014/chart" uri="{C3380CC4-5D6E-409C-BE32-E72D297353CC}">
                  <c16:uniqueId val="{00000003-D43D-4A56-BC4D-5A67B85BEC02}"/>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bestFit"/>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6:$A$7</c:f>
              <c:strCache>
                <c:ptCount val="2"/>
                <c:pt idx="0">
                  <c:v>Normal Rhythm</c:v>
                </c:pt>
                <c:pt idx="1">
                  <c:v>Atrial Fibrillation</c:v>
                </c:pt>
              </c:strCache>
            </c:strRef>
          </c:cat>
          <c:val>
            <c:numRef>
              <c:f>Sheet1!$A$2:$A$3</c:f>
              <c:numCache>
                <c:formatCode>General</c:formatCode>
                <c:ptCount val="2"/>
                <c:pt idx="0">
                  <c:v>76.5</c:v>
                </c:pt>
                <c:pt idx="1">
                  <c:v>23.5</c:v>
                </c:pt>
              </c:numCache>
            </c:numRef>
          </c:val>
          <c:extLst>
            <c:ext xmlns:c16="http://schemas.microsoft.com/office/drawing/2014/chart" uri="{C3380CC4-5D6E-409C-BE32-E72D297353CC}">
              <c16:uniqueId val="{00000004-D43D-4A56-BC4D-5A67B85BEC02}"/>
            </c:ext>
          </c:extLst>
        </c:ser>
        <c:dLbls>
          <c:dLblPos val="bestFit"/>
          <c:showLegendKey val="0"/>
          <c:showVal val="1"/>
          <c:showCatName val="0"/>
          <c:showSerName val="0"/>
          <c:showPercent val="0"/>
          <c:showBubbleSize val="0"/>
          <c:showLeaderLines val="1"/>
        </c:dLbls>
        <c:firstSliceAng val="0"/>
      </c:pieChart>
      <c:spPr>
        <a:noFill/>
        <a:ln>
          <a:noFill/>
        </a:ln>
        <a:effectLst/>
      </c:spPr>
    </c:plotArea>
    <c:legend>
      <c:legendPos val="b"/>
      <c:layout>
        <c:manualLayout>
          <c:xMode val="edge"/>
          <c:yMode val="edge"/>
          <c:x val="0.23055950158292068"/>
          <c:y val="0.90762127510571999"/>
          <c:w val="0.57379338536291213"/>
          <c:h val="9.2378724894279896E-2"/>
        </c:manualLayout>
      </c:layout>
      <c:overlay val="0"/>
      <c:spPr>
        <a:noFill/>
        <a:ln>
          <a:noFill/>
        </a:ln>
        <a:effectLst/>
      </c:spPr>
      <c:txPr>
        <a:bodyPr rot="0" spcFirstLastPara="1" vertOverflow="ellipsis" vert="horz" wrap="square" anchor="ctr" anchorCtr="1"/>
        <a:lstStyle/>
        <a:p>
          <a:pPr rtl="0">
            <a:defRPr sz="18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4">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2400" b="1" i="0" u="none" strike="noStrike" kern="1200" spc="0" baseline="0">
                <a:solidFill>
                  <a:schemeClr val="tx1">
                    <a:lumMod val="65000"/>
                    <a:lumOff val="35000"/>
                  </a:schemeClr>
                </a:solidFill>
                <a:latin typeface="+mn-lt"/>
                <a:ea typeface="+mn-ea"/>
                <a:cs typeface="+mn-cs"/>
              </a:defRPr>
            </a:pPr>
            <a:r>
              <a:rPr lang="en-US" sz="2400" b="1" dirty="0"/>
              <a:t>Group</a:t>
            </a:r>
            <a:r>
              <a:rPr lang="en-US" sz="2400" b="1" baseline="0" dirty="0"/>
              <a:t> B – </a:t>
            </a:r>
            <a:r>
              <a:rPr lang="en-US" sz="2400" b="1" i="0" u="none" strike="noStrike" baseline="0" dirty="0">
                <a:effectLst/>
              </a:rPr>
              <a:t>Stopped CPAP at 1 year</a:t>
            </a:r>
            <a:endParaRPr lang="en-US" sz="2400" b="1" dirty="0"/>
          </a:p>
        </c:rich>
      </c:tx>
      <c:layout>
        <c:manualLayout>
          <c:xMode val="edge"/>
          <c:yMode val="edge"/>
          <c:x val="0.13056414017835397"/>
          <c:y val="2.8066887592115195E-3"/>
        </c:manualLayout>
      </c:layout>
      <c:overlay val="0"/>
      <c:spPr>
        <a:noFill/>
        <a:ln>
          <a:noFill/>
        </a:ln>
        <a:effectLst/>
      </c:spPr>
      <c:txPr>
        <a:bodyPr rot="0" spcFirstLastPara="1" vertOverflow="ellipsis" vert="horz" wrap="square" anchor="ctr" anchorCtr="1"/>
        <a:lstStyle/>
        <a:p>
          <a:pPr>
            <a:defRPr sz="24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23389233240174875"/>
          <c:y val="0.12247373149270536"/>
          <c:w val="0.49355554138206953"/>
          <c:h val="0.7524714883516892"/>
        </c:manualLayout>
      </c:layout>
      <c:pieChart>
        <c:varyColors val="1"/>
        <c:ser>
          <c:idx val="0"/>
          <c:order val="0"/>
          <c:dPt>
            <c:idx val="0"/>
            <c:bubble3D val="0"/>
            <c:spPr>
              <a:solidFill>
                <a:srgbClr val="0083C7"/>
              </a:solidFill>
              <a:ln w="19050">
                <a:solidFill>
                  <a:schemeClr val="lt1"/>
                </a:solidFill>
              </a:ln>
              <a:effectLst/>
            </c:spPr>
            <c:extLst>
              <c:ext xmlns:c16="http://schemas.microsoft.com/office/drawing/2014/chart" uri="{C3380CC4-5D6E-409C-BE32-E72D297353CC}">
                <c16:uniqueId val="{00000001-0479-4ED7-8B49-2FDA898EACBE}"/>
              </c:ext>
            </c:extLst>
          </c:dPt>
          <c:dPt>
            <c:idx val="1"/>
            <c:bubble3D val="0"/>
            <c:spPr>
              <a:solidFill>
                <a:srgbClr val="E89041"/>
              </a:solidFill>
              <a:ln w="19050">
                <a:solidFill>
                  <a:schemeClr val="lt1"/>
                </a:solidFill>
              </a:ln>
              <a:effectLst/>
            </c:spPr>
            <c:extLst>
              <c:ext xmlns:c16="http://schemas.microsoft.com/office/drawing/2014/chart" uri="{C3380CC4-5D6E-409C-BE32-E72D297353CC}">
                <c16:uniqueId val="{00000003-0479-4ED7-8B49-2FDA898EACBE}"/>
              </c:ext>
            </c:extLst>
          </c:dPt>
          <c:dLbls>
            <c:dLbl>
              <c:idx val="0"/>
              <c:layout>
                <c:manualLayout>
                  <c:x val="-0.18275428200340943"/>
                  <c:y val="7.8214901749318499E-2"/>
                </c:manualLayout>
              </c:layout>
              <c:tx>
                <c:rich>
                  <a:bodyPr rot="0" spcFirstLastPara="1" vertOverflow="ellipsis" vert="horz" wrap="square" lIns="38100" tIns="19050" rIns="38100" bIns="19050" anchor="ctr" anchorCtr="1">
                    <a:noAutofit/>
                  </a:bodyPr>
                  <a:lstStyle/>
                  <a:p>
                    <a:pPr>
                      <a:defRPr sz="2000" b="1" i="0" u="none" strike="noStrike" kern="1200" baseline="0">
                        <a:solidFill>
                          <a:schemeClr val="bg1"/>
                        </a:solidFill>
                        <a:latin typeface="+mn-lt"/>
                        <a:ea typeface="+mn-ea"/>
                        <a:cs typeface="+mn-cs"/>
                      </a:defRPr>
                    </a:pPr>
                    <a:fld id="{467645FA-48EB-4701-A31F-73DBD2A2DD43}" type="VALUE">
                      <a:rPr lang="en-US" sz="2000" b="1" smtClean="0">
                        <a:solidFill>
                          <a:schemeClr val="bg1"/>
                        </a:solidFill>
                      </a:rPr>
                      <a:pPr>
                        <a:defRPr sz="2000" b="1">
                          <a:solidFill>
                            <a:schemeClr val="bg1"/>
                          </a:solidFill>
                        </a:defRPr>
                      </a:pPr>
                      <a:t>[VALUE]</a:t>
                    </a:fld>
                    <a:r>
                      <a:rPr lang="en-US" sz="2000" b="1" dirty="0">
                        <a:solidFill>
                          <a:schemeClr val="bg1"/>
                        </a:solidFill>
                      </a:rPr>
                      <a:t>%</a:t>
                    </a:r>
                  </a:p>
                </c:rich>
              </c:tx>
              <c:spPr>
                <a:noFill/>
                <a:ln>
                  <a:noFill/>
                </a:ln>
                <a:effectLst/>
              </c:spPr>
              <c:txPr>
                <a:bodyPr rot="0" spcFirstLastPara="1" vertOverflow="ellipsis" vert="horz" wrap="square" lIns="38100" tIns="19050" rIns="38100" bIns="19050" anchor="ctr" anchorCtr="1">
                  <a:noAutofit/>
                </a:bodyPr>
                <a:lstStyle/>
                <a:p>
                  <a:pPr>
                    <a:defRPr sz="2000" b="1" i="0" u="none" strike="noStrike" kern="1200" baseline="0">
                      <a:solidFill>
                        <a:schemeClr val="bg1"/>
                      </a:solidFill>
                      <a:latin typeface="+mn-lt"/>
                      <a:ea typeface="+mn-ea"/>
                      <a:cs typeface="+mn-cs"/>
                    </a:defRPr>
                  </a:pPr>
                  <a:endParaRPr lang="en-US"/>
                </a:p>
              </c:txPr>
              <c:dLblPos val="bestFit"/>
              <c:showLegendKey val="0"/>
              <c:showVal val="1"/>
              <c:showCatName val="0"/>
              <c:showSerName val="0"/>
              <c:showPercent val="0"/>
              <c:showBubbleSize val="0"/>
              <c:extLst>
                <c:ext xmlns:c15="http://schemas.microsoft.com/office/drawing/2012/chart" uri="{CE6537A1-D6FC-4f65-9D91-7224C49458BB}">
                  <c15:layout>
                    <c:manualLayout>
                      <c:w val="0.11404639175257732"/>
                      <c:h val="0.11783893805505309"/>
                    </c:manualLayout>
                  </c15:layout>
                  <c15:dlblFieldTable/>
                  <c15:showDataLabelsRange val="0"/>
                </c:ext>
                <c:ext xmlns:c16="http://schemas.microsoft.com/office/drawing/2014/chart" uri="{C3380CC4-5D6E-409C-BE32-E72D297353CC}">
                  <c16:uniqueId val="{00000001-0479-4ED7-8B49-2FDA898EACBE}"/>
                </c:ext>
              </c:extLst>
            </c:dLbl>
            <c:dLbl>
              <c:idx val="1"/>
              <c:layout>
                <c:manualLayout>
                  <c:x val="0.18744759836721442"/>
                  <c:y val="-0.1943752410271597"/>
                </c:manualLayout>
              </c:layout>
              <c:tx>
                <c:rich>
                  <a:bodyPr rot="0" spcFirstLastPara="1" vertOverflow="ellipsis" vert="horz" wrap="square" lIns="38100" tIns="19050" rIns="38100" bIns="19050" anchor="ctr" anchorCtr="1">
                    <a:noAutofit/>
                  </a:bodyPr>
                  <a:lstStyle/>
                  <a:p>
                    <a:pPr>
                      <a:defRPr sz="2000" b="1" i="0" u="none" strike="noStrike" kern="1200" baseline="0">
                        <a:solidFill>
                          <a:schemeClr val="bg1"/>
                        </a:solidFill>
                        <a:latin typeface="+mn-lt"/>
                        <a:ea typeface="+mn-ea"/>
                        <a:cs typeface="+mn-cs"/>
                      </a:defRPr>
                    </a:pPr>
                    <a:fld id="{FB46EABF-96A7-4288-BC80-05B2D4CE9366}" type="VALUE">
                      <a:rPr lang="en-US" sz="2000" b="1" smtClean="0">
                        <a:solidFill>
                          <a:schemeClr val="bg1"/>
                        </a:solidFill>
                      </a:rPr>
                      <a:pPr>
                        <a:defRPr sz="2000" b="1">
                          <a:solidFill>
                            <a:schemeClr val="bg1"/>
                          </a:solidFill>
                        </a:defRPr>
                      </a:pPr>
                      <a:t>[VALUE]</a:t>
                    </a:fld>
                    <a:r>
                      <a:rPr lang="en-US" sz="2000" b="1" dirty="0">
                        <a:solidFill>
                          <a:schemeClr val="bg1"/>
                        </a:solidFill>
                      </a:rPr>
                      <a:t>%</a:t>
                    </a:r>
                  </a:p>
                </c:rich>
              </c:tx>
              <c:spPr>
                <a:noFill/>
                <a:ln>
                  <a:noFill/>
                </a:ln>
                <a:effectLst/>
              </c:spPr>
              <c:txPr>
                <a:bodyPr rot="0" spcFirstLastPara="1" vertOverflow="ellipsis" vert="horz" wrap="square" lIns="38100" tIns="19050" rIns="38100" bIns="19050" anchor="ctr" anchorCtr="1">
                  <a:noAutofit/>
                </a:bodyPr>
                <a:lstStyle/>
                <a:p>
                  <a:pPr>
                    <a:defRPr sz="2000" b="1" i="0" u="none" strike="noStrike" kern="1200" baseline="0">
                      <a:solidFill>
                        <a:schemeClr val="bg1"/>
                      </a:solidFill>
                      <a:latin typeface="+mn-lt"/>
                      <a:ea typeface="+mn-ea"/>
                      <a:cs typeface="+mn-cs"/>
                    </a:defRPr>
                  </a:pPr>
                  <a:endParaRPr lang="en-US"/>
                </a:p>
              </c:txPr>
              <c:dLblPos val="bestFit"/>
              <c:showLegendKey val="0"/>
              <c:showVal val="1"/>
              <c:showCatName val="0"/>
              <c:showSerName val="0"/>
              <c:showPercent val="0"/>
              <c:showBubbleSize val="0"/>
              <c:extLst>
                <c:ext xmlns:c15="http://schemas.microsoft.com/office/drawing/2012/chart" uri="{CE6537A1-D6FC-4f65-9D91-7224C49458BB}">
                  <c15:layout>
                    <c:manualLayout>
                      <c:w val="0.12325110456553752"/>
                      <c:h val="6.7318540389245729E-2"/>
                    </c:manualLayout>
                  </c15:layout>
                  <c15:dlblFieldTable/>
                  <c15:showDataLabelsRange val="0"/>
                </c:ext>
                <c:ext xmlns:c16="http://schemas.microsoft.com/office/drawing/2014/chart" uri="{C3380CC4-5D6E-409C-BE32-E72D297353CC}">
                  <c16:uniqueId val="{00000003-0479-4ED7-8B49-2FDA898EACBE}"/>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bestFit"/>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L$5:$L$6</c:f>
              <c:strCache>
                <c:ptCount val="2"/>
                <c:pt idx="0">
                  <c:v>Normal Rhythm</c:v>
                </c:pt>
                <c:pt idx="1">
                  <c:v>Atrial Fibrillation</c:v>
                </c:pt>
              </c:strCache>
            </c:strRef>
          </c:cat>
          <c:val>
            <c:numRef>
              <c:f>Sheet1!$L$2:$L$3</c:f>
              <c:numCache>
                <c:formatCode>General</c:formatCode>
                <c:ptCount val="2"/>
                <c:pt idx="0">
                  <c:v>34.799999999999997</c:v>
                </c:pt>
                <c:pt idx="1">
                  <c:v>65.2</c:v>
                </c:pt>
              </c:numCache>
            </c:numRef>
          </c:val>
          <c:extLst>
            <c:ext xmlns:c16="http://schemas.microsoft.com/office/drawing/2014/chart" uri="{C3380CC4-5D6E-409C-BE32-E72D297353CC}">
              <c16:uniqueId val="{00000004-0479-4ED7-8B49-2FDA898EACBE}"/>
            </c:ext>
          </c:extLst>
        </c:ser>
        <c:dLbls>
          <c:dLblPos val="bestFit"/>
          <c:showLegendKey val="0"/>
          <c:showVal val="1"/>
          <c:showCatName val="0"/>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rtl="0">
            <a:defRPr sz="20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4">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pieChart>
        <c:varyColors val="1"/>
        <c:ser>
          <c:idx val="0"/>
          <c:order val="0"/>
          <c:tx>
            <c:strRef>
              <c:f>Sheet1!$B$1</c:f>
              <c:strCache>
                <c:ptCount val="1"/>
                <c:pt idx="0">
                  <c:v>Column1</c:v>
                </c:pt>
              </c:strCache>
            </c:strRef>
          </c:tx>
          <c:dPt>
            <c:idx val="0"/>
            <c:bubble3D val="0"/>
            <c:spPr>
              <a:solidFill>
                <a:schemeClr val="accent1">
                  <a:shade val="53000"/>
                </a:schemeClr>
              </a:solidFill>
              <a:ln w="19050">
                <a:solidFill>
                  <a:schemeClr val="lt1"/>
                </a:solidFill>
              </a:ln>
              <a:effectLst/>
            </c:spPr>
            <c:extLst>
              <c:ext xmlns:c16="http://schemas.microsoft.com/office/drawing/2014/chart" uri="{C3380CC4-5D6E-409C-BE32-E72D297353CC}">
                <c16:uniqueId val="{00000001-BDC3-4768-843E-E2A22492F261}"/>
              </c:ext>
            </c:extLst>
          </c:dPt>
          <c:dPt>
            <c:idx val="1"/>
            <c:bubble3D val="0"/>
            <c:spPr>
              <a:solidFill>
                <a:schemeClr val="accent1">
                  <a:shade val="76000"/>
                </a:schemeClr>
              </a:solidFill>
              <a:ln w="19050">
                <a:solidFill>
                  <a:schemeClr val="lt1"/>
                </a:solidFill>
              </a:ln>
              <a:effectLst/>
            </c:spPr>
            <c:extLst>
              <c:ext xmlns:c16="http://schemas.microsoft.com/office/drawing/2014/chart" uri="{C3380CC4-5D6E-409C-BE32-E72D297353CC}">
                <c16:uniqueId val="{00000003-BDC3-4768-843E-E2A22492F261}"/>
              </c:ext>
            </c:extLst>
          </c:dPt>
          <c:dPt>
            <c:idx val="2"/>
            <c:bubble3D val="0"/>
            <c:spPr>
              <a:solidFill>
                <a:schemeClr val="accent1"/>
              </a:solidFill>
              <a:ln w="19050">
                <a:solidFill>
                  <a:schemeClr val="lt1"/>
                </a:solidFill>
              </a:ln>
              <a:effectLst/>
            </c:spPr>
            <c:extLst>
              <c:ext xmlns:c16="http://schemas.microsoft.com/office/drawing/2014/chart" uri="{C3380CC4-5D6E-409C-BE32-E72D297353CC}">
                <c16:uniqueId val="{00000005-BDC3-4768-843E-E2A22492F261}"/>
              </c:ext>
            </c:extLst>
          </c:dPt>
          <c:dPt>
            <c:idx val="3"/>
            <c:bubble3D val="0"/>
            <c:spPr>
              <a:solidFill>
                <a:schemeClr val="accent1">
                  <a:tint val="77000"/>
                </a:schemeClr>
              </a:solidFill>
              <a:ln w="19050">
                <a:solidFill>
                  <a:schemeClr val="lt1"/>
                </a:solidFill>
              </a:ln>
              <a:effectLst/>
            </c:spPr>
            <c:extLst>
              <c:ext xmlns:c16="http://schemas.microsoft.com/office/drawing/2014/chart" uri="{C3380CC4-5D6E-409C-BE32-E72D297353CC}">
                <c16:uniqueId val="{00000007-BDC3-4768-843E-E2A22492F261}"/>
              </c:ext>
            </c:extLst>
          </c:dPt>
          <c:dPt>
            <c:idx val="4"/>
            <c:bubble3D val="0"/>
            <c:spPr>
              <a:solidFill>
                <a:schemeClr val="accent1">
                  <a:tint val="54000"/>
                </a:schemeClr>
              </a:solidFill>
              <a:ln w="19050">
                <a:solidFill>
                  <a:schemeClr val="lt1"/>
                </a:solidFill>
              </a:ln>
              <a:effectLst/>
            </c:spPr>
            <c:extLst>
              <c:ext xmlns:c16="http://schemas.microsoft.com/office/drawing/2014/chart" uri="{C3380CC4-5D6E-409C-BE32-E72D297353CC}">
                <c16:uniqueId val="{00000009-BDC3-4768-843E-E2A22492F261}"/>
              </c:ext>
            </c:extLst>
          </c:dPt>
          <c:dLbls>
            <c:dLbl>
              <c:idx val="0"/>
              <c:layout>
                <c:manualLayout>
                  <c:x val="-0.2512446185063375"/>
                  <c:y val="-5.1288848467904505E-2"/>
                </c:manualLayout>
              </c:layout>
              <c:tx>
                <c:rich>
                  <a:bodyPr rot="0" spcFirstLastPara="1" vertOverflow="ellipsis" vert="horz" wrap="square" anchor="ctr" anchorCtr="1"/>
                  <a:lstStyle/>
                  <a:p>
                    <a:pPr>
                      <a:defRPr sz="1400" b="1" i="0" u="none" strike="noStrike" kern="1200" baseline="0">
                        <a:solidFill>
                          <a:schemeClr val="bg1"/>
                        </a:solidFill>
                        <a:latin typeface="+mn-lt"/>
                        <a:ea typeface="+mn-ea"/>
                        <a:cs typeface="+mn-cs"/>
                      </a:defRPr>
                    </a:pPr>
                    <a:fld id="{7C86D26D-5EBF-4C12-AD74-8601600D6AC7}" type="CATEGORYNAME">
                      <a:rPr lang="en-US" b="1">
                        <a:solidFill>
                          <a:schemeClr val="bg1"/>
                        </a:solidFill>
                      </a:rPr>
                      <a:pPr>
                        <a:defRPr b="1">
                          <a:solidFill>
                            <a:schemeClr val="bg1"/>
                          </a:solidFill>
                        </a:defRPr>
                      </a:pPr>
                      <a:t>[CATEGORY NAME]</a:t>
                    </a:fld>
                    <a:r>
                      <a:rPr lang="en-US" b="1">
                        <a:solidFill>
                          <a:schemeClr val="bg1"/>
                        </a:solidFill>
                      </a:rPr>
                      <a:t>  </a:t>
                    </a:r>
                    <a:fld id="{ABA4CB5C-EB59-496B-8592-E2E6F4537803}" type="VALUE">
                      <a:rPr lang="en-US" b="1">
                        <a:solidFill>
                          <a:schemeClr val="bg1"/>
                        </a:solidFill>
                      </a:rPr>
                      <a:pPr>
                        <a:defRPr b="1">
                          <a:solidFill>
                            <a:schemeClr val="bg1"/>
                          </a:solidFill>
                        </a:defRPr>
                      </a:pPr>
                      <a:t>[VALUE]</a:t>
                    </a:fld>
                    <a:endParaRPr lang="en-US" b="1">
                      <a:solidFill>
                        <a:schemeClr val="bg1"/>
                      </a:solidFill>
                    </a:endParaRPr>
                  </a:p>
                </c:rich>
              </c:tx>
              <c:spPr>
                <a:noFill/>
                <a:ln>
                  <a:noFill/>
                </a:ln>
                <a:effectLst/>
              </c:spPr>
              <c:txPr>
                <a:bodyPr rot="0" spcFirstLastPara="1" vertOverflow="ellipsis" vert="horz" wrap="square" anchor="ctr" anchorCtr="1"/>
                <a:lstStyle/>
                <a:p>
                  <a:pPr>
                    <a:defRPr sz="1400" b="1" i="0" u="none" strike="noStrike" kern="1200" baseline="0">
                      <a:solidFill>
                        <a:schemeClr val="bg1"/>
                      </a:solidFill>
                      <a:latin typeface="+mn-lt"/>
                      <a:ea typeface="+mn-ea"/>
                      <a:cs typeface="+mn-cs"/>
                    </a:defRPr>
                  </a:pPr>
                  <a:endParaRPr lang="en-US"/>
                </a:p>
              </c:txPr>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BDC3-4768-843E-E2A22492F261}"/>
                </c:ext>
              </c:extLst>
            </c:dLbl>
            <c:dLbl>
              <c:idx val="1"/>
              <c:layout>
                <c:manualLayout>
                  <c:x val="0.1673218827079834"/>
                  <c:y val="-0.15924191338340771"/>
                </c:manualLayout>
              </c:layout>
              <c:tx>
                <c:rich>
                  <a:bodyPr rot="0" spcFirstLastPara="1" vertOverflow="ellipsis" vert="horz" wrap="square" anchor="ctr" anchorCtr="1"/>
                  <a:lstStyle/>
                  <a:p>
                    <a:pPr>
                      <a:defRPr sz="1400" b="1" i="0" u="none" strike="noStrike" kern="1200" baseline="0">
                        <a:solidFill>
                          <a:schemeClr val="bg1"/>
                        </a:solidFill>
                        <a:latin typeface="+mn-lt"/>
                        <a:ea typeface="+mn-ea"/>
                        <a:cs typeface="+mn-cs"/>
                      </a:defRPr>
                    </a:pPr>
                    <a:r>
                      <a:rPr lang="en-US" b="1" dirty="0">
                        <a:solidFill>
                          <a:schemeClr val="bg1"/>
                        </a:solidFill>
                      </a:rPr>
                      <a:t>Heart Failure and AFIB 18%</a:t>
                    </a:r>
                  </a:p>
                </c:rich>
              </c:tx>
              <c:spPr>
                <a:noFill/>
                <a:ln>
                  <a:noFill/>
                </a:ln>
                <a:effectLst/>
              </c:spPr>
              <c:txPr>
                <a:bodyPr rot="0" spcFirstLastPara="1" vertOverflow="ellipsis" vert="horz" wrap="square" anchor="ctr" anchorCtr="1"/>
                <a:lstStyle/>
                <a:p>
                  <a:pPr>
                    <a:defRPr sz="1400" b="1" i="0" u="none" strike="noStrike" kern="1200" baseline="0">
                      <a:solidFill>
                        <a:schemeClr val="bg1"/>
                      </a:solidFill>
                      <a:latin typeface="+mn-lt"/>
                      <a:ea typeface="+mn-ea"/>
                      <a:cs typeface="+mn-cs"/>
                    </a:defRPr>
                  </a:pPr>
                  <a:endParaRPr lang="en-US"/>
                </a:p>
              </c:txPr>
              <c:showLegendKey val="0"/>
              <c:showVal val="1"/>
              <c:showCatName val="1"/>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BDC3-4768-843E-E2A22492F261}"/>
                </c:ext>
              </c:extLst>
            </c:dLbl>
            <c:dLbl>
              <c:idx val="2"/>
              <c:layout>
                <c:manualLayout>
                  <c:x val="0.12557923246444597"/>
                  <c:y val="4.9123537135493858E-3"/>
                </c:manualLayout>
              </c:layout>
              <c:tx>
                <c:rich>
                  <a:bodyPr rot="0" spcFirstLastPara="1" vertOverflow="ellipsis" vert="horz" wrap="square" anchor="ctr" anchorCtr="1"/>
                  <a:lstStyle/>
                  <a:p>
                    <a:pPr>
                      <a:defRPr sz="1400" b="1" i="0" u="none" strike="noStrike" kern="1200" baseline="0">
                        <a:solidFill>
                          <a:schemeClr val="bg1"/>
                        </a:solidFill>
                        <a:latin typeface="+mn-lt"/>
                        <a:ea typeface="+mn-ea"/>
                        <a:cs typeface="+mn-cs"/>
                      </a:defRPr>
                    </a:pPr>
                    <a:r>
                      <a:rPr lang="en-US" b="1" dirty="0">
                        <a:solidFill>
                          <a:schemeClr val="bg1"/>
                        </a:solidFill>
                      </a:rPr>
                      <a:t>AFIB 4%</a:t>
                    </a:r>
                  </a:p>
                </c:rich>
              </c:tx>
              <c:spPr>
                <a:noFill/>
                <a:ln>
                  <a:noFill/>
                </a:ln>
                <a:effectLst/>
              </c:spPr>
              <c:txPr>
                <a:bodyPr rot="0" spcFirstLastPara="1" vertOverflow="ellipsis" vert="horz" wrap="square" anchor="ctr" anchorCtr="1"/>
                <a:lstStyle/>
                <a:p>
                  <a:pPr>
                    <a:defRPr sz="1400" b="1" i="0" u="none" strike="noStrike" kern="1200" baseline="0">
                      <a:solidFill>
                        <a:schemeClr val="bg1"/>
                      </a:solidFill>
                      <a:latin typeface="+mn-lt"/>
                      <a:ea typeface="+mn-ea"/>
                      <a:cs typeface="+mn-cs"/>
                    </a:defRPr>
                  </a:pPr>
                  <a:endParaRPr lang="en-US"/>
                </a:p>
              </c:txPr>
              <c:showLegendKey val="0"/>
              <c:showVal val="1"/>
              <c:showCatName val="1"/>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BDC3-4768-843E-E2A22492F261}"/>
                </c:ext>
              </c:extLst>
            </c:dLbl>
            <c:dLbl>
              <c:idx val="3"/>
              <c:layout>
                <c:manualLayout>
                  <c:x val="0.16339594654608475"/>
                  <c:y val="0.10497987741128179"/>
                </c:manualLayout>
              </c:layout>
              <c:tx>
                <c:rich>
                  <a:bodyPr rot="0" spcFirstLastPara="1" vertOverflow="ellipsis" vert="horz" wrap="square" anchor="ctr" anchorCtr="1"/>
                  <a:lstStyle/>
                  <a:p>
                    <a:pPr>
                      <a:defRPr sz="1400" b="1" i="0" u="none" strike="noStrike" kern="1200" baseline="0">
                        <a:solidFill>
                          <a:schemeClr val="tx1"/>
                        </a:solidFill>
                        <a:latin typeface="+mn-lt"/>
                        <a:ea typeface="+mn-ea"/>
                        <a:cs typeface="+mn-cs"/>
                      </a:defRPr>
                    </a:pPr>
                    <a:r>
                      <a:rPr lang="en-US" b="1">
                        <a:solidFill>
                          <a:schemeClr val="tx1"/>
                        </a:solidFill>
                      </a:rPr>
                      <a:t>Idiopathic 12%</a:t>
                    </a:r>
                  </a:p>
                </c:rich>
              </c:tx>
              <c:spPr>
                <a:noFill/>
                <a:ln>
                  <a:noFill/>
                </a:ln>
                <a:effectLst/>
              </c:spPr>
              <c:txPr>
                <a:bodyPr rot="0" spcFirstLastPara="1" vertOverflow="ellipsis" vert="horz" wrap="square" anchor="ctr" anchorCtr="1"/>
                <a:lstStyle/>
                <a:p>
                  <a:pPr>
                    <a:defRPr sz="1400" b="1" i="0" u="none" strike="noStrike" kern="1200" baseline="0">
                      <a:solidFill>
                        <a:schemeClr val="tx1"/>
                      </a:solidFill>
                      <a:latin typeface="+mn-lt"/>
                      <a:ea typeface="+mn-ea"/>
                      <a:cs typeface="+mn-cs"/>
                    </a:defRPr>
                  </a:pPr>
                  <a:endParaRPr lang="en-US"/>
                </a:p>
              </c:txPr>
              <c:showLegendKey val="0"/>
              <c:showVal val="1"/>
              <c:showCatName val="1"/>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BDC3-4768-843E-E2A22492F261}"/>
                </c:ext>
              </c:extLst>
            </c:dLbl>
            <c:dLbl>
              <c:idx val="4"/>
              <c:layout>
                <c:manualLayout>
                  <c:x val="6.6134702098839662E-2"/>
                  <c:y val="0.14654711955645455"/>
                </c:manualLayout>
              </c:layout>
              <c:tx>
                <c:rich>
                  <a:bodyPr rot="0" spcFirstLastPara="1" vertOverflow="ellipsis" vert="horz" wrap="square" anchor="ctr" anchorCtr="1"/>
                  <a:lstStyle/>
                  <a:p>
                    <a:pPr>
                      <a:defRPr sz="1400" b="1" i="0" u="none" strike="noStrike" kern="1200" baseline="0">
                        <a:solidFill>
                          <a:schemeClr val="tx1"/>
                        </a:solidFill>
                        <a:latin typeface="+mn-lt"/>
                        <a:ea typeface="+mn-ea"/>
                        <a:cs typeface="+mn-cs"/>
                      </a:defRPr>
                    </a:pPr>
                    <a:r>
                      <a:rPr lang="en-US" b="1">
                        <a:solidFill>
                          <a:schemeClr val="tx1"/>
                        </a:solidFill>
                      </a:rPr>
                      <a:t>Stroke</a:t>
                    </a:r>
                  </a:p>
                  <a:p>
                    <a:pPr>
                      <a:defRPr b="1">
                        <a:solidFill>
                          <a:schemeClr val="tx1"/>
                        </a:solidFill>
                      </a:defRPr>
                    </a:pPr>
                    <a:r>
                      <a:rPr lang="en-US" b="1">
                        <a:solidFill>
                          <a:schemeClr val="tx1"/>
                        </a:solidFill>
                      </a:rPr>
                      <a:t>11%</a:t>
                    </a:r>
                  </a:p>
                </c:rich>
              </c:tx>
              <c:spPr>
                <a:noFill/>
                <a:ln>
                  <a:noFill/>
                </a:ln>
                <a:effectLst/>
              </c:spPr>
              <c:txPr>
                <a:bodyPr rot="0" spcFirstLastPara="1" vertOverflow="ellipsis" vert="horz" wrap="square" anchor="ctr" anchorCtr="1"/>
                <a:lstStyle/>
                <a:p>
                  <a:pPr>
                    <a:defRPr sz="1400" b="1" i="0" u="none" strike="noStrike" kern="1200" baseline="0">
                      <a:solidFill>
                        <a:schemeClr val="tx1"/>
                      </a:solidFill>
                      <a:latin typeface="+mn-lt"/>
                      <a:ea typeface="+mn-ea"/>
                      <a:cs typeface="+mn-cs"/>
                    </a:defRPr>
                  </a:pPr>
                  <a:endParaRPr lang="en-US"/>
                </a:p>
              </c:txPr>
              <c:showLegendKey val="0"/>
              <c:showVal val="1"/>
              <c:showCatName val="1"/>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BDC3-4768-843E-E2A22492F261}"/>
                </c:ext>
              </c:extLst>
            </c:dLbl>
            <c:spPr>
              <a:noFill/>
              <a:ln>
                <a:noFill/>
              </a:ln>
              <a:effectLst/>
            </c:spPr>
            <c:txPr>
              <a:bodyPr rot="0" spcFirstLastPara="1" vertOverflow="ellipsis" vert="horz" wrap="square" anchor="ctr" anchorCtr="1"/>
              <a:lstStyle/>
              <a:p>
                <a:pPr>
                  <a:defRPr sz="1400" b="0" i="0" u="none" strike="noStrike" kern="1200" baseline="0">
                    <a:solidFill>
                      <a:schemeClr val="bg1"/>
                    </a:solidFill>
                    <a:latin typeface="+mn-lt"/>
                    <a:ea typeface="+mn-ea"/>
                    <a:cs typeface="+mn-cs"/>
                  </a:defRPr>
                </a:pPr>
                <a:endParaRPr lang="en-US"/>
              </a:p>
            </c:txPr>
            <c:showLegendKey val="0"/>
            <c:showVal val="1"/>
            <c:showCatName val="1"/>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6</c:f>
              <c:strCache>
                <c:ptCount val="5"/>
                <c:pt idx="0">
                  <c:v>Heart Failure</c:v>
                </c:pt>
                <c:pt idx="1">
                  <c:v>Heart Failure &amp; AF</c:v>
                </c:pt>
                <c:pt idx="2">
                  <c:v>Afib</c:v>
                </c:pt>
                <c:pt idx="3">
                  <c:v>Idiopathic</c:v>
                </c:pt>
                <c:pt idx="4">
                  <c:v>Stroke</c:v>
                </c:pt>
              </c:strCache>
            </c:strRef>
          </c:cat>
          <c:val>
            <c:numRef>
              <c:f>Sheet1!$B$2:$B$6</c:f>
              <c:numCache>
                <c:formatCode>0%</c:formatCode>
                <c:ptCount val="5"/>
                <c:pt idx="0">
                  <c:v>0.55000000000000004</c:v>
                </c:pt>
                <c:pt idx="1">
                  <c:v>0.18</c:v>
                </c:pt>
                <c:pt idx="2">
                  <c:v>0.04</c:v>
                </c:pt>
                <c:pt idx="3">
                  <c:v>0.12</c:v>
                </c:pt>
                <c:pt idx="4">
                  <c:v>0.11</c:v>
                </c:pt>
              </c:numCache>
            </c:numRef>
          </c:val>
          <c:extLst>
            <c:ext xmlns:c16="http://schemas.microsoft.com/office/drawing/2014/chart" uri="{C3380CC4-5D6E-409C-BE32-E72D297353CC}">
              <c16:uniqueId val="{0000000A-BDC3-4768-843E-E2A22492F261}"/>
            </c:ext>
          </c:extLst>
        </c:ser>
        <c:dLbls>
          <c:showLegendKey val="0"/>
          <c:showVal val="1"/>
          <c:showCatName val="1"/>
          <c:showSerName val="0"/>
          <c:showPercent val="0"/>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sz="1400"/>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sz="2160" b="1" i="0" u="none" strike="noStrike" kern="1200" baseline="0">
                <a:solidFill>
                  <a:schemeClr val="tx1"/>
                </a:solidFill>
                <a:latin typeface="+mn-lt"/>
                <a:ea typeface="+mn-ea"/>
                <a:cs typeface="+mn-cs"/>
              </a:defRPr>
            </a:pPr>
            <a:r>
              <a:rPr lang="en-US" sz="2000" dirty="0">
                <a:solidFill>
                  <a:schemeClr val="tx1"/>
                </a:solidFill>
                <a:latin typeface="+mn-lt"/>
              </a:rPr>
              <a:t>United States Heart Failure  Population</a:t>
            </a:r>
          </a:p>
          <a:p>
            <a:pPr algn="ctr">
              <a:defRPr>
                <a:solidFill>
                  <a:schemeClr val="tx1"/>
                </a:solidFill>
              </a:defRPr>
            </a:pPr>
            <a:r>
              <a:rPr lang="en-US" sz="1800" b="0" dirty="0">
                <a:solidFill>
                  <a:schemeClr val="tx1"/>
                </a:solidFill>
                <a:latin typeface="+mn-lt"/>
              </a:rPr>
              <a:t>6.4</a:t>
            </a:r>
            <a:r>
              <a:rPr lang="en-US" sz="1800" b="0" baseline="0" dirty="0">
                <a:solidFill>
                  <a:schemeClr val="tx1"/>
                </a:solidFill>
                <a:latin typeface="+mn-lt"/>
              </a:rPr>
              <a:t> Million</a:t>
            </a:r>
            <a:endParaRPr lang="en-US" sz="1800" b="0" dirty="0">
              <a:solidFill>
                <a:schemeClr val="tx1"/>
              </a:solidFill>
              <a:latin typeface="+mn-lt"/>
            </a:endParaRPr>
          </a:p>
        </c:rich>
      </c:tx>
      <c:layout>
        <c:manualLayout>
          <c:xMode val="edge"/>
          <c:yMode val="edge"/>
          <c:x val="0.20169496177004947"/>
          <c:y val="3.5437923324014617E-2"/>
        </c:manualLayout>
      </c:layout>
      <c:overlay val="0"/>
      <c:spPr>
        <a:noFill/>
        <a:ln>
          <a:noFill/>
        </a:ln>
        <a:effectLst/>
      </c:spPr>
      <c:txPr>
        <a:bodyPr rot="0" spcFirstLastPara="1" vertOverflow="ellipsis" vert="horz" wrap="square" anchor="ctr" anchorCtr="1"/>
        <a:lstStyle/>
        <a:p>
          <a:pPr algn="ctr">
            <a:defRPr sz="2160" b="1" i="0" u="none" strike="noStrike" kern="1200" baseline="0">
              <a:solidFill>
                <a:schemeClr val="tx1"/>
              </a:solidFill>
              <a:latin typeface="+mn-lt"/>
              <a:ea typeface="+mn-ea"/>
              <a:cs typeface="+mn-cs"/>
            </a:defRPr>
          </a:pPr>
          <a:endParaRPr lang="en-US"/>
        </a:p>
      </c:txPr>
    </c:title>
    <c:autoTitleDeleted val="0"/>
    <c:plotArea>
      <c:layout>
        <c:manualLayout>
          <c:layoutTarget val="inner"/>
          <c:xMode val="edge"/>
          <c:yMode val="edge"/>
          <c:x val="0.13547009500466536"/>
          <c:y val="0.25408364715280157"/>
          <c:w val="0.73824015471027304"/>
          <c:h val="0.77249400890106101"/>
        </c:manualLayout>
      </c:layout>
      <c:pieChart>
        <c:varyColors val="1"/>
        <c:ser>
          <c:idx val="0"/>
          <c:order val="0"/>
          <c:explosion val="1"/>
          <c:dPt>
            <c:idx val="0"/>
            <c:bubble3D val="0"/>
            <c:spPr>
              <a:gradFill rotWithShape="1">
                <a:gsLst>
                  <a:gs pos="0">
                    <a:schemeClr val="accent1">
                      <a:shade val="85000"/>
                      <a:satMod val="130000"/>
                    </a:schemeClr>
                  </a:gs>
                  <a:gs pos="34000">
                    <a:schemeClr val="accent1">
                      <a:shade val="87000"/>
                      <a:satMod val="125000"/>
                    </a:schemeClr>
                  </a:gs>
                  <a:gs pos="70000">
                    <a:schemeClr val="accent1">
                      <a:tint val="100000"/>
                      <a:shade val="90000"/>
                      <a:satMod val="130000"/>
                    </a:schemeClr>
                  </a:gs>
                  <a:gs pos="100000">
                    <a:schemeClr val="accent1">
                      <a:tint val="100000"/>
                      <a:shade val="100000"/>
                      <a:satMod val="110000"/>
                    </a:schemeClr>
                  </a:gs>
                </a:gsLst>
                <a:path path="circle">
                  <a:fillToRect l="100000" t="100000" r="100000" b="100000"/>
                </a:path>
              </a:gradFill>
              <a:ln>
                <a:noFill/>
              </a:ln>
              <a:effectLst>
                <a:outerShdw blurRad="44450" dist="25400" dir="2700000" algn="br" rotWithShape="0">
                  <a:srgbClr val="000000">
                    <a:alpha val="60000"/>
                  </a:srgbClr>
                </a:outerShdw>
              </a:effectLst>
              <a:scene3d>
                <a:camera prst="orthographicFront">
                  <a:rot lat="0" lon="0" rev="0"/>
                </a:camera>
                <a:lightRig rig="threePt" dir="t">
                  <a:rot lat="0" lon="0" rev="19800000"/>
                </a:lightRig>
              </a:scene3d>
              <a:sp3d prstMaterial="flat">
                <a:bevelT w="25400" h="31750"/>
              </a:sp3d>
            </c:spPr>
            <c:extLst>
              <c:ext xmlns:c16="http://schemas.microsoft.com/office/drawing/2014/chart" uri="{C3380CC4-5D6E-409C-BE32-E72D297353CC}">
                <c16:uniqueId val="{00000000-5A10-4F32-AE25-4BED7B7E7AC3}"/>
              </c:ext>
            </c:extLst>
          </c:dPt>
          <c:dPt>
            <c:idx val="1"/>
            <c:bubble3D val="0"/>
            <c:spPr>
              <a:solidFill>
                <a:schemeClr val="accent1">
                  <a:lumMod val="60000"/>
                  <a:lumOff val="40000"/>
                </a:schemeClr>
              </a:solidFill>
              <a:ln>
                <a:noFill/>
              </a:ln>
              <a:effectLst>
                <a:outerShdw blurRad="44450" dist="25400" dir="2700000" algn="br" rotWithShape="0">
                  <a:srgbClr val="000000">
                    <a:alpha val="60000"/>
                  </a:srgbClr>
                </a:outerShdw>
              </a:effectLst>
              <a:scene3d>
                <a:camera prst="orthographicFront">
                  <a:rot lat="0" lon="0" rev="0"/>
                </a:camera>
                <a:lightRig rig="threePt" dir="t">
                  <a:rot lat="0" lon="0" rev="19800000"/>
                </a:lightRig>
              </a:scene3d>
              <a:sp3d prstMaterial="flat">
                <a:bevelT w="25400" h="31750"/>
              </a:sp3d>
            </c:spPr>
            <c:extLst>
              <c:ext xmlns:c16="http://schemas.microsoft.com/office/drawing/2014/chart" uri="{C3380CC4-5D6E-409C-BE32-E72D297353CC}">
                <c16:uniqueId val="{00000001-5A10-4F32-AE25-4BED7B7E7AC3}"/>
              </c:ext>
            </c:extLst>
          </c:dPt>
          <c:dPt>
            <c:idx val="2"/>
            <c:bubble3D val="0"/>
            <c:spPr>
              <a:gradFill rotWithShape="1">
                <a:gsLst>
                  <a:gs pos="0">
                    <a:schemeClr val="accent3">
                      <a:shade val="85000"/>
                      <a:satMod val="130000"/>
                    </a:schemeClr>
                  </a:gs>
                  <a:gs pos="34000">
                    <a:schemeClr val="accent3">
                      <a:shade val="87000"/>
                      <a:satMod val="125000"/>
                    </a:schemeClr>
                  </a:gs>
                  <a:gs pos="70000">
                    <a:schemeClr val="accent3">
                      <a:tint val="100000"/>
                      <a:shade val="90000"/>
                      <a:satMod val="130000"/>
                    </a:schemeClr>
                  </a:gs>
                  <a:gs pos="100000">
                    <a:schemeClr val="accent3">
                      <a:tint val="100000"/>
                      <a:shade val="100000"/>
                      <a:satMod val="110000"/>
                    </a:schemeClr>
                  </a:gs>
                </a:gsLst>
                <a:path path="circle">
                  <a:fillToRect l="100000" t="100000" r="100000" b="100000"/>
                </a:path>
              </a:gradFill>
              <a:ln>
                <a:noFill/>
              </a:ln>
              <a:effectLst>
                <a:innerShdw blurRad="63500" dist="50800">
                  <a:prstClr val="black">
                    <a:alpha val="50000"/>
                  </a:prstClr>
                </a:innerShdw>
              </a:effectLst>
              <a:scene3d>
                <a:camera prst="orthographicFront">
                  <a:rot lat="0" lon="0" rev="0"/>
                </a:camera>
                <a:lightRig rig="threePt" dir="t">
                  <a:rot lat="0" lon="0" rev="19800000"/>
                </a:lightRig>
              </a:scene3d>
              <a:sp3d prstMaterial="flat">
                <a:bevelT w="25400" h="31750"/>
              </a:sp3d>
            </c:spPr>
            <c:extLst>
              <c:ext xmlns:c16="http://schemas.microsoft.com/office/drawing/2014/chart" uri="{C3380CC4-5D6E-409C-BE32-E72D297353CC}">
                <c16:uniqueId val="{00000002-5A10-4F32-AE25-4BED7B7E7AC3}"/>
              </c:ext>
            </c:extLst>
          </c:dPt>
          <c:dLbls>
            <c:dLbl>
              <c:idx val="0"/>
              <c:layout>
                <c:manualLayout>
                  <c:x val="-0.12601554513139934"/>
                  <c:y val="0.105933184982312"/>
                </c:manualLayout>
              </c:layout>
              <c:tx>
                <c:rich>
                  <a:bodyPr/>
                  <a:lstStyle/>
                  <a:p>
                    <a:r>
                      <a:rPr lang="en-US" sz="1600" b="1" baseline="0" dirty="0">
                        <a:solidFill>
                          <a:schemeClr val="bg1"/>
                        </a:solidFill>
                        <a:latin typeface="+mn-lt"/>
                      </a:rPr>
                      <a:t>Central Sleep Apnea</a:t>
                    </a:r>
                    <a:r>
                      <a:rPr lang="en-US" sz="1600" b="1" baseline="0" dirty="0">
                        <a:solidFill>
                          <a:schemeClr val="bg1"/>
                        </a:solidFill>
                      </a:rPr>
                      <a:t> </a:t>
                    </a:r>
                  </a:p>
                  <a:p>
                    <a:r>
                      <a:rPr lang="en-US" sz="1600" b="1" baseline="0" dirty="0">
                        <a:solidFill>
                          <a:schemeClr val="bg1"/>
                        </a:solidFill>
                      </a:rPr>
                      <a:t>2.1M</a:t>
                    </a:r>
                  </a:p>
                  <a:p>
                    <a:r>
                      <a:rPr lang="en-US" sz="1600" b="1" baseline="0" dirty="0">
                        <a:solidFill>
                          <a:schemeClr val="bg1"/>
                        </a:solidFill>
                      </a:rPr>
                      <a:t>37.5%</a:t>
                    </a:r>
                    <a:endParaRPr lang="en-US" b="1" baseline="0" dirty="0">
                      <a:solidFill>
                        <a:schemeClr val="bg1"/>
                      </a:solidFill>
                    </a:endParaRPr>
                  </a:p>
                </c:rich>
              </c:tx>
              <c:showLegendKey val="0"/>
              <c:showVal val="1"/>
              <c:showCatName val="1"/>
              <c:showSerName val="0"/>
              <c:showPercent val="1"/>
              <c:showBubbleSize val="0"/>
              <c:extLst>
                <c:ext xmlns:c15="http://schemas.microsoft.com/office/drawing/2012/chart" uri="{CE6537A1-D6FC-4f65-9D91-7224C49458BB}">
                  <c15:layout>
                    <c:manualLayout>
                      <c:w val="0.3418652006269367"/>
                      <c:h val="0.27391304347826084"/>
                    </c:manualLayout>
                  </c15:layout>
                  <c15:showDataLabelsRange val="0"/>
                </c:ext>
                <c:ext xmlns:c16="http://schemas.microsoft.com/office/drawing/2014/chart" uri="{C3380CC4-5D6E-409C-BE32-E72D297353CC}">
                  <c16:uniqueId val="{00000000-5A10-4F32-AE25-4BED7B7E7AC3}"/>
                </c:ext>
              </c:extLst>
            </c:dLbl>
            <c:dLbl>
              <c:idx val="1"/>
              <c:layout>
                <c:manualLayout>
                  <c:x val="0.17037990710690401"/>
                  <c:y val="-0.125991479325954"/>
                </c:manualLayout>
              </c:layout>
              <c:tx>
                <c:rich>
                  <a:bodyPr/>
                  <a:lstStyle/>
                  <a:p>
                    <a:r>
                      <a:rPr lang="en-US" sz="1600" b="1" baseline="0" dirty="0">
                        <a:solidFill>
                          <a:schemeClr val="bg1"/>
                        </a:solidFill>
                        <a:latin typeface="+mn-lt"/>
                      </a:rPr>
                      <a:t>O</a:t>
                    </a:r>
                    <a:r>
                      <a:rPr lang="en-US" sz="1600" b="1" baseline="0" dirty="0">
                        <a:solidFill>
                          <a:schemeClr val="bg1"/>
                        </a:solidFill>
                      </a:rPr>
                      <a:t>SA</a:t>
                    </a:r>
                  </a:p>
                  <a:p>
                    <a:r>
                      <a:rPr lang="en-US" sz="1600" b="1" baseline="0" dirty="0">
                        <a:solidFill>
                          <a:schemeClr val="bg1"/>
                        </a:solidFill>
                      </a:rPr>
                      <a:t>2.1M</a:t>
                    </a:r>
                  </a:p>
                  <a:p>
                    <a:r>
                      <a:rPr lang="en-US" sz="1600" b="1" baseline="0" dirty="0">
                        <a:solidFill>
                          <a:schemeClr val="bg1"/>
                        </a:solidFill>
                      </a:rPr>
                      <a:t>37.5%</a:t>
                    </a:r>
                    <a:endParaRPr lang="en-US" b="1" baseline="0" dirty="0">
                      <a:solidFill>
                        <a:schemeClr val="bg1"/>
                      </a:solidFill>
                    </a:endParaRPr>
                  </a:p>
                </c:rich>
              </c:tx>
              <c:showLegendKey val="0"/>
              <c:showVal val="1"/>
              <c:showCatName val="1"/>
              <c:showSerName val="0"/>
              <c:showPercent val="1"/>
              <c:showBubbleSize val="0"/>
              <c:extLst>
                <c:ext xmlns:c15="http://schemas.microsoft.com/office/drawing/2012/chart" uri="{CE6537A1-D6FC-4f65-9D91-7224C49458BB}">
                  <c15:showDataLabelsRange val="0"/>
                </c:ext>
                <c:ext xmlns:c16="http://schemas.microsoft.com/office/drawing/2014/chart" uri="{C3380CC4-5D6E-409C-BE32-E72D297353CC}">
                  <c16:uniqueId val="{00000001-5A10-4F32-AE25-4BED7B7E7AC3}"/>
                </c:ext>
              </c:extLst>
            </c:dLbl>
            <c:dLbl>
              <c:idx val="2"/>
              <c:layout>
                <c:manualLayout>
                  <c:x val="0.16586612971726519"/>
                  <c:y val="0.20198790368595201"/>
                </c:manualLayout>
              </c:layout>
              <c:tx>
                <c:rich>
                  <a:bodyPr/>
                  <a:lstStyle/>
                  <a:p>
                    <a:r>
                      <a:rPr lang="en-US" sz="1600" b="1" baseline="0" dirty="0">
                        <a:solidFill>
                          <a:schemeClr val="bg1"/>
                        </a:solidFill>
                        <a:latin typeface="+mn-lt"/>
                      </a:rPr>
                      <a:t>N</a:t>
                    </a:r>
                    <a:r>
                      <a:rPr lang="en-US" sz="1600" b="1" baseline="0" dirty="0">
                        <a:solidFill>
                          <a:schemeClr val="bg1"/>
                        </a:solidFill>
                      </a:rPr>
                      <a:t>o SDB  </a:t>
                    </a:r>
                  </a:p>
                  <a:p>
                    <a:r>
                      <a:rPr lang="en-US" sz="1600" b="1" baseline="0" dirty="0">
                        <a:solidFill>
                          <a:schemeClr val="bg1"/>
                        </a:solidFill>
                      </a:rPr>
                      <a:t>1.5M</a:t>
                    </a:r>
                  </a:p>
                  <a:p>
                    <a:r>
                      <a:rPr lang="en-US" sz="1600" b="1" baseline="0" dirty="0">
                        <a:solidFill>
                          <a:schemeClr val="bg1"/>
                        </a:solidFill>
                      </a:rPr>
                      <a:t>25%</a:t>
                    </a:r>
                    <a:endParaRPr lang="en-US" b="1" baseline="0" dirty="0">
                      <a:solidFill>
                        <a:schemeClr val="bg1"/>
                      </a:solidFill>
                    </a:endParaRPr>
                  </a:p>
                </c:rich>
              </c:tx>
              <c:showLegendKey val="0"/>
              <c:showVal val="1"/>
              <c:showCatName val="1"/>
              <c:showSerName val="0"/>
              <c:showPercent val="1"/>
              <c:showBubbleSize val="0"/>
              <c:extLst>
                <c:ext xmlns:c15="http://schemas.microsoft.com/office/drawing/2012/chart" uri="{CE6537A1-D6FC-4f65-9D91-7224C49458BB}">
                  <c15:showDataLabelsRange val="0"/>
                </c:ext>
                <c:ext xmlns:c16="http://schemas.microsoft.com/office/drawing/2014/chart" uri="{C3380CC4-5D6E-409C-BE32-E72D297353CC}">
                  <c16:uniqueId val="{00000002-5A10-4F32-AE25-4BED7B7E7AC3}"/>
                </c:ext>
              </c:extLst>
            </c:dLbl>
            <c:spPr>
              <a:noFill/>
              <a:ln>
                <a:noFill/>
              </a:ln>
              <a:effectLst/>
            </c:spPr>
            <c:txPr>
              <a:bodyPr rot="0" spcFirstLastPara="1" vertOverflow="ellipsis" vert="horz" wrap="square" anchor="ctr" anchorCtr="1"/>
              <a:lstStyle/>
              <a:p>
                <a:pPr>
                  <a:lnSpc>
                    <a:spcPct val="120000"/>
                  </a:lnSpc>
                  <a:defRPr sz="1600" b="1" i="0" u="none" strike="noStrike" kern="1200" baseline="0">
                    <a:solidFill>
                      <a:schemeClr val="bg1"/>
                    </a:solidFill>
                    <a:latin typeface="+mn-lt"/>
                    <a:ea typeface="+mn-ea"/>
                    <a:cs typeface="+mn-cs"/>
                  </a:defRPr>
                </a:pPr>
                <a:endParaRPr lang="en-US"/>
              </a:p>
            </c:txPr>
            <c:showLegendKey val="0"/>
            <c:showVal val="1"/>
            <c:showCatName val="1"/>
            <c:showSerName val="0"/>
            <c:showPercent val="1"/>
            <c:showBubbleSize val="0"/>
            <c:showLeaderLines val="1"/>
            <c:leaderLines>
              <c:spPr>
                <a:ln w="12700" cap="flat" cmpd="sng" algn="ctr">
                  <a:solidFill>
                    <a:schemeClr val="lt1"/>
                  </a:solidFill>
                  <a:prstDash val="solid"/>
                  <a:round/>
                </a:ln>
                <a:effectLst/>
              </c:spPr>
            </c:leaderLines>
            <c:extLst>
              <c:ext xmlns:c15="http://schemas.microsoft.com/office/drawing/2012/chart" uri="{CE6537A1-D6FC-4f65-9D91-7224C49458BB}"/>
            </c:extLst>
          </c:dLbls>
          <c:cat>
            <c:strRef>
              <c:f>'Decision Tree Model v2 (Oldb)'!$I$29:$I$31</c:f>
              <c:strCache>
                <c:ptCount val="3"/>
                <c:pt idx="0">
                  <c:v>CSA</c:v>
                </c:pt>
                <c:pt idx="1">
                  <c:v>OSA</c:v>
                </c:pt>
                <c:pt idx="2">
                  <c:v>No SDB</c:v>
                </c:pt>
              </c:strCache>
            </c:strRef>
          </c:cat>
          <c:val>
            <c:numRef>
              <c:f>'Decision Tree Model v2 (Oldb)'!$K$29:$K$31</c:f>
              <c:numCache>
                <c:formatCode>_(* #,##0_);_(* \(#,##0\);_(* "-"??_);_(@_)</c:formatCode>
                <c:ptCount val="3"/>
                <c:pt idx="0">
                  <c:v>1464216</c:v>
                </c:pt>
                <c:pt idx="1">
                  <c:v>1351584</c:v>
                </c:pt>
                <c:pt idx="2">
                  <c:v>889200</c:v>
                </c:pt>
              </c:numCache>
            </c:numRef>
          </c:val>
          <c:extLst>
            <c:ext xmlns:c16="http://schemas.microsoft.com/office/drawing/2014/chart" uri="{C3380CC4-5D6E-409C-BE32-E72D297353CC}">
              <c16:uniqueId val="{00000003-5A10-4F32-AE25-4BED7B7E7AC3}"/>
            </c:ext>
          </c:extLst>
        </c:ser>
        <c:dLbls>
          <c:showLegendKey val="0"/>
          <c:showVal val="0"/>
          <c:showCatName val="1"/>
          <c:showSerName val="0"/>
          <c:showPercent val="1"/>
          <c:showBubbleSize val="0"/>
          <c:showLeaderLines val="1"/>
        </c:dLbls>
        <c:firstSliceAng val="0"/>
      </c:pieChart>
      <c:spPr>
        <a:noFill/>
        <a:ln>
          <a:noFill/>
        </a:ln>
        <a:effectLst/>
      </c:spPr>
    </c:plotArea>
    <c:plotVisOnly val="1"/>
    <c:dispBlanksAs val="zero"/>
    <c:showDLblsOverMax val="0"/>
  </c:chart>
  <c:spPr>
    <a:solidFill>
      <a:srgbClr val="BBE0E3">
        <a:alpha val="0"/>
      </a:srgbClr>
    </a:solidFill>
    <a:ln>
      <a:noFill/>
    </a:ln>
    <a:effectLst/>
  </c:spPr>
  <c:txPr>
    <a:bodyPr/>
    <a:lstStyle/>
    <a:p>
      <a:pPr>
        <a:defRPr sz="1800"/>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5318357893126612E-2"/>
          <c:y val="2.2518543764688623E-2"/>
          <c:w val="0.96728530984586347"/>
          <c:h val="0.94650205761316886"/>
        </c:manualLayout>
      </c:layout>
      <c:barChart>
        <c:barDir val="col"/>
        <c:grouping val="stacked"/>
        <c:varyColors val="0"/>
        <c:ser>
          <c:idx val="0"/>
          <c:order val="0"/>
          <c:spPr>
            <a:solidFill>
              <a:schemeClr val="accent2"/>
            </a:solidFill>
            <a:ln>
              <a:noFill/>
            </a:ln>
          </c:spPr>
          <c:invertIfNegative val="0"/>
          <c:dLbls>
            <c:dLbl>
              <c:idx val="0"/>
              <c:layout>
                <c:manualLayout>
                  <c:x val="0"/>
                  <c:y val="-2.05761316872428E-3"/>
                </c:manualLayout>
              </c:layout>
              <c:tx>
                <c:rich>
                  <a:bodyPr wrap="none"/>
                  <a:lstStyle/>
                  <a:p>
                    <a:pPr>
                      <a:defRPr sz="1600">
                        <a:solidFill>
                          <a:schemeClr val="bg1"/>
                        </a:solidFill>
                        <a:latin typeface="+mn-lt"/>
                        <a:ea typeface="+mn-ea"/>
                        <a:cs typeface="+mn-cs"/>
                        <a:sym typeface="+mn-lt"/>
                      </a:defRPr>
                    </a:pPr>
                    <a:r>
                      <a:rPr lang="en-US" dirty="0"/>
                      <a:t>30.1</a:t>
                    </a:r>
                  </a:p>
                </c:rich>
              </c:tx>
              <c:numFmt formatCode="#,##0;&quot;-&quot;#,##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showDataLabelsRange val="0"/>
                </c:ext>
                <c:ext xmlns:c16="http://schemas.microsoft.com/office/drawing/2014/chart" uri="{C3380CC4-5D6E-409C-BE32-E72D297353CC}">
                  <c16:uniqueId val="{00000000-4CA3-48D6-BF29-230B3415902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General</c:formatCode>
                <c:ptCount val="2"/>
                <c:pt idx="0">
                  <c:v>30.1</c:v>
                </c:pt>
                <c:pt idx="1">
                  <c:v>0.2</c:v>
                </c:pt>
              </c:numCache>
            </c:numRef>
          </c:val>
          <c:extLst>
            <c:ext xmlns:c16="http://schemas.microsoft.com/office/drawing/2014/chart" uri="{C3380CC4-5D6E-409C-BE32-E72D297353CC}">
              <c16:uniqueId val="{00000001-4CA3-48D6-BF29-230B34159025}"/>
            </c:ext>
          </c:extLst>
        </c:ser>
        <c:ser>
          <c:idx val="1"/>
          <c:order val="1"/>
          <c:spPr>
            <a:solidFill>
              <a:srgbClr val="808080"/>
            </a:solidFill>
            <a:ln>
              <a:noFill/>
            </a:ln>
          </c:spPr>
          <c:invertIfNegative val="0"/>
          <c:dLbls>
            <c:dLbl>
              <c:idx val="0"/>
              <c:layout>
                <c:manualLayout>
                  <c:x val="4.3410863772754341E-3"/>
                  <c:y val="-2.05761316872428E-3"/>
                </c:manualLayout>
              </c:layout>
              <c:tx>
                <c:rich>
                  <a:bodyPr wrap="none"/>
                  <a:lstStyle/>
                  <a:p>
                    <a:pPr>
                      <a:defRPr sz="1600">
                        <a:solidFill>
                          <a:schemeClr val="bg1"/>
                        </a:solidFill>
                        <a:latin typeface="+mn-lt"/>
                        <a:ea typeface="+mn-ea"/>
                        <a:cs typeface="+mn-cs"/>
                        <a:sym typeface="+mn-lt"/>
                      </a:defRPr>
                    </a:pPr>
                    <a:r>
                      <a:rPr lang="en-US" dirty="0"/>
                      <a:t>13.0</a:t>
                    </a:r>
                  </a:p>
                </c:rich>
              </c:tx>
              <c:numFmt formatCode="#,##0;&quot;-&quot;#,##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manualLayout>
                      <c:w val="5.4356710562999747E-2"/>
                      <c:h val="6.9261442210239083E-2"/>
                    </c:manualLayout>
                  </c15:layout>
                  <c15:showDataLabelsRange val="0"/>
                </c:ext>
                <c:ext xmlns:c16="http://schemas.microsoft.com/office/drawing/2014/chart" uri="{C3380CC4-5D6E-409C-BE32-E72D297353CC}">
                  <c16:uniqueId val="{00000002-4CA3-48D6-BF29-230B34159025}"/>
                </c:ext>
              </c:extLst>
            </c:dLbl>
            <c:dLbl>
              <c:idx val="1"/>
              <c:layout>
                <c:manualLayout>
                  <c:x val="0"/>
                  <c:y val="-2.05761316872428E-3"/>
                </c:manualLayout>
              </c:layout>
              <c:tx>
                <c:rich>
                  <a:bodyPr wrap="none"/>
                  <a:lstStyle/>
                  <a:p>
                    <a:pPr>
                      <a:defRPr sz="1600">
                        <a:solidFill>
                          <a:schemeClr val="bg1"/>
                        </a:solidFill>
                        <a:latin typeface="+mn-lt"/>
                        <a:ea typeface="+mn-ea"/>
                        <a:cs typeface="+mn-cs"/>
                        <a:sym typeface="+mn-lt"/>
                      </a:defRPr>
                    </a:pPr>
                    <a:r>
                      <a:rPr lang="en-US" dirty="0"/>
                      <a:t>7.6</a:t>
                    </a:r>
                  </a:p>
                </c:rich>
              </c:tx>
              <c:numFmt formatCode="#,##0;&quot;-&quot;#,##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showDataLabelsRange val="0"/>
                </c:ext>
                <c:ext xmlns:c16="http://schemas.microsoft.com/office/drawing/2014/chart" uri="{C3380CC4-5D6E-409C-BE32-E72D297353CC}">
                  <c16:uniqueId val="{00000003-4CA3-48D6-BF29-230B3415902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B$2</c:f>
              <c:numCache>
                <c:formatCode>General</c:formatCode>
                <c:ptCount val="2"/>
                <c:pt idx="0">
                  <c:v>13</c:v>
                </c:pt>
                <c:pt idx="1">
                  <c:v>7.6</c:v>
                </c:pt>
              </c:numCache>
            </c:numRef>
          </c:val>
          <c:extLst>
            <c:ext xmlns:c16="http://schemas.microsoft.com/office/drawing/2014/chart" uri="{C3380CC4-5D6E-409C-BE32-E72D297353CC}">
              <c16:uniqueId val="{00000004-4CA3-48D6-BF29-230B34159025}"/>
            </c:ext>
          </c:extLst>
        </c:ser>
        <c:ser>
          <c:idx val="2"/>
          <c:order val="2"/>
          <c:spPr>
            <a:solidFill>
              <a:srgbClr val="9DB1CF"/>
            </a:solidFill>
            <a:ln>
              <a:noFill/>
            </a:ln>
          </c:spPr>
          <c:invertIfNegative val="0"/>
          <c:val>
            <c:numRef>
              <c:f>Sheet1!$A$3:$B$3</c:f>
              <c:numCache>
                <c:formatCode>General</c:formatCode>
                <c:ptCount val="2"/>
                <c:pt idx="0">
                  <c:v>1.2000000000000028</c:v>
                </c:pt>
                <c:pt idx="1">
                  <c:v>0</c:v>
                </c:pt>
              </c:numCache>
            </c:numRef>
          </c:val>
          <c:extLst>
            <c:ext xmlns:c16="http://schemas.microsoft.com/office/drawing/2014/chart" uri="{C3380CC4-5D6E-409C-BE32-E72D297353CC}">
              <c16:uniqueId val="{00000005-4CA3-48D6-BF29-230B34159025}"/>
            </c:ext>
          </c:extLst>
        </c:ser>
        <c:ser>
          <c:idx val="3"/>
          <c:order val="3"/>
          <c:spPr>
            <a:solidFill>
              <a:schemeClr val="accent1"/>
            </a:solidFill>
            <a:ln>
              <a:noFill/>
            </a:ln>
          </c:spPr>
          <c:invertIfNegative val="0"/>
          <c:dLbls>
            <c:dLbl>
              <c:idx val="1"/>
              <c:layout>
                <c:manualLayout>
                  <c:x val="-3.1456429723959109E-3"/>
                  <c:y val="-2.0575270026212894E-3"/>
                </c:manualLayout>
              </c:layout>
              <c:tx>
                <c:rich>
                  <a:bodyPr wrap="none"/>
                  <a:lstStyle/>
                  <a:p>
                    <a:pPr>
                      <a:defRPr sz="1600">
                        <a:solidFill>
                          <a:schemeClr val="bg1"/>
                        </a:solidFill>
                        <a:latin typeface="+mn-lt"/>
                        <a:ea typeface="+mn-ea"/>
                        <a:cs typeface="+mn-cs"/>
                        <a:sym typeface="+mn-lt"/>
                      </a:defRPr>
                    </a:pPr>
                    <a:r>
                      <a:rPr lang="en-US" dirty="0"/>
                      <a:t>2.9</a:t>
                    </a:r>
                  </a:p>
                </c:rich>
              </c:tx>
              <c:numFmt formatCode="#,##0;&quot;-&quot;#,##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showDataLabelsRange val="0"/>
                </c:ext>
                <c:ext xmlns:c16="http://schemas.microsoft.com/office/drawing/2014/chart" uri="{C3380CC4-5D6E-409C-BE32-E72D297353CC}">
                  <c16:uniqueId val="{00000006-4CA3-48D6-BF29-230B3415902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B$4</c:f>
              <c:numCache>
                <c:formatCode>General</c:formatCode>
                <c:ptCount val="2"/>
                <c:pt idx="0">
                  <c:v>2.1000000000000014</c:v>
                </c:pt>
                <c:pt idx="1">
                  <c:v>2.8999999999999995</c:v>
                </c:pt>
              </c:numCache>
            </c:numRef>
          </c:val>
          <c:extLst>
            <c:ext xmlns:c16="http://schemas.microsoft.com/office/drawing/2014/chart" uri="{C3380CC4-5D6E-409C-BE32-E72D297353CC}">
              <c16:uniqueId val="{00000007-4CA3-48D6-BF29-230B34159025}"/>
            </c:ext>
          </c:extLst>
        </c:ser>
        <c:dLbls>
          <c:showLegendKey val="0"/>
          <c:showVal val="0"/>
          <c:showCatName val="0"/>
          <c:showSerName val="0"/>
          <c:showPercent val="0"/>
          <c:showBubbleSize val="0"/>
        </c:dLbls>
        <c:gapWidth val="80"/>
        <c:overlap val="100"/>
        <c:axId val="192859136"/>
        <c:axId val="192742144"/>
      </c:barChart>
      <c:catAx>
        <c:axId val="192859136"/>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92742144"/>
        <c:crosses val="min"/>
        <c:auto val="0"/>
        <c:lblAlgn val="ctr"/>
        <c:lblOffset val="100"/>
        <c:noMultiLvlLbl val="0"/>
      </c:catAx>
      <c:valAx>
        <c:axId val="192742144"/>
        <c:scaling>
          <c:orientation val="minMax"/>
          <c:max val="46.400000000000006"/>
          <c:min val="0"/>
        </c:scaling>
        <c:delete val="0"/>
        <c:axPos val="l"/>
        <c:numFmt formatCode="General" sourceLinked="1"/>
        <c:majorTickMark val="out"/>
        <c:minorTickMark val="none"/>
        <c:tickLblPos val="nextTo"/>
        <c:txPr>
          <a:bodyPr/>
          <a:lstStyle/>
          <a:p>
            <a:pPr>
              <a:defRPr sz="1200"/>
            </a:pPr>
            <a:endParaRPr lang="en-US"/>
          </a:p>
        </c:txPr>
        <c:crossAx val="192859136"/>
        <c:crosses val="min"/>
        <c:crossBetween val="between"/>
      </c:valAx>
    </c:plotArea>
    <c:plotVisOnly val="0"/>
    <c:dispBlanksAs val="gap"/>
    <c:showDLblsOverMax val="1"/>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A$2</c:f>
              <c:strCache>
                <c:ptCount val="1"/>
                <c:pt idx="0">
                  <c:v>Mildly Improved</c:v>
                </c:pt>
              </c:strCache>
            </c:strRef>
          </c:tx>
          <c:spPr>
            <a:solidFill>
              <a:schemeClr val="accent1">
                <a:lumMod val="40000"/>
                <a:lumOff val="60000"/>
              </a:schemeClr>
            </a:solidFill>
          </c:spPr>
          <c:invertIfNegative val="0"/>
          <c:dLbls>
            <c:dLbl>
              <c:idx val="0"/>
              <c:layout>
                <c:manualLayout>
                  <c:x val="1.6658844442858721E-3"/>
                  <c:y val="-1.1231561317032176E-2"/>
                </c:manualLayout>
              </c:layout>
              <c:tx>
                <c:rich>
                  <a:bodyPr wrap="square" lIns="38100" tIns="19050" rIns="38100" bIns="19050" anchor="ctr">
                    <a:noAutofit/>
                  </a:bodyPr>
                  <a:lstStyle/>
                  <a:p>
                    <a:pPr>
                      <a:defRPr sz="1300" b="1">
                        <a:solidFill>
                          <a:schemeClr val="tx1"/>
                        </a:solidFill>
                      </a:defRPr>
                    </a:pPr>
                    <a:r>
                      <a:rPr lang="en-US" dirty="0"/>
                      <a:t>19%</a:t>
                    </a:r>
                  </a:p>
                </c:rich>
              </c:tx>
              <c:spPr>
                <a:noFill/>
                <a:ln>
                  <a:noFill/>
                </a:ln>
                <a:effectLst/>
              </c:spPr>
              <c:dLblPos val="ctr"/>
              <c:showLegendKey val="0"/>
              <c:showVal val="1"/>
              <c:showCatName val="0"/>
              <c:showSerName val="0"/>
              <c:showPercent val="0"/>
              <c:showBubbleSize val="0"/>
              <c:extLst>
                <c:ext xmlns:c15="http://schemas.microsoft.com/office/drawing/2012/chart" uri="{CE6537A1-D6FC-4f65-9D91-7224C49458BB}">
                  <c15:layout>
                    <c:manualLayout>
                      <c:w val="0.10395171401145237"/>
                      <c:h val="5.192675751724736E-2"/>
                    </c:manualLayout>
                  </c15:layout>
                  <c15:showDataLabelsRange val="0"/>
                </c:ext>
                <c:ext xmlns:c16="http://schemas.microsoft.com/office/drawing/2014/chart" uri="{C3380CC4-5D6E-409C-BE32-E72D297353CC}">
                  <c16:uniqueId val="{00000000-F9F4-45A6-88F3-07F100D185D6}"/>
                </c:ext>
              </c:extLst>
            </c:dLbl>
            <c:dLbl>
              <c:idx val="1"/>
              <c:delete val="1"/>
              <c:extLst>
                <c:ext xmlns:c15="http://schemas.microsoft.com/office/drawing/2012/chart" uri="{CE6537A1-D6FC-4f65-9D91-7224C49458BB}"/>
                <c:ext xmlns:c16="http://schemas.microsoft.com/office/drawing/2014/chart" uri="{C3380CC4-5D6E-409C-BE32-E72D297353CC}">
                  <c16:uniqueId val="{00000000-9043-4BBE-AA35-02AC7D712E47}"/>
                </c:ext>
              </c:extLst>
            </c:dLbl>
            <c:spPr>
              <a:noFill/>
              <a:ln>
                <a:noFill/>
              </a:ln>
              <a:effectLst/>
            </c:spPr>
            <c:txPr>
              <a:bodyPr wrap="square" lIns="38100" tIns="19050" rIns="38100" bIns="19050" anchor="ctr">
                <a:spAutoFit/>
              </a:bodyPr>
              <a:lstStyle/>
              <a:p>
                <a:pPr>
                  <a:defRPr sz="1300" b="1">
                    <a:solidFill>
                      <a:schemeClr val="tx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B$1:$C$1</c:f>
              <c:strCache>
                <c:ptCount val="2"/>
                <c:pt idx="0">
                  <c:v>Treatment 
(6-months)
n=58</c:v>
                </c:pt>
                <c:pt idx="1">
                  <c:v>Control 
(6-months)
n=72</c:v>
                </c:pt>
              </c:strCache>
            </c:strRef>
          </c:cat>
          <c:val>
            <c:numRef>
              <c:f>Sheet1!$B$2:$C$2</c:f>
              <c:numCache>
                <c:formatCode>General</c:formatCode>
                <c:ptCount val="2"/>
                <c:pt idx="0">
                  <c:v>19</c:v>
                </c:pt>
                <c:pt idx="1">
                  <c:v>6</c:v>
                </c:pt>
              </c:numCache>
            </c:numRef>
          </c:val>
          <c:extLst>
            <c:ext xmlns:c16="http://schemas.microsoft.com/office/drawing/2014/chart" uri="{C3380CC4-5D6E-409C-BE32-E72D297353CC}">
              <c16:uniqueId val="{00000005-F9F4-45A6-88F3-07F100D185D6}"/>
            </c:ext>
          </c:extLst>
        </c:ser>
        <c:ser>
          <c:idx val="1"/>
          <c:order val="1"/>
          <c:tx>
            <c:strRef>
              <c:f>Sheet1!$A$3</c:f>
              <c:strCache>
                <c:ptCount val="1"/>
                <c:pt idx="0">
                  <c:v>Markedly or Moderately Improved</c:v>
                </c:pt>
              </c:strCache>
            </c:strRef>
          </c:tx>
          <c:spPr>
            <a:solidFill>
              <a:schemeClr val="accent2"/>
            </a:solidFill>
          </c:spPr>
          <c:invertIfNegative val="0"/>
          <c:dLbls>
            <c:dLbl>
              <c:idx val="0"/>
              <c:layout>
                <c:manualLayout>
                  <c:x val="-3.0540862001263663E-17"/>
                  <c:y val="1.5270982492455922E-2"/>
                </c:manualLayout>
              </c:layout>
              <c:tx>
                <c:rich>
                  <a:bodyPr/>
                  <a:lstStyle/>
                  <a:p>
                    <a:r>
                      <a:rPr lang="en-US" dirty="0"/>
                      <a:t>60%</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F9F4-45A6-88F3-07F100D185D6}"/>
                </c:ext>
              </c:extLst>
            </c:dLbl>
            <c:dLbl>
              <c:idx val="1"/>
              <c:layout>
                <c:manualLayout>
                  <c:x val="-9.9953066657152319E-3"/>
                  <c:y val="-5.5897111395731572E-2"/>
                </c:manualLayout>
              </c:layout>
              <c:tx>
                <c:rich>
                  <a:bodyPr wrap="square" lIns="38100" tIns="19050" rIns="38100" bIns="19050" anchor="ctr">
                    <a:spAutoFit/>
                  </a:bodyPr>
                  <a:lstStyle/>
                  <a:p>
                    <a:pPr>
                      <a:defRPr sz="1300" b="1">
                        <a:solidFill>
                          <a:schemeClr val="tx1"/>
                        </a:solidFill>
                      </a:defRPr>
                    </a:pPr>
                    <a:r>
                      <a:rPr lang="en-US" dirty="0"/>
                      <a:t>6%</a:t>
                    </a:r>
                  </a:p>
                </c:rich>
              </c:tx>
              <c:numFmt formatCode="0%" sourceLinked="0"/>
              <c:spPr>
                <a:noFill/>
                <a:ln>
                  <a:noFill/>
                </a:ln>
                <a:effectLst/>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F9F4-45A6-88F3-07F100D185D6}"/>
                </c:ext>
              </c:extLst>
            </c:dLbl>
            <c:numFmt formatCode="0%" sourceLinked="0"/>
            <c:spPr>
              <a:noFill/>
              <a:ln>
                <a:noFill/>
              </a:ln>
              <a:effectLst/>
            </c:spPr>
            <c:txPr>
              <a:bodyPr wrap="square" lIns="38100" tIns="19050" rIns="38100" bIns="19050" anchor="ctr">
                <a:spAutoFit/>
              </a:bodyPr>
              <a:lstStyle/>
              <a:p>
                <a:pPr>
                  <a:defRPr sz="1300" b="1">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B$1:$C$1</c:f>
              <c:strCache>
                <c:ptCount val="2"/>
                <c:pt idx="0">
                  <c:v>Treatment 
(6-months)
n=58</c:v>
                </c:pt>
                <c:pt idx="1">
                  <c:v>Control 
(6-months)
n=72</c:v>
                </c:pt>
              </c:strCache>
            </c:strRef>
          </c:cat>
          <c:val>
            <c:numRef>
              <c:f>Sheet1!$B$3:$C$3</c:f>
              <c:numCache>
                <c:formatCode>General</c:formatCode>
                <c:ptCount val="2"/>
                <c:pt idx="0">
                  <c:v>60</c:v>
                </c:pt>
                <c:pt idx="1">
                  <c:v>6</c:v>
                </c:pt>
              </c:numCache>
            </c:numRef>
          </c:val>
          <c:extLst>
            <c:ext xmlns:c16="http://schemas.microsoft.com/office/drawing/2014/chart" uri="{C3380CC4-5D6E-409C-BE32-E72D297353CC}">
              <c16:uniqueId val="{0000000B-F9F4-45A6-88F3-07F100D185D6}"/>
            </c:ext>
          </c:extLst>
        </c:ser>
        <c:ser>
          <c:idx val="2"/>
          <c:order val="2"/>
          <c:tx>
            <c:strRef>
              <c:f>Sheet1!$A$4</c:f>
              <c:strCache>
                <c:ptCount val="1"/>
                <c:pt idx="0">
                  <c:v>No Change</c:v>
                </c:pt>
              </c:strCache>
            </c:strRef>
          </c:tx>
          <c:spPr>
            <a:solidFill>
              <a:srgbClr val="B1B5BB"/>
            </a:solidFill>
          </c:spPr>
          <c:invertIfNegative val="0"/>
          <c:dLbls>
            <c:dLbl>
              <c:idx val="0"/>
              <c:tx>
                <c:rich>
                  <a:bodyPr/>
                  <a:lstStyle/>
                  <a:p>
                    <a:r>
                      <a:rPr lang="en-US" dirty="0"/>
                      <a:t>14%</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F9F4-45A6-88F3-07F100D185D6}"/>
                </c:ext>
              </c:extLst>
            </c:dLbl>
            <c:dLbl>
              <c:idx val="1"/>
              <c:tx>
                <c:rich>
                  <a:bodyPr/>
                  <a:lstStyle/>
                  <a:p>
                    <a:r>
                      <a:rPr lang="en-US" dirty="0"/>
                      <a:t>61%</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F9F4-45A6-88F3-07F100D185D6}"/>
                </c:ext>
              </c:extLst>
            </c:dLbl>
            <c:dLbl>
              <c:idx val="2"/>
              <c:tx>
                <c:rich>
                  <a:bodyPr/>
                  <a:lstStyle/>
                  <a:p>
                    <a:r>
                      <a:rPr lang="en-US"/>
                      <a:t>21%</a:t>
                    </a:r>
                    <a:endParaRPr lang="en-US" dirty="0"/>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F9F4-45A6-88F3-07F100D185D6}"/>
                </c:ext>
              </c:extLst>
            </c:dLbl>
            <c:dLbl>
              <c:idx val="3"/>
              <c:tx>
                <c:rich>
                  <a:bodyPr/>
                  <a:lstStyle/>
                  <a:p>
                    <a:r>
                      <a:rPr lang="en-US"/>
                      <a:t>14%</a:t>
                    </a:r>
                    <a:endParaRPr lang="en-US" dirty="0"/>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F9F4-45A6-88F3-07F100D185D6}"/>
                </c:ext>
              </c:extLst>
            </c:dLbl>
            <c:dLbl>
              <c:idx val="4"/>
              <c:tx>
                <c:rich>
                  <a:bodyPr/>
                  <a:lstStyle/>
                  <a:p>
                    <a:r>
                      <a:rPr lang="en-US"/>
                      <a:t>14%</a:t>
                    </a:r>
                    <a:endParaRPr lang="en-US" dirty="0"/>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F9F4-45A6-88F3-07F100D185D6}"/>
                </c:ext>
              </c:extLst>
            </c:dLbl>
            <c:spPr>
              <a:noFill/>
              <a:ln>
                <a:noFill/>
              </a:ln>
              <a:effectLst/>
            </c:spPr>
            <c:txPr>
              <a:bodyPr wrap="square" lIns="38100" tIns="19050" rIns="38100" bIns="19050" anchor="ctr">
                <a:spAutoFit/>
              </a:bodyPr>
              <a:lstStyle/>
              <a:p>
                <a:pPr>
                  <a:defRPr sz="1300" b="1">
                    <a:solidFill>
                      <a:schemeClr val="tx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B$1:$C$1</c:f>
              <c:strCache>
                <c:ptCount val="2"/>
                <c:pt idx="0">
                  <c:v>Treatment 
(6-months)
n=58</c:v>
                </c:pt>
                <c:pt idx="1">
                  <c:v>Control 
(6-months)
n=72</c:v>
                </c:pt>
              </c:strCache>
            </c:strRef>
          </c:cat>
          <c:val>
            <c:numRef>
              <c:f>Sheet1!$B$4:$C$4</c:f>
              <c:numCache>
                <c:formatCode>General</c:formatCode>
                <c:ptCount val="2"/>
                <c:pt idx="0">
                  <c:v>-14</c:v>
                </c:pt>
                <c:pt idx="1">
                  <c:v>-61</c:v>
                </c:pt>
              </c:numCache>
            </c:numRef>
          </c:val>
          <c:extLst>
            <c:ext xmlns:c16="http://schemas.microsoft.com/office/drawing/2014/chart" uri="{C3380CC4-5D6E-409C-BE32-E72D297353CC}">
              <c16:uniqueId val="{00000011-F9F4-45A6-88F3-07F100D185D6}"/>
            </c:ext>
          </c:extLst>
        </c:ser>
        <c:ser>
          <c:idx val="3"/>
          <c:order val="3"/>
          <c:tx>
            <c:strRef>
              <c:f>Sheet1!$A$5</c:f>
              <c:strCache>
                <c:ptCount val="1"/>
                <c:pt idx="0">
                  <c:v>Worsened</c:v>
                </c:pt>
              </c:strCache>
            </c:strRef>
          </c:tx>
          <c:spPr>
            <a:solidFill>
              <a:srgbClr val="636B77"/>
            </a:solidFill>
          </c:spPr>
          <c:invertIfNegative val="0"/>
          <c:dLbls>
            <c:dLbl>
              <c:idx val="0"/>
              <c:layout>
                <c:manualLayout>
                  <c:x val="-3.0540862001263663E-17"/>
                  <c:y val="-3.0098106032520461E-2"/>
                </c:manualLayout>
              </c:layout>
              <c:tx>
                <c:rich>
                  <a:bodyPr/>
                  <a:lstStyle/>
                  <a:p>
                    <a:r>
                      <a:rPr lang="en-US" dirty="0">
                        <a:solidFill>
                          <a:schemeClr val="tx1"/>
                        </a:solidFill>
                      </a:rPr>
                      <a:t>7%</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F9F4-45A6-88F3-07F100D185D6}"/>
                </c:ext>
              </c:extLst>
            </c:dLbl>
            <c:dLbl>
              <c:idx val="1"/>
              <c:layout>
                <c:manualLayout>
                  <c:x val="-9.9953066657152319E-3"/>
                  <c:y val="-5.8189197671619534E-3"/>
                </c:manualLayout>
              </c:layout>
              <c:tx>
                <c:rich>
                  <a:bodyPr wrap="square" lIns="38100" tIns="19050" rIns="38100" bIns="19050" anchor="ctr">
                    <a:spAutoFit/>
                  </a:bodyPr>
                  <a:lstStyle/>
                  <a:p>
                    <a:pPr>
                      <a:defRPr sz="1300" b="1">
                        <a:solidFill>
                          <a:schemeClr val="bg1"/>
                        </a:solidFill>
                      </a:defRPr>
                    </a:pPr>
                    <a:r>
                      <a:rPr lang="en-US" dirty="0">
                        <a:solidFill>
                          <a:schemeClr val="bg1"/>
                        </a:solidFill>
                      </a:rPr>
                      <a:t>26%</a:t>
                    </a:r>
                  </a:p>
                </c:rich>
              </c:tx>
              <c:spPr>
                <a:noFill/>
                <a:ln>
                  <a:noFill/>
                </a:ln>
                <a:effectLst/>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F9F4-45A6-88F3-07F100D185D6}"/>
                </c:ext>
              </c:extLst>
            </c:dLbl>
            <c:dLbl>
              <c:idx val="2"/>
              <c:layout>
                <c:manualLayout>
                  <c:x val="0"/>
                  <c:y val="-1.8719084032473857E-2"/>
                </c:manualLayout>
              </c:layout>
              <c:tx>
                <c:rich>
                  <a:bodyPr/>
                  <a:lstStyle/>
                  <a:p>
                    <a:r>
                      <a:rPr lang="en-US" dirty="0"/>
                      <a:t>4%</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F9F4-45A6-88F3-07F100D185D6}"/>
                </c:ext>
              </c:extLst>
            </c:dLbl>
            <c:dLbl>
              <c:idx val="3"/>
              <c:layout>
                <c:manualLayout>
                  <c:x val="0"/>
                  <c:y val="-3.3694056469728145E-2"/>
                </c:manualLayout>
              </c:layout>
              <c:tx>
                <c:rich>
                  <a:bodyPr/>
                  <a:lstStyle/>
                  <a:p>
                    <a:r>
                      <a:rPr lang="en-US" dirty="0"/>
                      <a:t>4%</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F9F4-45A6-88F3-07F100D185D6}"/>
                </c:ext>
              </c:extLst>
            </c:dLbl>
            <c:dLbl>
              <c:idx val="4"/>
              <c:layout>
                <c:manualLayout>
                  <c:x val="0"/>
                  <c:y val="-2.9949944874508441E-2"/>
                </c:manualLayout>
              </c:layout>
              <c:tx>
                <c:rich>
                  <a:bodyPr/>
                  <a:lstStyle/>
                  <a:p>
                    <a:r>
                      <a:rPr lang="en-US" dirty="0"/>
                      <a:t>2%</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F9F4-45A6-88F3-07F100D185D6}"/>
                </c:ext>
              </c:extLst>
            </c:dLbl>
            <c:spPr>
              <a:noFill/>
              <a:ln>
                <a:noFill/>
              </a:ln>
              <a:effectLst/>
            </c:spPr>
            <c:txPr>
              <a:bodyPr wrap="square" lIns="38100" tIns="19050" rIns="38100" bIns="19050" anchor="ctr">
                <a:spAutoFit/>
              </a:bodyPr>
              <a:lstStyle/>
              <a:p>
                <a:pPr>
                  <a:defRPr sz="1300" b="1">
                    <a:solidFill>
                      <a:schemeClr val="tx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B$1:$C$1</c:f>
              <c:strCache>
                <c:ptCount val="2"/>
                <c:pt idx="0">
                  <c:v>Treatment 
(6-months)
n=58</c:v>
                </c:pt>
                <c:pt idx="1">
                  <c:v>Control 
(6-months)
n=72</c:v>
                </c:pt>
              </c:strCache>
            </c:strRef>
          </c:cat>
          <c:val>
            <c:numRef>
              <c:f>Sheet1!$B$5:$C$5</c:f>
              <c:numCache>
                <c:formatCode>General</c:formatCode>
                <c:ptCount val="2"/>
                <c:pt idx="0">
                  <c:v>-7</c:v>
                </c:pt>
                <c:pt idx="1">
                  <c:v>-26</c:v>
                </c:pt>
              </c:numCache>
            </c:numRef>
          </c:val>
          <c:extLst>
            <c:ext xmlns:c16="http://schemas.microsoft.com/office/drawing/2014/chart" uri="{C3380CC4-5D6E-409C-BE32-E72D297353CC}">
              <c16:uniqueId val="{00000017-F9F4-45A6-88F3-07F100D185D6}"/>
            </c:ext>
          </c:extLst>
        </c:ser>
        <c:dLbls>
          <c:showLegendKey val="0"/>
          <c:showVal val="0"/>
          <c:showCatName val="0"/>
          <c:showSerName val="0"/>
          <c:showPercent val="0"/>
          <c:showBubbleSize val="0"/>
        </c:dLbls>
        <c:gapWidth val="55"/>
        <c:overlap val="100"/>
        <c:axId val="193203584"/>
        <c:axId val="193246336"/>
      </c:barChart>
      <c:catAx>
        <c:axId val="193203584"/>
        <c:scaling>
          <c:orientation val="minMax"/>
        </c:scaling>
        <c:delete val="0"/>
        <c:axPos val="b"/>
        <c:numFmt formatCode="General" sourceLinked="0"/>
        <c:majorTickMark val="none"/>
        <c:minorTickMark val="none"/>
        <c:tickLblPos val="low"/>
        <c:txPr>
          <a:bodyPr/>
          <a:lstStyle/>
          <a:p>
            <a:pPr>
              <a:defRPr sz="1500"/>
            </a:pPr>
            <a:endParaRPr lang="en-US"/>
          </a:p>
        </c:txPr>
        <c:crossAx val="193246336"/>
        <c:crosses val="autoZero"/>
        <c:auto val="1"/>
        <c:lblAlgn val="ctr"/>
        <c:lblOffset val="100"/>
        <c:noMultiLvlLbl val="0"/>
      </c:catAx>
      <c:valAx>
        <c:axId val="193246336"/>
        <c:scaling>
          <c:orientation val="minMax"/>
        </c:scaling>
        <c:delete val="1"/>
        <c:axPos val="l"/>
        <c:numFmt formatCode="General" sourceLinked="1"/>
        <c:majorTickMark val="none"/>
        <c:minorTickMark val="none"/>
        <c:tickLblPos val="nextTo"/>
        <c:crossAx val="193203584"/>
        <c:crosses val="autoZero"/>
        <c:crossBetween val="between"/>
      </c:valAx>
    </c:plotArea>
    <c:plotVisOnly val="1"/>
    <c:dispBlanksAs val="gap"/>
    <c:showDLblsOverMax val="0"/>
  </c:chart>
  <c:txPr>
    <a:bodyPr/>
    <a:lstStyle/>
    <a:p>
      <a:pPr>
        <a:defRPr sz="1800"/>
      </a:pPr>
      <a:endParaRPr lang="en-US"/>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8819649314521372"/>
          <c:y val="0.13272864566647338"/>
          <c:w val="0.74032097384418216"/>
          <c:h val="0.61828704144962709"/>
        </c:manualLayout>
      </c:layout>
      <c:barChart>
        <c:barDir val="col"/>
        <c:grouping val="clustered"/>
        <c:varyColors val="0"/>
        <c:ser>
          <c:idx val="0"/>
          <c:order val="0"/>
          <c:tx>
            <c:strRef>
              <c:f>Sheet1!$B$1</c:f>
              <c:strCache>
                <c:ptCount val="1"/>
                <c:pt idx="0">
                  <c:v>Column1</c:v>
                </c:pt>
              </c:strCache>
            </c:strRef>
          </c:tx>
          <c:spPr>
            <a:solidFill>
              <a:schemeClr val="accent2"/>
            </a:solidFill>
            <a:ln w="38100"/>
          </c:spPr>
          <c:invertIfNegative val="0"/>
          <c:dPt>
            <c:idx val="0"/>
            <c:invertIfNegative val="0"/>
            <c:bubble3D val="0"/>
            <c:extLst>
              <c:ext xmlns:c16="http://schemas.microsoft.com/office/drawing/2014/chart" uri="{C3380CC4-5D6E-409C-BE32-E72D297353CC}">
                <c16:uniqueId val="{00000002-2FE5-4568-8F7C-C0ACD701D440}"/>
              </c:ext>
            </c:extLst>
          </c:dPt>
          <c:dPt>
            <c:idx val="1"/>
            <c:invertIfNegative val="0"/>
            <c:bubble3D val="0"/>
            <c:extLst>
              <c:ext xmlns:c16="http://schemas.microsoft.com/office/drawing/2014/chart" uri="{C3380CC4-5D6E-409C-BE32-E72D297353CC}">
                <c16:uniqueId val="{00000001-2FE5-4568-8F7C-C0ACD701D440}"/>
              </c:ext>
            </c:extLst>
          </c:dPt>
          <c:dLbls>
            <c:spPr>
              <a:noFill/>
              <a:ln>
                <a:noFill/>
              </a:ln>
              <a:effectLst/>
            </c:spPr>
            <c:txPr>
              <a:bodyPr wrap="square" lIns="38100" tIns="19050" rIns="38100" bIns="19050" anchor="ctr">
                <a:spAutoFit/>
              </a:bodyPr>
              <a:lstStyle/>
              <a:p>
                <a:pPr>
                  <a:defRPr sz="1600" b="1"/>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A$3</c:f>
              <c:numCache>
                <c:formatCode>General</c:formatCode>
                <c:ptCount val="2"/>
              </c:numCache>
            </c:numRef>
          </c:cat>
          <c:val>
            <c:numRef>
              <c:f>Sheet1!$B$2:$B$3</c:f>
              <c:numCache>
                <c:formatCode>General</c:formatCode>
                <c:ptCount val="2"/>
                <c:pt idx="0">
                  <c:v>3.6</c:v>
                </c:pt>
                <c:pt idx="1">
                  <c:v>-0.1</c:v>
                </c:pt>
              </c:numCache>
            </c:numRef>
          </c:val>
          <c:extLst>
            <c:ext xmlns:c16="http://schemas.microsoft.com/office/drawing/2014/chart" uri="{C3380CC4-5D6E-409C-BE32-E72D297353CC}">
              <c16:uniqueId val="{00000000-2FE5-4568-8F7C-C0ACD701D440}"/>
            </c:ext>
          </c:extLst>
        </c:ser>
        <c:dLbls>
          <c:showLegendKey val="0"/>
          <c:showVal val="0"/>
          <c:showCatName val="0"/>
          <c:showSerName val="0"/>
          <c:showPercent val="0"/>
          <c:showBubbleSize val="0"/>
        </c:dLbls>
        <c:gapWidth val="62"/>
        <c:axId val="193047552"/>
        <c:axId val="193057536"/>
      </c:barChart>
      <c:catAx>
        <c:axId val="193047552"/>
        <c:scaling>
          <c:orientation val="minMax"/>
        </c:scaling>
        <c:delete val="0"/>
        <c:axPos val="b"/>
        <c:numFmt formatCode="General" sourceLinked="0"/>
        <c:majorTickMark val="out"/>
        <c:minorTickMark val="none"/>
        <c:tickLblPos val="nextTo"/>
        <c:crossAx val="193057536"/>
        <c:crosses val="autoZero"/>
        <c:auto val="1"/>
        <c:lblAlgn val="ctr"/>
        <c:lblOffset val="100"/>
        <c:tickLblSkip val="5"/>
        <c:noMultiLvlLbl val="0"/>
      </c:catAx>
      <c:valAx>
        <c:axId val="193057536"/>
        <c:scaling>
          <c:orientation val="minMax"/>
          <c:max val="5"/>
          <c:min val="-1"/>
        </c:scaling>
        <c:delete val="1"/>
        <c:axPos val="l"/>
        <c:numFmt formatCode="General" sourceLinked="1"/>
        <c:majorTickMark val="out"/>
        <c:minorTickMark val="none"/>
        <c:tickLblPos val="nextTo"/>
        <c:crossAx val="193047552"/>
        <c:crosses val="autoZero"/>
        <c:crossBetween val="between"/>
        <c:majorUnit val="2"/>
        <c:minorUnit val="2"/>
      </c:valAx>
    </c:plotArea>
    <c:plotVisOnly val="1"/>
    <c:dispBlanksAs val="gap"/>
    <c:showDLblsOverMax val="0"/>
  </c:chart>
  <c:txPr>
    <a:bodyPr/>
    <a:lstStyle/>
    <a:p>
      <a:pPr>
        <a:defRPr sz="1800"/>
      </a:pPr>
      <a:endParaRPr lang="en-US"/>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A$2</c:f>
              <c:strCache>
                <c:ptCount val="1"/>
                <c:pt idx="0">
                  <c:v>Mildly Improved</c:v>
                </c:pt>
              </c:strCache>
            </c:strRef>
          </c:tx>
          <c:spPr>
            <a:solidFill>
              <a:schemeClr val="accent1">
                <a:lumMod val="40000"/>
                <a:lumOff val="60000"/>
              </a:schemeClr>
            </a:solidFill>
          </c:spPr>
          <c:invertIfNegative val="0"/>
          <c:dLbls>
            <c:dLbl>
              <c:idx val="0"/>
              <c:layout>
                <c:manualLayout>
                  <c:x val="1.6659091537693628E-3"/>
                  <c:y val="-6.976459015690455E-3"/>
                </c:manualLayout>
              </c:layout>
              <c:tx>
                <c:rich>
                  <a:bodyPr wrap="square" lIns="38100" tIns="19050" rIns="38100" bIns="19050" anchor="ctr">
                    <a:noAutofit/>
                  </a:bodyPr>
                  <a:lstStyle/>
                  <a:p>
                    <a:pPr>
                      <a:defRPr sz="1300" b="1">
                        <a:solidFill>
                          <a:schemeClr val="tx1"/>
                        </a:solidFill>
                      </a:defRPr>
                    </a:pPr>
                    <a:r>
                      <a:rPr lang="en-US" dirty="0"/>
                      <a:t>17%</a:t>
                    </a:r>
                  </a:p>
                </c:rich>
              </c:tx>
              <c:spPr>
                <a:noFill/>
                <a:ln>
                  <a:noFill/>
                </a:ln>
                <a:effectLst/>
              </c:spPr>
              <c:dLblPos val="ctr"/>
              <c:showLegendKey val="0"/>
              <c:showVal val="1"/>
              <c:showCatName val="0"/>
              <c:showSerName val="0"/>
              <c:showPercent val="0"/>
              <c:showBubbleSize val="0"/>
              <c:extLst>
                <c:ext xmlns:c15="http://schemas.microsoft.com/office/drawing/2012/chart" uri="{CE6537A1-D6FC-4f65-9D91-7224C49458BB}">
                  <c15:layout>
                    <c:manualLayout>
                      <c:w val="0.10395171401145237"/>
                      <c:h val="5.192675751724736E-2"/>
                    </c:manualLayout>
                  </c15:layout>
                  <c15:showDataLabelsRange val="0"/>
                </c:ext>
                <c:ext xmlns:c16="http://schemas.microsoft.com/office/drawing/2014/chart" uri="{C3380CC4-5D6E-409C-BE32-E72D297353CC}">
                  <c16:uniqueId val="{00000000-286C-4A18-B98B-10AFB6DFA9EA}"/>
                </c:ext>
              </c:extLst>
            </c:dLbl>
            <c:dLbl>
              <c:idx val="1"/>
              <c:layout>
                <c:manualLayout>
                  <c:x val="0"/>
                  <c:y val="-8.5099197521268481E-3"/>
                </c:manualLayout>
              </c:layout>
              <c:tx>
                <c:rich>
                  <a:bodyPr/>
                  <a:lstStyle/>
                  <a:p>
                    <a:r>
                      <a:rPr lang="en-US" dirty="0"/>
                      <a:t>9%</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8FA9-46BE-A22F-FB5E7F326D90}"/>
                </c:ext>
              </c:extLst>
            </c:dLbl>
            <c:spPr>
              <a:noFill/>
              <a:ln>
                <a:noFill/>
              </a:ln>
              <a:effectLst/>
            </c:spPr>
            <c:txPr>
              <a:bodyPr wrap="square" lIns="38100" tIns="19050" rIns="38100" bIns="19050" anchor="ctr">
                <a:spAutoFit/>
              </a:bodyPr>
              <a:lstStyle/>
              <a:p>
                <a:pPr>
                  <a:defRPr sz="1300" b="1">
                    <a:solidFill>
                      <a:schemeClr val="tx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B$1:$C$1</c:f>
              <c:strCache>
                <c:ptCount val="2"/>
                <c:pt idx="0">
                  <c:v>Treatment 
(6-months)
n=35</c:v>
                </c:pt>
                <c:pt idx="1">
                  <c:v>Control 
(6-months)
n=44</c:v>
                </c:pt>
              </c:strCache>
            </c:strRef>
          </c:cat>
          <c:val>
            <c:numRef>
              <c:f>Sheet1!$B$2:$C$2</c:f>
              <c:numCache>
                <c:formatCode>General</c:formatCode>
                <c:ptCount val="2"/>
                <c:pt idx="0">
                  <c:v>17</c:v>
                </c:pt>
                <c:pt idx="1">
                  <c:v>9</c:v>
                </c:pt>
              </c:numCache>
            </c:numRef>
          </c:val>
          <c:extLst>
            <c:ext xmlns:c16="http://schemas.microsoft.com/office/drawing/2014/chart" uri="{C3380CC4-5D6E-409C-BE32-E72D297353CC}">
              <c16:uniqueId val="{00000005-286C-4A18-B98B-10AFB6DFA9EA}"/>
            </c:ext>
          </c:extLst>
        </c:ser>
        <c:ser>
          <c:idx val="1"/>
          <c:order val="1"/>
          <c:tx>
            <c:strRef>
              <c:f>Sheet1!$A$3</c:f>
              <c:strCache>
                <c:ptCount val="1"/>
                <c:pt idx="0">
                  <c:v>Markedly or Moderately Improved</c:v>
                </c:pt>
              </c:strCache>
            </c:strRef>
          </c:tx>
          <c:spPr>
            <a:solidFill>
              <a:srgbClr val="007E39"/>
            </a:solidFill>
          </c:spPr>
          <c:invertIfNegative val="0"/>
          <c:dPt>
            <c:idx val="0"/>
            <c:invertIfNegative val="0"/>
            <c:bubble3D val="0"/>
            <c:spPr>
              <a:solidFill>
                <a:schemeClr val="accent1"/>
              </a:solidFill>
            </c:spPr>
            <c:extLst>
              <c:ext xmlns:c16="http://schemas.microsoft.com/office/drawing/2014/chart" uri="{C3380CC4-5D6E-409C-BE32-E72D297353CC}">
                <c16:uniqueId val="{00000006-286C-4A18-B98B-10AFB6DFA9EA}"/>
              </c:ext>
            </c:extLst>
          </c:dPt>
          <c:dPt>
            <c:idx val="1"/>
            <c:invertIfNegative val="0"/>
            <c:bubble3D val="0"/>
            <c:spPr>
              <a:solidFill>
                <a:schemeClr val="accent1"/>
              </a:solidFill>
            </c:spPr>
            <c:extLst>
              <c:ext xmlns:c16="http://schemas.microsoft.com/office/drawing/2014/chart" uri="{C3380CC4-5D6E-409C-BE32-E72D297353CC}">
                <c16:uniqueId val="{00000007-286C-4A18-B98B-10AFB6DFA9EA}"/>
              </c:ext>
            </c:extLst>
          </c:dPt>
          <c:dLbls>
            <c:dLbl>
              <c:idx val="0"/>
              <c:layout>
                <c:manualLayout>
                  <c:x val="-3.0540862001263663E-17"/>
                  <c:y val="1.5270982492455922E-2"/>
                </c:manualLayout>
              </c:layout>
              <c:tx>
                <c:rich>
                  <a:bodyPr/>
                  <a:lstStyle/>
                  <a:p>
                    <a:r>
                      <a:rPr lang="en-US" dirty="0"/>
                      <a:t>57%</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286C-4A18-B98B-10AFB6DFA9EA}"/>
                </c:ext>
              </c:extLst>
            </c:dLbl>
            <c:dLbl>
              <c:idx val="1"/>
              <c:layout>
                <c:manualLayout>
                  <c:x val="0"/>
                  <c:y val="-5.5897111395731613E-2"/>
                </c:manualLayout>
              </c:layout>
              <c:tx>
                <c:rich>
                  <a:bodyPr wrap="square" lIns="38100" tIns="19050" rIns="38100" bIns="19050" anchor="ctr">
                    <a:spAutoFit/>
                  </a:bodyPr>
                  <a:lstStyle/>
                  <a:p>
                    <a:pPr>
                      <a:defRPr sz="1300" b="1">
                        <a:solidFill>
                          <a:schemeClr val="tx1"/>
                        </a:solidFill>
                      </a:defRPr>
                    </a:pPr>
                    <a:r>
                      <a:rPr lang="en-US" dirty="0"/>
                      <a:t>9%</a:t>
                    </a:r>
                  </a:p>
                </c:rich>
              </c:tx>
              <c:spPr>
                <a:noFill/>
                <a:ln>
                  <a:noFill/>
                </a:ln>
                <a:effectLst/>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286C-4A18-B98B-10AFB6DFA9EA}"/>
                </c:ext>
              </c:extLst>
            </c:dLbl>
            <c:spPr>
              <a:noFill/>
              <a:ln>
                <a:noFill/>
              </a:ln>
              <a:effectLst/>
            </c:spPr>
            <c:txPr>
              <a:bodyPr wrap="square" lIns="38100" tIns="19050" rIns="38100" bIns="19050" anchor="ctr">
                <a:spAutoFit/>
              </a:bodyPr>
              <a:lstStyle/>
              <a:p>
                <a:pPr>
                  <a:defRPr sz="1300" b="1">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B$1:$C$1</c:f>
              <c:strCache>
                <c:ptCount val="2"/>
                <c:pt idx="0">
                  <c:v>Treatment 
(6-months)
n=35</c:v>
                </c:pt>
                <c:pt idx="1">
                  <c:v>Control 
(6-months)
n=44</c:v>
                </c:pt>
              </c:strCache>
            </c:strRef>
          </c:cat>
          <c:val>
            <c:numRef>
              <c:f>Sheet1!$B$3:$C$3</c:f>
              <c:numCache>
                <c:formatCode>General</c:formatCode>
                <c:ptCount val="2"/>
                <c:pt idx="0">
                  <c:v>57</c:v>
                </c:pt>
                <c:pt idx="1">
                  <c:v>9</c:v>
                </c:pt>
              </c:numCache>
            </c:numRef>
          </c:val>
          <c:extLst>
            <c:ext xmlns:c16="http://schemas.microsoft.com/office/drawing/2014/chart" uri="{C3380CC4-5D6E-409C-BE32-E72D297353CC}">
              <c16:uniqueId val="{0000000B-286C-4A18-B98B-10AFB6DFA9EA}"/>
            </c:ext>
          </c:extLst>
        </c:ser>
        <c:ser>
          <c:idx val="2"/>
          <c:order val="2"/>
          <c:tx>
            <c:strRef>
              <c:f>Sheet1!$A$4</c:f>
              <c:strCache>
                <c:ptCount val="1"/>
                <c:pt idx="0">
                  <c:v>No Change</c:v>
                </c:pt>
              </c:strCache>
            </c:strRef>
          </c:tx>
          <c:spPr>
            <a:solidFill>
              <a:srgbClr val="B1B5BB"/>
            </a:solidFill>
          </c:spPr>
          <c:invertIfNegative val="0"/>
          <c:dLbls>
            <c:dLbl>
              <c:idx val="0"/>
              <c:tx>
                <c:rich>
                  <a:bodyPr/>
                  <a:lstStyle/>
                  <a:p>
                    <a:r>
                      <a:rPr lang="en-US" dirty="0"/>
                      <a:t>17%</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286C-4A18-B98B-10AFB6DFA9EA}"/>
                </c:ext>
              </c:extLst>
            </c:dLbl>
            <c:dLbl>
              <c:idx val="1"/>
              <c:tx>
                <c:rich>
                  <a:bodyPr/>
                  <a:lstStyle/>
                  <a:p>
                    <a:r>
                      <a:rPr lang="en-US" dirty="0"/>
                      <a:t>59%</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286C-4A18-B98B-10AFB6DFA9EA}"/>
                </c:ext>
              </c:extLst>
            </c:dLbl>
            <c:dLbl>
              <c:idx val="2"/>
              <c:tx>
                <c:rich>
                  <a:bodyPr/>
                  <a:lstStyle/>
                  <a:p>
                    <a:r>
                      <a:rPr lang="en-US"/>
                      <a:t>21%</a:t>
                    </a:r>
                    <a:endParaRPr lang="en-US" dirty="0"/>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286C-4A18-B98B-10AFB6DFA9EA}"/>
                </c:ext>
              </c:extLst>
            </c:dLbl>
            <c:dLbl>
              <c:idx val="3"/>
              <c:tx>
                <c:rich>
                  <a:bodyPr/>
                  <a:lstStyle/>
                  <a:p>
                    <a:r>
                      <a:rPr lang="en-US"/>
                      <a:t>14%</a:t>
                    </a:r>
                    <a:endParaRPr lang="en-US" dirty="0"/>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286C-4A18-B98B-10AFB6DFA9EA}"/>
                </c:ext>
              </c:extLst>
            </c:dLbl>
            <c:dLbl>
              <c:idx val="4"/>
              <c:tx>
                <c:rich>
                  <a:bodyPr/>
                  <a:lstStyle/>
                  <a:p>
                    <a:r>
                      <a:rPr lang="en-US"/>
                      <a:t>14%</a:t>
                    </a:r>
                    <a:endParaRPr lang="en-US" dirty="0"/>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286C-4A18-B98B-10AFB6DFA9EA}"/>
                </c:ext>
              </c:extLst>
            </c:dLbl>
            <c:spPr>
              <a:noFill/>
              <a:ln>
                <a:noFill/>
              </a:ln>
              <a:effectLst/>
            </c:spPr>
            <c:txPr>
              <a:bodyPr wrap="square" lIns="38100" tIns="19050" rIns="38100" bIns="19050" anchor="ctr">
                <a:spAutoFit/>
              </a:bodyPr>
              <a:lstStyle/>
              <a:p>
                <a:pPr>
                  <a:defRPr sz="1300" b="1">
                    <a:solidFill>
                      <a:schemeClr val="tx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B$1:$C$1</c:f>
              <c:strCache>
                <c:ptCount val="2"/>
                <c:pt idx="0">
                  <c:v>Treatment 
(6-months)
n=35</c:v>
                </c:pt>
                <c:pt idx="1">
                  <c:v>Control 
(6-months)
n=44</c:v>
                </c:pt>
              </c:strCache>
            </c:strRef>
          </c:cat>
          <c:val>
            <c:numRef>
              <c:f>Sheet1!$B$4:$C$4</c:f>
              <c:numCache>
                <c:formatCode>General</c:formatCode>
                <c:ptCount val="2"/>
                <c:pt idx="0">
                  <c:v>-17</c:v>
                </c:pt>
                <c:pt idx="1">
                  <c:v>-59</c:v>
                </c:pt>
              </c:numCache>
            </c:numRef>
          </c:val>
          <c:extLst>
            <c:ext xmlns:c16="http://schemas.microsoft.com/office/drawing/2014/chart" uri="{C3380CC4-5D6E-409C-BE32-E72D297353CC}">
              <c16:uniqueId val="{00000011-286C-4A18-B98B-10AFB6DFA9EA}"/>
            </c:ext>
          </c:extLst>
        </c:ser>
        <c:ser>
          <c:idx val="3"/>
          <c:order val="3"/>
          <c:tx>
            <c:strRef>
              <c:f>Sheet1!$A$5</c:f>
              <c:strCache>
                <c:ptCount val="1"/>
                <c:pt idx="0">
                  <c:v>Worsened</c:v>
                </c:pt>
              </c:strCache>
            </c:strRef>
          </c:tx>
          <c:spPr>
            <a:solidFill>
              <a:srgbClr val="636B77"/>
            </a:solidFill>
          </c:spPr>
          <c:invertIfNegative val="0"/>
          <c:dLbls>
            <c:dLbl>
              <c:idx val="0"/>
              <c:layout>
                <c:manualLayout>
                  <c:x val="-3.0540862001263663E-17"/>
                  <c:y val="-3.0098106032520461E-2"/>
                </c:manualLayout>
              </c:layout>
              <c:tx>
                <c:rich>
                  <a:bodyPr/>
                  <a:lstStyle/>
                  <a:p>
                    <a:r>
                      <a:rPr lang="en-US" dirty="0">
                        <a:solidFill>
                          <a:schemeClr val="tx1"/>
                        </a:solidFill>
                      </a:rPr>
                      <a:t>9%</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286C-4A18-B98B-10AFB6DFA9EA}"/>
                </c:ext>
              </c:extLst>
            </c:dLbl>
            <c:dLbl>
              <c:idx val="1"/>
              <c:layout>
                <c:manualLayout>
                  <c:x val="9.9953066657151105E-3"/>
                  <c:y val="2.7809743973625208E-3"/>
                </c:manualLayout>
              </c:layout>
              <c:tx>
                <c:rich>
                  <a:bodyPr wrap="square" lIns="38100" tIns="19050" rIns="38100" bIns="19050" anchor="ctr">
                    <a:spAutoFit/>
                  </a:bodyPr>
                  <a:lstStyle/>
                  <a:p>
                    <a:pPr>
                      <a:defRPr sz="1300" b="1">
                        <a:solidFill>
                          <a:schemeClr val="bg1"/>
                        </a:solidFill>
                      </a:defRPr>
                    </a:pPr>
                    <a:r>
                      <a:rPr lang="en-US" dirty="0">
                        <a:solidFill>
                          <a:schemeClr val="bg1"/>
                        </a:solidFill>
                      </a:rPr>
                      <a:t>12%</a:t>
                    </a:r>
                  </a:p>
                </c:rich>
              </c:tx>
              <c:spPr>
                <a:noFill/>
                <a:ln>
                  <a:noFill/>
                </a:ln>
                <a:effectLst/>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286C-4A18-B98B-10AFB6DFA9EA}"/>
                </c:ext>
              </c:extLst>
            </c:dLbl>
            <c:dLbl>
              <c:idx val="2"/>
              <c:layout>
                <c:manualLayout>
                  <c:x val="0"/>
                  <c:y val="-1.8719084032473857E-2"/>
                </c:manualLayout>
              </c:layout>
              <c:tx>
                <c:rich>
                  <a:bodyPr/>
                  <a:lstStyle/>
                  <a:p>
                    <a:r>
                      <a:rPr lang="en-US" dirty="0"/>
                      <a:t>4%</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286C-4A18-B98B-10AFB6DFA9EA}"/>
                </c:ext>
              </c:extLst>
            </c:dLbl>
            <c:dLbl>
              <c:idx val="3"/>
              <c:layout>
                <c:manualLayout>
                  <c:x val="0"/>
                  <c:y val="-3.3694056469728145E-2"/>
                </c:manualLayout>
              </c:layout>
              <c:tx>
                <c:rich>
                  <a:bodyPr/>
                  <a:lstStyle/>
                  <a:p>
                    <a:r>
                      <a:rPr lang="en-US" dirty="0"/>
                      <a:t>4%</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286C-4A18-B98B-10AFB6DFA9EA}"/>
                </c:ext>
              </c:extLst>
            </c:dLbl>
            <c:dLbl>
              <c:idx val="4"/>
              <c:layout>
                <c:manualLayout>
                  <c:x val="0"/>
                  <c:y val="-2.9949944874508441E-2"/>
                </c:manualLayout>
              </c:layout>
              <c:tx>
                <c:rich>
                  <a:bodyPr/>
                  <a:lstStyle/>
                  <a:p>
                    <a:r>
                      <a:rPr lang="en-US" dirty="0"/>
                      <a:t>2%</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286C-4A18-B98B-10AFB6DFA9EA}"/>
                </c:ext>
              </c:extLst>
            </c:dLbl>
            <c:spPr>
              <a:noFill/>
              <a:ln>
                <a:noFill/>
              </a:ln>
              <a:effectLst/>
            </c:spPr>
            <c:txPr>
              <a:bodyPr wrap="square" lIns="38100" tIns="19050" rIns="38100" bIns="19050" anchor="ctr">
                <a:spAutoFit/>
              </a:bodyPr>
              <a:lstStyle/>
              <a:p>
                <a:pPr>
                  <a:defRPr sz="1300" b="1">
                    <a:solidFill>
                      <a:schemeClr val="tx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B$1:$C$1</c:f>
              <c:strCache>
                <c:ptCount val="2"/>
                <c:pt idx="0">
                  <c:v>Treatment 
(6-months)
n=35</c:v>
                </c:pt>
                <c:pt idx="1">
                  <c:v>Control 
(6-months)
n=44</c:v>
                </c:pt>
              </c:strCache>
            </c:strRef>
          </c:cat>
          <c:val>
            <c:numRef>
              <c:f>Sheet1!$B$5:$C$5</c:f>
              <c:numCache>
                <c:formatCode>General</c:formatCode>
                <c:ptCount val="2"/>
                <c:pt idx="0">
                  <c:v>-9</c:v>
                </c:pt>
                <c:pt idx="1">
                  <c:v>-23</c:v>
                </c:pt>
              </c:numCache>
            </c:numRef>
          </c:val>
          <c:extLst>
            <c:ext xmlns:c16="http://schemas.microsoft.com/office/drawing/2014/chart" uri="{C3380CC4-5D6E-409C-BE32-E72D297353CC}">
              <c16:uniqueId val="{00000017-286C-4A18-B98B-10AFB6DFA9EA}"/>
            </c:ext>
          </c:extLst>
        </c:ser>
        <c:dLbls>
          <c:showLegendKey val="0"/>
          <c:showVal val="0"/>
          <c:showCatName val="0"/>
          <c:showSerName val="0"/>
          <c:showPercent val="0"/>
          <c:showBubbleSize val="0"/>
        </c:dLbls>
        <c:gapWidth val="55"/>
        <c:overlap val="100"/>
        <c:axId val="194000000"/>
        <c:axId val="194001536"/>
      </c:barChart>
      <c:catAx>
        <c:axId val="194000000"/>
        <c:scaling>
          <c:orientation val="minMax"/>
        </c:scaling>
        <c:delete val="0"/>
        <c:axPos val="b"/>
        <c:numFmt formatCode="General" sourceLinked="0"/>
        <c:majorTickMark val="none"/>
        <c:minorTickMark val="none"/>
        <c:tickLblPos val="low"/>
        <c:txPr>
          <a:bodyPr/>
          <a:lstStyle/>
          <a:p>
            <a:pPr>
              <a:defRPr sz="1500"/>
            </a:pPr>
            <a:endParaRPr lang="en-US"/>
          </a:p>
        </c:txPr>
        <c:crossAx val="194001536"/>
        <c:crosses val="autoZero"/>
        <c:auto val="1"/>
        <c:lblAlgn val="ctr"/>
        <c:lblOffset val="100"/>
        <c:noMultiLvlLbl val="0"/>
      </c:catAx>
      <c:valAx>
        <c:axId val="194001536"/>
        <c:scaling>
          <c:orientation val="minMax"/>
        </c:scaling>
        <c:delete val="1"/>
        <c:axPos val="l"/>
        <c:numFmt formatCode="General" sourceLinked="1"/>
        <c:majorTickMark val="none"/>
        <c:minorTickMark val="none"/>
        <c:tickLblPos val="nextTo"/>
        <c:crossAx val="194000000"/>
        <c:crosses val="autoZero"/>
        <c:crossBetween val="between"/>
      </c:valAx>
    </c:plotArea>
    <c:plotVisOnly val="1"/>
    <c:dispBlanksAs val="gap"/>
    <c:showDLblsOverMax val="0"/>
  </c:chart>
  <c:txPr>
    <a:bodyPr/>
    <a:lstStyle/>
    <a:p>
      <a:pPr>
        <a:defRPr sz="1800"/>
      </a:pPr>
      <a:endParaRPr lang="en-US"/>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681857681676482"/>
          <c:y val="0.14987964621456665"/>
          <c:w val="0.74032097384418216"/>
          <c:h val="0.73152375030212335"/>
        </c:manualLayout>
      </c:layout>
      <c:barChart>
        <c:barDir val="col"/>
        <c:grouping val="clustered"/>
        <c:varyColors val="0"/>
        <c:ser>
          <c:idx val="0"/>
          <c:order val="0"/>
          <c:tx>
            <c:strRef>
              <c:f>Sheet1!$B$1</c:f>
              <c:strCache>
                <c:ptCount val="1"/>
                <c:pt idx="0">
                  <c:v>Column1</c:v>
                </c:pt>
              </c:strCache>
            </c:strRef>
          </c:tx>
          <c:spPr>
            <a:solidFill>
              <a:srgbClr val="007E39"/>
            </a:solidFill>
            <a:ln w="38100"/>
          </c:spPr>
          <c:invertIfNegative val="0"/>
          <c:dPt>
            <c:idx val="0"/>
            <c:invertIfNegative val="0"/>
            <c:bubble3D val="0"/>
            <c:spPr>
              <a:solidFill>
                <a:schemeClr val="accent1"/>
              </a:solidFill>
              <a:ln w="38100"/>
            </c:spPr>
            <c:extLst>
              <c:ext xmlns:c16="http://schemas.microsoft.com/office/drawing/2014/chart" uri="{C3380CC4-5D6E-409C-BE32-E72D297353CC}">
                <c16:uniqueId val="{00000000-928F-4378-8D45-2A8FA739B3D0}"/>
              </c:ext>
            </c:extLst>
          </c:dPt>
          <c:dPt>
            <c:idx val="1"/>
            <c:invertIfNegative val="0"/>
            <c:bubble3D val="0"/>
            <c:spPr>
              <a:solidFill>
                <a:schemeClr val="accent1"/>
              </a:solidFill>
              <a:ln w="38100"/>
            </c:spPr>
            <c:extLst>
              <c:ext xmlns:c16="http://schemas.microsoft.com/office/drawing/2014/chart" uri="{C3380CC4-5D6E-409C-BE32-E72D297353CC}">
                <c16:uniqueId val="{00000001-928F-4378-8D45-2A8FA739B3D0}"/>
              </c:ext>
            </c:extLst>
          </c:dPt>
          <c:dLbls>
            <c:spPr>
              <a:noFill/>
              <a:ln>
                <a:noFill/>
              </a:ln>
              <a:effectLst/>
            </c:spPr>
            <c:txPr>
              <a:bodyPr wrap="square" lIns="38100" tIns="19050" rIns="38100" bIns="19050" anchor="ctr">
                <a:spAutoFit/>
              </a:bodyPr>
              <a:lstStyle/>
              <a:p>
                <a:pPr>
                  <a:defRPr sz="1200" b="1"/>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Baseline</c:v>
                </c:pt>
                <c:pt idx="1">
                  <c:v>12-months</c:v>
                </c:pt>
              </c:strCache>
            </c:strRef>
          </c:cat>
          <c:val>
            <c:numRef>
              <c:f>Sheet1!$B$2:$B$3</c:f>
              <c:numCache>
                <c:formatCode>General</c:formatCode>
                <c:ptCount val="2"/>
                <c:pt idx="0">
                  <c:v>31.6</c:v>
                </c:pt>
                <c:pt idx="1">
                  <c:v>34.799999999999997</c:v>
                </c:pt>
              </c:numCache>
            </c:numRef>
          </c:val>
          <c:extLst>
            <c:ext xmlns:c16="http://schemas.microsoft.com/office/drawing/2014/chart" uri="{C3380CC4-5D6E-409C-BE32-E72D297353CC}">
              <c16:uniqueId val="{00000000-A581-41A9-8B47-98BC6227B167}"/>
            </c:ext>
          </c:extLst>
        </c:ser>
        <c:dLbls>
          <c:showLegendKey val="0"/>
          <c:showVal val="0"/>
          <c:showCatName val="0"/>
          <c:showSerName val="0"/>
          <c:showPercent val="0"/>
          <c:showBubbleSize val="0"/>
        </c:dLbls>
        <c:gapWidth val="62"/>
        <c:axId val="193778048"/>
        <c:axId val="193779584"/>
      </c:barChart>
      <c:catAx>
        <c:axId val="193778048"/>
        <c:scaling>
          <c:orientation val="minMax"/>
        </c:scaling>
        <c:delete val="1"/>
        <c:axPos val="b"/>
        <c:numFmt formatCode="General" sourceLinked="0"/>
        <c:majorTickMark val="none"/>
        <c:minorTickMark val="none"/>
        <c:tickLblPos val="nextTo"/>
        <c:crossAx val="193779584"/>
        <c:crosses val="autoZero"/>
        <c:auto val="1"/>
        <c:lblAlgn val="ctr"/>
        <c:lblOffset val="100"/>
        <c:noMultiLvlLbl val="0"/>
      </c:catAx>
      <c:valAx>
        <c:axId val="193779584"/>
        <c:scaling>
          <c:orientation val="minMax"/>
          <c:max val="45"/>
          <c:min val="0"/>
        </c:scaling>
        <c:delete val="0"/>
        <c:axPos val="l"/>
        <c:majorGridlines/>
        <c:numFmt formatCode="General" sourceLinked="1"/>
        <c:majorTickMark val="none"/>
        <c:minorTickMark val="none"/>
        <c:tickLblPos val="nextTo"/>
        <c:spPr>
          <a:ln w="6350">
            <a:noFill/>
          </a:ln>
        </c:spPr>
        <c:txPr>
          <a:bodyPr/>
          <a:lstStyle/>
          <a:p>
            <a:pPr>
              <a:defRPr sz="1100" b="1"/>
            </a:pPr>
            <a:endParaRPr lang="en-US"/>
          </a:p>
        </c:txPr>
        <c:crossAx val="193778048"/>
        <c:crosses val="autoZero"/>
        <c:crossBetween val="between"/>
        <c:majorUnit val="10"/>
      </c:valAx>
    </c:plotArea>
    <c:plotVisOnly val="1"/>
    <c:dispBlanksAs val="gap"/>
    <c:showDLblsOverMax val="0"/>
  </c:chart>
  <c:txPr>
    <a:bodyPr/>
    <a:lstStyle/>
    <a:p>
      <a:pPr>
        <a:defRPr sz="1800"/>
      </a:pPr>
      <a:endParaRPr lang="en-US"/>
    </a:p>
  </c:txPr>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withinLinear" id="14">
  <a:schemeClr val="accent1"/>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142">
  <cs:axisTitle>
    <cs:lnRef idx="0"/>
    <cs:fillRef idx="0"/>
    <cs:effectRef idx="0"/>
    <cs:fontRef idx="minor">
      <a:schemeClr val="lt1"/>
    </cs:fontRef>
    <cs:defRPr sz="1000" b="1" kern="1200"/>
  </cs:axisTitle>
  <cs:categoryAxis>
    <cs:lnRef idx="1">
      <a:schemeClr val="dk1">
        <a:tint val="75000"/>
      </a:schemeClr>
    </cs:lnRef>
    <cs:fillRef idx="0"/>
    <cs:effectRef idx="0"/>
    <cs:fontRef idx="minor">
      <a:schemeClr val="lt1"/>
    </cs:fontRef>
    <cs:spPr>
      <a:ln>
        <a:round/>
      </a:ln>
    </cs:spPr>
    <cs:defRPr sz="1000" kern="1200"/>
  </cs:categoryAxis>
  <cs:chartArea>
    <cs:lnRef idx="0"/>
    <cs:fillRef idx="1">
      <a:schemeClr val="dk1"/>
    </cs:fillRef>
    <cs:effectRef idx="0"/>
    <cs:fontRef idx="minor">
      <a:schemeClr val="lt1"/>
    </cs:fontRef>
    <cs:defRPr sz="1000" kern="1200"/>
  </cs:chartArea>
  <cs:dataLabel>
    <cs:lnRef idx="0"/>
    <cs:fillRef idx="0"/>
    <cs:effectRef idx="0"/>
    <cs:fontRef idx="minor">
      <a:schemeClr val="lt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3">
      <a:schemeClr val="dk1"/>
    </cs:effectRef>
    <cs:fontRef idx="minor">
      <a:schemeClr val="dk1"/>
    </cs:fontRef>
  </cs:dataPoint>
  <cs:dataPoint3D>
    <cs:lnRef idx="0"/>
    <cs:fillRef idx="3">
      <cs:styleClr val="auto"/>
    </cs:fillRef>
    <cs:effectRef idx="3">
      <a:schemeClr val="dk1"/>
    </cs:effectRef>
    <cs:fontRef idx="minor">
      <a:schemeClr val="dk1"/>
    </cs:fontRef>
  </cs:dataPoint3D>
  <cs:dataPointLine>
    <cs:lnRef idx="1">
      <cs:styleClr val="auto"/>
    </cs:lnRef>
    <cs:lineWidthScale>5</cs:lineWidthScale>
    <cs:fillRef idx="0"/>
    <cs:effectRef idx="0"/>
    <cs:fontRef idx="minor">
      <a:schemeClr val="dk2"/>
    </cs:fontRef>
    <cs:spPr>
      <a:ln cap="rnd">
        <a:round/>
      </a:ln>
    </cs:spPr>
  </cs:dataPointLine>
  <cs:dataPointMarker>
    <cs:lnRef idx="1">
      <cs:styleClr val="auto"/>
    </cs:lnRef>
    <cs:fillRef idx="3">
      <cs:styleClr val="auto"/>
    </cs:fillRef>
    <cs:effectRef idx="3">
      <a:schemeClr val="dk1"/>
    </cs:effectRef>
    <cs:fontRef idx="minor">
      <a:schemeClr val="dk1"/>
    </cs:fontRef>
    <cs:spPr>
      <a:ln>
        <a:round/>
      </a:ln>
    </cs:spPr>
  </cs:dataPointMarker>
  <cs:dataPointMarkerLayout/>
  <cs:dataPointWireframe>
    <cs:lnRef idx="1">
      <cs:styleClr val="auto"/>
    </cs:lnRef>
    <cs:fillRef idx="0"/>
    <cs:effectRef idx="0"/>
    <cs:fontRef idx="minor">
      <a:schemeClr val="dk2"/>
    </cs:fontRef>
    <cs:spPr>
      <a:ln>
        <a:round/>
      </a:ln>
    </cs:spPr>
  </cs:dataPointWireframe>
  <cs:dataTable>
    <cs:lnRef idx="1">
      <a:schemeClr val="lt1"/>
    </cs:lnRef>
    <cs:fillRef idx="0"/>
    <cs:effectRef idx="0"/>
    <cs:fontRef idx="minor">
      <a:schemeClr val="lt1"/>
    </cs:fontRef>
    <cs:spPr>
      <a:ln>
        <a:round/>
      </a:ln>
    </cs:spPr>
    <cs:defRPr sz="1000" kern="1200"/>
  </cs:dataTable>
  <cs:downBar>
    <cs:lnRef idx="0"/>
    <cs:fillRef idx="3">
      <a:schemeClr val="dk1"/>
    </cs:fillRef>
    <cs:effectRef idx="3">
      <a:schemeClr val="dk1"/>
    </cs:effectRef>
    <cs:fontRef idx="minor">
      <a:schemeClr val="lt1"/>
    </cs:fontRef>
  </cs:downBar>
  <cs:dropLine>
    <cs:lnRef idx="1">
      <a:schemeClr val="lt1"/>
    </cs:lnRef>
    <cs:fillRef idx="0"/>
    <cs:effectRef idx="0"/>
    <cs:fontRef idx="minor">
      <a:schemeClr val="lt1"/>
    </cs:fontRef>
    <cs:spPr>
      <a:ln>
        <a:round/>
      </a:ln>
    </cs:spPr>
  </cs:dropLine>
  <cs:errorBar>
    <cs:lnRef idx="1">
      <a:schemeClr val="lt1"/>
    </cs:lnRef>
    <cs:fillRef idx="1">
      <a:schemeClr val="lt1"/>
    </cs:fillRef>
    <cs:effectRef idx="0"/>
    <cs:fontRef idx="minor">
      <a:schemeClr val="dk1"/>
    </cs:fontRef>
    <cs:spPr>
      <a:ln>
        <a:round/>
      </a:ln>
    </cs:spPr>
  </cs:errorBar>
  <cs:floor>
    <cs:lnRef idx="0"/>
    <cs:fillRef idx="1">
      <a:schemeClr val="dk1">
        <a:tint val="95000"/>
      </a:schemeClr>
    </cs:fillRef>
    <cs:effectRef idx="0"/>
    <cs:fontRef idx="minor">
      <a:schemeClr val="lt1"/>
    </cs:fontRef>
  </cs:floor>
  <cs:gridlineMajor>
    <cs:lnRef idx="1">
      <a:schemeClr val="dk1">
        <a:tint val="75000"/>
      </a:schemeClr>
    </cs:lnRef>
    <cs:fillRef idx="0"/>
    <cs:effectRef idx="0"/>
    <cs:fontRef idx="minor">
      <a:schemeClr val="dk2"/>
    </cs:fontRef>
    <cs:spPr>
      <a:ln>
        <a:round/>
      </a:ln>
    </cs:spPr>
  </cs:gridlineMajor>
  <cs:gridlineMinor>
    <cs:lnRef idx="1">
      <a:schemeClr val="dk1">
        <a:tint val="90000"/>
      </a:schemeClr>
    </cs:lnRef>
    <cs:fillRef idx="0"/>
    <cs:effectRef idx="0"/>
    <cs:fontRef idx="minor">
      <a:schemeClr val="dk2"/>
    </cs:fontRef>
    <cs:spPr>
      <a:ln>
        <a:round/>
      </a:ln>
    </cs:spPr>
  </cs:gridlineMinor>
  <cs:hiLoLine>
    <cs:lnRef idx="1">
      <a:schemeClr val="lt1"/>
    </cs:lnRef>
    <cs:fillRef idx="0"/>
    <cs:effectRef idx="0"/>
    <cs:fontRef idx="minor">
      <a:schemeClr val="lt1"/>
    </cs:fontRef>
    <cs:spPr>
      <a:ln>
        <a:round/>
      </a:ln>
    </cs:spPr>
  </cs:hiLoLine>
  <cs:leaderLine>
    <cs:lnRef idx="1">
      <a:schemeClr val="lt1"/>
    </cs:lnRef>
    <cs:fillRef idx="0"/>
    <cs:effectRef idx="0"/>
    <cs:fontRef idx="minor">
      <a:schemeClr val="lt1"/>
    </cs:fontRef>
    <cs:spPr>
      <a:ln>
        <a:round/>
      </a:ln>
    </cs:spPr>
  </cs:leaderLine>
  <cs:legend>
    <cs:lnRef idx="0"/>
    <cs:fillRef idx="0"/>
    <cs:effectRef idx="0"/>
    <cs:fontRef idx="minor">
      <a:schemeClr val="lt1"/>
    </cs:fontRef>
    <cs:defRPr sz="1000" kern="1200"/>
  </cs:legend>
  <cs:plotArea>
    <cs:lnRef idx="0"/>
    <cs:fillRef idx="1">
      <a:schemeClr val="dk1">
        <a:tint val="95000"/>
      </a:schemeClr>
    </cs:fillRef>
    <cs:effectRef idx="0"/>
    <cs:fontRef idx="minor">
      <a:schemeClr val="lt1"/>
    </cs:fontRef>
  </cs:plotArea>
  <cs:plotArea3D>
    <cs:lnRef idx="0"/>
    <cs:fillRef idx="0"/>
    <cs:effectRef idx="0"/>
    <cs:fontRef idx="minor">
      <a:schemeClr val="lt1"/>
    </cs:fontRef>
  </cs:plotArea3D>
  <cs:seriesAxis>
    <cs:lnRef idx="1">
      <a:schemeClr val="dk1">
        <a:tint val="75000"/>
      </a:schemeClr>
    </cs:lnRef>
    <cs:fillRef idx="0"/>
    <cs:effectRef idx="0"/>
    <cs:fontRef idx="minor">
      <a:schemeClr val="lt1"/>
    </cs:fontRef>
    <cs:spPr>
      <a:ln>
        <a:round/>
      </a:ln>
    </cs:spPr>
    <cs:defRPr sz="1000" kern="1200"/>
  </cs:seriesAxis>
  <cs:seriesLine>
    <cs:lnRef idx="1">
      <a:schemeClr val="lt1"/>
    </cs:lnRef>
    <cs:fillRef idx="0"/>
    <cs:effectRef idx="0"/>
    <cs:fontRef idx="minor">
      <a:schemeClr val="dk1"/>
    </cs:fontRef>
    <cs:spPr>
      <a:ln>
        <a:round/>
      </a:ln>
    </cs:spPr>
  </cs:seriesLine>
  <cs:title>
    <cs:lnRef idx="0"/>
    <cs:fillRef idx="0"/>
    <cs:effectRef idx="0"/>
    <cs:fontRef idx="minor">
      <a:schemeClr val="lt1"/>
    </cs:fontRef>
    <cs:defRPr sz="1800" b="1" kern="1200"/>
  </cs:title>
  <cs:trendline>
    <cs:lnRef idx="1">
      <a:schemeClr val="lt1"/>
    </cs:lnRef>
    <cs:fillRef idx="0"/>
    <cs:effectRef idx="0"/>
    <cs:fontRef idx="minor">
      <a:schemeClr val="lt1"/>
    </cs:fontRef>
    <cs:spPr>
      <a:ln cap="rnd">
        <a:round/>
      </a:ln>
    </cs:spPr>
  </cs:trendline>
  <cs:trendlineLabel>
    <cs:lnRef idx="0"/>
    <cs:fillRef idx="0"/>
    <cs:effectRef idx="0"/>
    <cs:fontRef idx="minor">
      <a:schemeClr val="lt1"/>
    </cs:fontRef>
    <cs:defRPr sz="1000" kern="1200"/>
  </cs:trendlineLabel>
  <cs:upBar>
    <cs:lnRef idx="0"/>
    <cs:fillRef idx="3">
      <a:schemeClr val="lt1"/>
    </cs:fillRef>
    <cs:effectRef idx="3">
      <a:schemeClr val="dk1"/>
    </cs:effectRef>
    <cs:fontRef idx="minor">
      <a:schemeClr val="lt1"/>
    </cs:fontRef>
  </cs:upBar>
  <cs:valueAxis>
    <cs:lnRef idx="1">
      <a:schemeClr val="dk1">
        <a:tint val="75000"/>
      </a:schemeClr>
    </cs:lnRef>
    <cs:fillRef idx="0"/>
    <cs:effectRef idx="0"/>
    <cs:fontRef idx="minor">
      <a:schemeClr val="lt1"/>
    </cs:fontRef>
    <cs:spPr>
      <a:ln>
        <a:round/>
      </a:ln>
    </cs:spPr>
    <cs:defRPr sz="1000" kern="1200"/>
  </cs:valueAxis>
  <cs:wall>
    <cs:lnRef idx="0"/>
    <cs:fillRef idx="1">
      <a:schemeClr val="dk1">
        <a:tint val="95000"/>
      </a:schemeClr>
    </cs:fillRef>
    <cs:effectRef idx="0"/>
    <cs:fontRef idx="minor">
      <a:schemeClr val="lt1"/>
    </cs:fontRef>
  </cs:wall>
</cs:chartStyle>
</file>

<file path=ppt/diagrams/colors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2AB6609F-EFC9-497D-8CCD-4766139BEC8F}" type="doc">
      <dgm:prSet loTypeId="urn:microsoft.com/office/officeart/2005/8/layout/hierarchy2" loCatId="hierarchy" qsTypeId="urn:microsoft.com/office/officeart/2005/8/quickstyle/3d3" qsCatId="3D" csTypeId="urn:microsoft.com/office/officeart/2005/8/colors/colorful1" csCatId="colorful" phldr="1"/>
      <dgm:spPr/>
      <dgm:t>
        <a:bodyPr/>
        <a:lstStyle/>
        <a:p>
          <a:endParaRPr lang="en-US"/>
        </a:p>
      </dgm:t>
    </dgm:pt>
    <dgm:pt modelId="{393AB82A-F984-47BF-83B7-BEB603F9C056}">
      <dgm:prSet phldrT="[Text]" custT="1"/>
      <dgm:spPr/>
      <dgm:t>
        <a:bodyPr/>
        <a:lstStyle/>
        <a:p>
          <a:r>
            <a:rPr lang="en-US" sz="2400" b="1" dirty="0"/>
            <a:t> Sleep Apnea</a:t>
          </a:r>
        </a:p>
      </dgm:t>
    </dgm:pt>
    <dgm:pt modelId="{E0C4523E-39A8-4AF3-9F22-2FD133FC3F0C}" type="parTrans" cxnId="{7447AB0F-5702-4F3B-AD37-B798BC95D343}">
      <dgm:prSet/>
      <dgm:spPr/>
      <dgm:t>
        <a:bodyPr/>
        <a:lstStyle/>
        <a:p>
          <a:endParaRPr lang="en-US"/>
        </a:p>
      </dgm:t>
    </dgm:pt>
    <dgm:pt modelId="{97756EBD-C5C0-4FFB-B01F-F9330031543C}" type="sibTrans" cxnId="{7447AB0F-5702-4F3B-AD37-B798BC95D343}">
      <dgm:prSet/>
      <dgm:spPr/>
      <dgm:t>
        <a:bodyPr/>
        <a:lstStyle/>
        <a:p>
          <a:endParaRPr lang="en-US"/>
        </a:p>
      </dgm:t>
    </dgm:pt>
    <dgm:pt modelId="{7F20F420-83D3-4C78-BC27-7B7D590AF442}">
      <dgm:prSet phldrT="[Text]" custT="1"/>
      <dgm:spPr/>
      <dgm:t>
        <a:bodyPr/>
        <a:lstStyle/>
        <a:p>
          <a:r>
            <a:rPr lang="en-US" sz="2200" b="1" dirty="0"/>
            <a:t>Hypoxia</a:t>
          </a:r>
        </a:p>
      </dgm:t>
    </dgm:pt>
    <dgm:pt modelId="{A7257FF2-7934-48CB-9D25-AE7DD91A0416}" type="parTrans" cxnId="{2E0F7755-2E8D-4DA8-8B67-412E4FBFA966}">
      <dgm:prSet/>
      <dgm:spPr/>
      <dgm:t>
        <a:bodyPr/>
        <a:lstStyle/>
        <a:p>
          <a:endParaRPr lang="en-US" dirty="0"/>
        </a:p>
      </dgm:t>
    </dgm:pt>
    <dgm:pt modelId="{4B642DDB-B29D-4A0B-8B68-0DA378D87DFC}" type="sibTrans" cxnId="{2E0F7755-2E8D-4DA8-8B67-412E4FBFA966}">
      <dgm:prSet/>
      <dgm:spPr/>
      <dgm:t>
        <a:bodyPr/>
        <a:lstStyle/>
        <a:p>
          <a:endParaRPr lang="en-US"/>
        </a:p>
      </dgm:t>
    </dgm:pt>
    <dgm:pt modelId="{8A21306F-0875-4733-8374-B70D1F9A81DB}">
      <dgm:prSet phldrT="[Text]" custT="1"/>
      <dgm:spPr/>
      <dgm:t>
        <a:bodyPr/>
        <a:lstStyle/>
        <a:p>
          <a:r>
            <a:rPr lang="en-US" sz="1800" dirty="0"/>
            <a:t>Ischemia</a:t>
          </a:r>
        </a:p>
      </dgm:t>
    </dgm:pt>
    <dgm:pt modelId="{43FC693E-470B-40A6-9844-68FCB39500F7}" type="parTrans" cxnId="{FEF85F94-34AD-407A-879C-93D46FF7E81E}">
      <dgm:prSet/>
      <dgm:spPr/>
      <dgm:t>
        <a:bodyPr/>
        <a:lstStyle/>
        <a:p>
          <a:endParaRPr lang="en-US" dirty="0"/>
        </a:p>
      </dgm:t>
    </dgm:pt>
    <dgm:pt modelId="{D19EC284-32E4-4415-B396-48210D677160}" type="sibTrans" cxnId="{FEF85F94-34AD-407A-879C-93D46FF7E81E}">
      <dgm:prSet/>
      <dgm:spPr/>
      <dgm:t>
        <a:bodyPr/>
        <a:lstStyle/>
        <a:p>
          <a:endParaRPr lang="en-US"/>
        </a:p>
      </dgm:t>
    </dgm:pt>
    <dgm:pt modelId="{C3A8874D-0323-4751-9F36-84D17D6BFFCB}">
      <dgm:prSet phldrT="[Text]" custT="1"/>
      <dgm:spPr/>
      <dgm:t>
        <a:bodyPr/>
        <a:lstStyle/>
        <a:p>
          <a:r>
            <a:rPr lang="en-US" sz="1800" dirty="0"/>
            <a:t>Inflammation</a:t>
          </a:r>
        </a:p>
      </dgm:t>
    </dgm:pt>
    <dgm:pt modelId="{AEAD8C19-5F51-46CA-9208-726C1A3AE5D5}" type="parTrans" cxnId="{702A475F-BC24-41DD-BDD3-200070F1C5A3}">
      <dgm:prSet/>
      <dgm:spPr/>
      <dgm:t>
        <a:bodyPr/>
        <a:lstStyle/>
        <a:p>
          <a:endParaRPr lang="en-US" dirty="0"/>
        </a:p>
      </dgm:t>
    </dgm:pt>
    <dgm:pt modelId="{4A813B9B-A4E2-47EB-AF6B-3975BB59F1B2}" type="sibTrans" cxnId="{702A475F-BC24-41DD-BDD3-200070F1C5A3}">
      <dgm:prSet/>
      <dgm:spPr/>
      <dgm:t>
        <a:bodyPr/>
        <a:lstStyle/>
        <a:p>
          <a:endParaRPr lang="en-US"/>
        </a:p>
      </dgm:t>
    </dgm:pt>
    <dgm:pt modelId="{44BDDE63-D9D0-4A84-8394-7A36941E2235}">
      <dgm:prSet phldrT="[Text]" custT="1"/>
      <dgm:spPr/>
      <dgm:t>
        <a:bodyPr/>
        <a:lstStyle/>
        <a:p>
          <a:r>
            <a:rPr lang="en-US" sz="2200" b="1" dirty="0"/>
            <a:t>Arousal</a:t>
          </a:r>
        </a:p>
      </dgm:t>
    </dgm:pt>
    <dgm:pt modelId="{5249DA8C-5648-48CA-8438-B70BC809C599}" type="parTrans" cxnId="{78DB28BA-229A-4D5C-91DB-74AD11B4445D}">
      <dgm:prSet/>
      <dgm:spPr/>
      <dgm:t>
        <a:bodyPr/>
        <a:lstStyle/>
        <a:p>
          <a:endParaRPr lang="en-US" dirty="0"/>
        </a:p>
      </dgm:t>
    </dgm:pt>
    <dgm:pt modelId="{1174DF32-F8A9-4580-82A7-AEC62981DC19}" type="sibTrans" cxnId="{78DB28BA-229A-4D5C-91DB-74AD11B4445D}">
      <dgm:prSet/>
      <dgm:spPr/>
      <dgm:t>
        <a:bodyPr/>
        <a:lstStyle/>
        <a:p>
          <a:endParaRPr lang="en-US"/>
        </a:p>
      </dgm:t>
    </dgm:pt>
    <dgm:pt modelId="{7372686B-BF51-4281-A429-F1CFB79ADA10}">
      <dgm:prSet phldrT="[Text]" custT="1"/>
      <dgm:spPr/>
      <dgm:t>
        <a:bodyPr/>
        <a:lstStyle/>
        <a:p>
          <a:pPr>
            <a:spcAft>
              <a:spcPts val="0"/>
            </a:spcAft>
          </a:pPr>
          <a:r>
            <a:rPr lang="en-US" sz="1800" dirty="0"/>
            <a:t>Disturbed </a:t>
          </a:r>
        </a:p>
        <a:p>
          <a:pPr>
            <a:spcAft>
              <a:spcPts val="0"/>
            </a:spcAft>
          </a:pPr>
          <a:r>
            <a:rPr lang="en-US" sz="1800" dirty="0"/>
            <a:t>sleep</a:t>
          </a:r>
        </a:p>
      </dgm:t>
    </dgm:pt>
    <dgm:pt modelId="{9B242C82-CC3F-404C-8804-E22802949F1D}" type="parTrans" cxnId="{0F5F703A-D2B4-4315-9D12-491F43995A5E}">
      <dgm:prSet/>
      <dgm:spPr/>
      <dgm:t>
        <a:bodyPr/>
        <a:lstStyle/>
        <a:p>
          <a:endParaRPr lang="en-US" dirty="0"/>
        </a:p>
      </dgm:t>
    </dgm:pt>
    <dgm:pt modelId="{9E58DA9E-DF39-4846-9DF7-E99D4B949681}" type="sibTrans" cxnId="{0F5F703A-D2B4-4315-9D12-491F43995A5E}">
      <dgm:prSet/>
      <dgm:spPr/>
      <dgm:t>
        <a:bodyPr/>
        <a:lstStyle/>
        <a:p>
          <a:endParaRPr lang="en-US"/>
        </a:p>
      </dgm:t>
    </dgm:pt>
    <dgm:pt modelId="{881C7407-3393-4CB2-A1CC-68C93B7165B5}">
      <dgm:prSet custT="1"/>
      <dgm:spPr/>
      <dgm:t>
        <a:bodyPr/>
        <a:lstStyle/>
        <a:p>
          <a:r>
            <a:rPr lang="en-US" sz="1800" dirty="0"/>
            <a:t>Sympathetic Activation</a:t>
          </a:r>
        </a:p>
      </dgm:t>
    </dgm:pt>
    <dgm:pt modelId="{3567085F-035A-4D28-90BC-E023883D259C}" type="parTrans" cxnId="{4C0900E9-EECB-4258-B23A-DD75F57D4CA4}">
      <dgm:prSet/>
      <dgm:spPr/>
      <dgm:t>
        <a:bodyPr/>
        <a:lstStyle/>
        <a:p>
          <a:endParaRPr lang="en-US" dirty="0"/>
        </a:p>
      </dgm:t>
    </dgm:pt>
    <dgm:pt modelId="{7EE038AE-B31E-4EE5-9C75-A0BA5EC10919}" type="sibTrans" cxnId="{4C0900E9-EECB-4258-B23A-DD75F57D4CA4}">
      <dgm:prSet/>
      <dgm:spPr/>
      <dgm:t>
        <a:bodyPr/>
        <a:lstStyle/>
        <a:p>
          <a:endParaRPr lang="en-US"/>
        </a:p>
      </dgm:t>
    </dgm:pt>
    <dgm:pt modelId="{3C91F39A-E0CF-4D8A-B62F-91D8842F5FC4}">
      <dgm:prSet custT="1"/>
      <dgm:spPr>
        <a:solidFill>
          <a:schemeClr val="tx2">
            <a:lumMod val="60000"/>
            <a:lumOff val="40000"/>
          </a:schemeClr>
        </a:solidFill>
      </dgm:spPr>
      <dgm:t>
        <a:bodyPr/>
        <a:lstStyle/>
        <a:p>
          <a:r>
            <a:rPr lang="en-US" sz="1600" dirty="0"/>
            <a:t>Dementia</a:t>
          </a:r>
        </a:p>
        <a:p>
          <a:r>
            <a:rPr lang="en-US" sz="1600" dirty="0"/>
            <a:t>Myocardial infarction</a:t>
          </a:r>
        </a:p>
        <a:p>
          <a:r>
            <a:rPr lang="en-US" sz="1600" dirty="0"/>
            <a:t>Stroke</a:t>
          </a:r>
        </a:p>
      </dgm:t>
    </dgm:pt>
    <dgm:pt modelId="{DEF23989-D24B-4B93-AC45-20659D87C71C}" type="parTrans" cxnId="{7B63B635-20E3-4AA0-B00C-CF030A79004C}">
      <dgm:prSet/>
      <dgm:spPr/>
      <dgm:t>
        <a:bodyPr/>
        <a:lstStyle/>
        <a:p>
          <a:endParaRPr lang="en-US" dirty="0"/>
        </a:p>
      </dgm:t>
    </dgm:pt>
    <dgm:pt modelId="{5CC9E21B-1F3A-4105-8BB4-6883623F4B9F}" type="sibTrans" cxnId="{7B63B635-20E3-4AA0-B00C-CF030A79004C}">
      <dgm:prSet/>
      <dgm:spPr/>
      <dgm:t>
        <a:bodyPr/>
        <a:lstStyle/>
        <a:p>
          <a:endParaRPr lang="en-US"/>
        </a:p>
      </dgm:t>
    </dgm:pt>
    <dgm:pt modelId="{2424820B-1377-4652-9A4A-0A4E9A52D0B3}">
      <dgm:prSet custT="1"/>
      <dgm:spPr>
        <a:solidFill>
          <a:schemeClr val="tx2">
            <a:lumMod val="60000"/>
            <a:lumOff val="40000"/>
          </a:schemeClr>
        </a:solidFill>
      </dgm:spPr>
      <dgm:t>
        <a:bodyPr/>
        <a:lstStyle/>
        <a:p>
          <a:r>
            <a:rPr lang="en-US" sz="1600" dirty="0"/>
            <a:t>Cancer</a:t>
          </a:r>
        </a:p>
        <a:p>
          <a:r>
            <a:rPr lang="en-US" sz="1600" dirty="0"/>
            <a:t>Endothelial dysfunction</a:t>
          </a:r>
        </a:p>
      </dgm:t>
    </dgm:pt>
    <dgm:pt modelId="{439D3DFC-9295-4261-B8CA-8C3029ED40F3}" type="parTrans" cxnId="{DD470233-A4A2-44ED-8B6F-BA67D10B712A}">
      <dgm:prSet/>
      <dgm:spPr/>
      <dgm:t>
        <a:bodyPr/>
        <a:lstStyle/>
        <a:p>
          <a:endParaRPr lang="en-US" dirty="0"/>
        </a:p>
      </dgm:t>
    </dgm:pt>
    <dgm:pt modelId="{515D6F88-2923-4296-91E1-5A38FDD3BC0B}" type="sibTrans" cxnId="{DD470233-A4A2-44ED-8B6F-BA67D10B712A}">
      <dgm:prSet/>
      <dgm:spPr/>
      <dgm:t>
        <a:bodyPr/>
        <a:lstStyle/>
        <a:p>
          <a:endParaRPr lang="en-US"/>
        </a:p>
      </dgm:t>
    </dgm:pt>
    <dgm:pt modelId="{65D150FD-512F-42A8-B8B3-3BBC005E4310}">
      <dgm:prSet custT="1"/>
      <dgm:spPr>
        <a:solidFill>
          <a:schemeClr val="tx2">
            <a:lumMod val="60000"/>
            <a:lumOff val="40000"/>
          </a:schemeClr>
        </a:solidFill>
      </dgm:spPr>
      <dgm:t>
        <a:bodyPr/>
        <a:lstStyle/>
        <a:p>
          <a:r>
            <a:rPr lang="en-US" sz="1600" dirty="0">
              <a:latin typeface="Calibri"/>
            </a:rPr>
            <a:t>↓M</a:t>
          </a:r>
          <a:r>
            <a:rPr lang="en-US" sz="1600" dirty="0"/>
            <a:t>ental acuity</a:t>
          </a:r>
        </a:p>
        <a:p>
          <a:r>
            <a:rPr lang="en-US" sz="1600" dirty="0"/>
            <a:t>Fatigue</a:t>
          </a:r>
        </a:p>
      </dgm:t>
    </dgm:pt>
    <dgm:pt modelId="{520F93AD-5C46-45C5-921B-6C875CBBCACE}" type="parTrans" cxnId="{FD7EFAEF-FDE9-4EF3-8A0D-252BF4A88273}">
      <dgm:prSet/>
      <dgm:spPr/>
      <dgm:t>
        <a:bodyPr/>
        <a:lstStyle/>
        <a:p>
          <a:endParaRPr lang="en-US" dirty="0"/>
        </a:p>
      </dgm:t>
    </dgm:pt>
    <dgm:pt modelId="{61B40AC7-C1F2-4350-AC27-B9648C4678F6}" type="sibTrans" cxnId="{FD7EFAEF-FDE9-4EF3-8A0D-252BF4A88273}">
      <dgm:prSet/>
      <dgm:spPr/>
      <dgm:t>
        <a:bodyPr/>
        <a:lstStyle/>
        <a:p>
          <a:endParaRPr lang="en-US"/>
        </a:p>
      </dgm:t>
    </dgm:pt>
    <dgm:pt modelId="{ADB154FC-0B5F-48C6-A0A8-7BDA34D52EF6}">
      <dgm:prSet custT="1"/>
      <dgm:spPr>
        <a:solidFill>
          <a:schemeClr val="tx2">
            <a:lumMod val="60000"/>
            <a:lumOff val="40000"/>
          </a:schemeClr>
        </a:solidFill>
      </dgm:spPr>
      <dgm:t>
        <a:bodyPr/>
        <a:lstStyle/>
        <a:p>
          <a:r>
            <a:rPr lang="en-US" sz="1600" dirty="0">
              <a:latin typeface="Calibri"/>
            </a:rPr>
            <a:t>↑Renin</a:t>
          </a:r>
        </a:p>
        <a:p>
          <a:r>
            <a:rPr lang="en-US" sz="1600" dirty="0">
              <a:latin typeface="Calibri"/>
            </a:rPr>
            <a:t>↑ Heart rate</a:t>
          </a:r>
        </a:p>
        <a:p>
          <a:r>
            <a:rPr lang="en-US" sz="1600" dirty="0">
              <a:latin typeface="Calibri"/>
            </a:rPr>
            <a:t>↑ Peripheral vascular resistance</a:t>
          </a:r>
          <a:endParaRPr lang="en-US" sz="1600" dirty="0"/>
        </a:p>
      </dgm:t>
    </dgm:pt>
    <dgm:pt modelId="{D9860B28-568C-4F1E-BBDD-C653A5A55864}" type="parTrans" cxnId="{A83125D5-DC3D-457E-BB9B-41A45DB45DA5}">
      <dgm:prSet/>
      <dgm:spPr/>
      <dgm:t>
        <a:bodyPr/>
        <a:lstStyle/>
        <a:p>
          <a:endParaRPr lang="en-US" dirty="0"/>
        </a:p>
      </dgm:t>
    </dgm:pt>
    <dgm:pt modelId="{80D438DC-F6E4-4F49-86B3-4CC4344607A0}" type="sibTrans" cxnId="{A83125D5-DC3D-457E-BB9B-41A45DB45DA5}">
      <dgm:prSet/>
      <dgm:spPr/>
      <dgm:t>
        <a:bodyPr/>
        <a:lstStyle/>
        <a:p>
          <a:endParaRPr lang="en-US"/>
        </a:p>
      </dgm:t>
    </dgm:pt>
    <dgm:pt modelId="{5CAA850E-A552-40DB-A403-43F9686D4EA6}" type="pres">
      <dgm:prSet presAssocID="{2AB6609F-EFC9-497D-8CCD-4766139BEC8F}" presName="diagram" presStyleCnt="0">
        <dgm:presLayoutVars>
          <dgm:chPref val="1"/>
          <dgm:dir/>
          <dgm:animOne val="branch"/>
          <dgm:animLvl val="lvl"/>
          <dgm:resizeHandles val="exact"/>
        </dgm:presLayoutVars>
      </dgm:prSet>
      <dgm:spPr/>
    </dgm:pt>
    <dgm:pt modelId="{A828A0A3-914B-4C30-9842-6C1569D257B7}" type="pres">
      <dgm:prSet presAssocID="{393AB82A-F984-47BF-83B7-BEB603F9C056}" presName="root1" presStyleCnt="0"/>
      <dgm:spPr/>
    </dgm:pt>
    <dgm:pt modelId="{D0466290-F68B-42F0-8EBD-2302A885242C}" type="pres">
      <dgm:prSet presAssocID="{393AB82A-F984-47BF-83B7-BEB603F9C056}" presName="LevelOneTextNode" presStyleLbl="node0" presStyleIdx="0" presStyleCnt="1" custScaleY="154663">
        <dgm:presLayoutVars>
          <dgm:chPref val="3"/>
        </dgm:presLayoutVars>
      </dgm:prSet>
      <dgm:spPr/>
    </dgm:pt>
    <dgm:pt modelId="{555E4B9E-3A4F-4E4B-8B35-E889C12D9483}" type="pres">
      <dgm:prSet presAssocID="{393AB82A-F984-47BF-83B7-BEB603F9C056}" presName="level2hierChild" presStyleCnt="0"/>
      <dgm:spPr/>
    </dgm:pt>
    <dgm:pt modelId="{E28E8B58-F515-499D-A3F8-1EDB04F53AEC}" type="pres">
      <dgm:prSet presAssocID="{A7257FF2-7934-48CB-9D25-AE7DD91A0416}" presName="conn2-1" presStyleLbl="parChTrans1D2" presStyleIdx="0" presStyleCnt="2"/>
      <dgm:spPr/>
    </dgm:pt>
    <dgm:pt modelId="{DFA9FFC4-AA1E-495E-82CB-2AF570F6E070}" type="pres">
      <dgm:prSet presAssocID="{A7257FF2-7934-48CB-9D25-AE7DD91A0416}" presName="connTx" presStyleLbl="parChTrans1D2" presStyleIdx="0" presStyleCnt="2"/>
      <dgm:spPr/>
    </dgm:pt>
    <dgm:pt modelId="{F65C19FB-D6CE-456F-9A77-22DAE099ED89}" type="pres">
      <dgm:prSet presAssocID="{7F20F420-83D3-4C78-BC27-7B7D590AF442}" presName="root2" presStyleCnt="0"/>
      <dgm:spPr/>
    </dgm:pt>
    <dgm:pt modelId="{4A792D28-F8DC-46E9-B068-604B7221733E}" type="pres">
      <dgm:prSet presAssocID="{7F20F420-83D3-4C78-BC27-7B7D590AF442}" presName="LevelTwoTextNode" presStyleLbl="node2" presStyleIdx="0" presStyleCnt="2" custLinFactY="100000" custLinFactNeighborX="6480" custLinFactNeighborY="164755">
        <dgm:presLayoutVars>
          <dgm:chPref val="3"/>
        </dgm:presLayoutVars>
      </dgm:prSet>
      <dgm:spPr/>
    </dgm:pt>
    <dgm:pt modelId="{352EC677-A706-40A8-8E79-371FA7E6BE81}" type="pres">
      <dgm:prSet presAssocID="{7F20F420-83D3-4C78-BC27-7B7D590AF442}" presName="level3hierChild" presStyleCnt="0"/>
      <dgm:spPr/>
    </dgm:pt>
    <dgm:pt modelId="{3801C641-981C-4EC7-9AFB-D7A0AAFB5D5B}" type="pres">
      <dgm:prSet presAssocID="{43FC693E-470B-40A6-9844-68FCB39500F7}" presName="conn2-1" presStyleLbl="parChTrans1D3" presStyleIdx="0" presStyleCnt="4"/>
      <dgm:spPr/>
    </dgm:pt>
    <dgm:pt modelId="{00C84947-FDC8-404D-A63D-D8025E9A9289}" type="pres">
      <dgm:prSet presAssocID="{43FC693E-470B-40A6-9844-68FCB39500F7}" presName="connTx" presStyleLbl="parChTrans1D3" presStyleIdx="0" presStyleCnt="4"/>
      <dgm:spPr/>
    </dgm:pt>
    <dgm:pt modelId="{107AA887-62F5-4F16-8762-14B2908AAC8F}" type="pres">
      <dgm:prSet presAssocID="{8A21306F-0875-4733-8374-B70D1F9A81DB}" presName="root2" presStyleCnt="0"/>
      <dgm:spPr/>
    </dgm:pt>
    <dgm:pt modelId="{3E173AE2-ED6E-4FB5-A6EB-69CBA8A50BD3}" type="pres">
      <dgm:prSet presAssocID="{8A21306F-0875-4733-8374-B70D1F9A81DB}" presName="LevelTwoTextNode" presStyleLbl="node3" presStyleIdx="0" presStyleCnt="4" custLinFactY="100000" custLinFactNeighborX="4476" custLinFactNeighborY="167172">
        <dgm:presLayoutVars>
          <dgm:chPref val="3"/>
        </dgm:presLayoutVars>
      </dgm:prSet>
      <dgm:spPr/>
    </dgm:pt>
    <dgm:pt modelId="{8D82986C-D66D-4343-9769-DE5E3F320BCC}" type="pres">
      <dgm:prSet presAssocID="{8A21306F-0875-4733-8374-B70D1F9A81DB}" presName="level3hierChild" presStyleCnt="0"/>
      <dgm:spPr/>
    </dgm:pt>
    <dgm:pt modelId="{B039E064-7E2E-4561-9F4B-79E536F588AB}" type="pres">
      <dgm:prSet presAssocID="{DEF23989-D24B-4B93-AC45-20659D87C71C}" presName="conn2-1" presStyleLbl="parChTrans1D4" presStyleIdx="0" presStyleCnt="4"/>
      <dgm:spPr/>
    </dgm:pt>
    <dgm:pt modelId="{A770C689-8964-4AC3-B3CF-54CEB140D746}" type="pres">
      <dgm:prSet presAssocID="{DEF23989-D24B-4B93-AC45-20659D87C71C}" presName="connTx" presStyleLbl="parChTrans1D4" presStyleIdx="0" presStyleCnt="4"/>
      <dgm:spPr/>
    </dgm:pt>
    <dgm:pt modelId="{109D398F-2A56-42ED-B129-58E6509D394D}" type="pres">
      <dgm:prSet presAssocID="{3C91F39A-E0CF-4D8A-B62F-91D8842F5FC4}" presName="root2" presStyleCnt="0"/>
      <dgm:spPr/>
    </dgm:pt>
    <dgm:pt modelId="{66A1B5E2-988E-44CA-A89F-4CC57A4D64F4}" type="pres">
      <dgm:prSet presAssocID="{3C91F39A-E0CF-4D8A-B62F-91D8842F5FC4}" presName="LevelTwoTextNode" presStyleLbl="node4" presStyleIdx="0" presStyleCnt="4" custScaleX="113084" custScaleY="149425" custLinFactY="100000" custLinFactNeighborX="552" custLinFactNeighborY="168204">
        <dgm:presLayoutVars>
          <dgm:chPref val="3"/>
        </dgm:presLayoutVars>
      </dgm:prSet>
      <dgm:spPr/>
    </dgm:pt>
    <dgm:pt modelId="{A773795F-8521-4C58-8A45-4528623214A5}" type="pres">
      <dgm:prSet presAssocID="{3C91F39A-E0CF-4D8A-B62F-91D8842F5FC4}" presName="level3hierChild" presStyleCnt="0"/>
      <dgm:spPr/>
    </dgm:pt>
    <dgm:pt modelId="{FC5AE121-58DA-4CA3-A50F-2DA28053F083}" type="pres">
      <dgm:prSet presAssocID="{AEAD8C19-5F51-46CA-9208-726C1A3AE5D5}" presName="conn2-1" presStyleLbl="parChTrans1D3" presStyleIdx="1" presStyleCnt="4"/>
      <dgm:spPr/>
    </dgm:pt>
    <dgm:pt modelId="{17BABF6F-F84C-409E-80BE-AECAD9075EF2}" type="pres">
      <dgm:prSet presAssocID="{AEAD8C19-5F51-46CA-9208-726C1A3AE5D5}" presName="connTx" presStyleLbl="parChTrans1D3" presStyleIdx="1" presStyleCnt="4"/>
      <dgm:spPr/>
    </dgm:pt>
    <dgm:pt modelId="{3C3351B8-4442-4075-88CE-F924048B8641}" type="pres">
      <dgm:prSet presAssocID="{C3A8874D-0323-4751-9F36-84D17D6BFFCB}" presName="root2" presStyleCnt="0"/>
      <dgm:spPr/>
    </dgm:pt>
    <dgm:pt modelId="{A13F5956-231E-4072-9431-2A597F470958}" type="pres">
      <dgm:prSet presAssocID="{C3A8874D-0323-4751-9F36-84D17D6BFFCB}" presName="LevelTwoTextNode" presStyleLbl="node3" presStyleIdx="1" presStyleCnt="4" custLinFactY="100000" custLinFactNeighborX="5387" custLinFactNeighborY="164840">
        <dgm:presLayoutVars>
          <dgm:chPref val="3"/>
        </dgm:presLayoutVars>
      </dgm:prSet>
      <dgm:spPr/>
    </dgm:pt>
    <dgm:pt modelId="{0A73F234-C93C-4460-934D-84C71792CA2B}" type="pres">
      <dgm:prSet presAssocID="{C3A8874D-0323-4751-9F36-84D17D6BFFCB}" presName="level3hierChild" presStyleCnt="0"/>
      <dgm:spPr/>
    </dgm:pt>
    <dgm:pt modelId="{248786AD-0FE7-45A8-904D-14A85DD8EB11}" type="pres">
      <dgm:prSet presAssocID="{439D3DFC-9295-4261-B8CA-8C3029ED40F3}" presName="conn2-1" presStyleLbl="parChTrans1D4" presStyleIdx="1" presStyleCnt="4"/>
      <dgm:spPr/>
    </dgm:pt>
    <dgm:pt modelId="{4AB5CAFD-EB1A-453C-A7E0-488D03A14E3B}" type="pres">
      <dgm:prSet presAssocID="{439D3DFC-9295-4261-B8CA-8C3029ED40F3}" presName="connTx" presStyleLbl="parChTrans1D4" presStyleIdx="1" presStyleCnt="4"/>
      <dgm:spPr/>
    </dgm:pt>
    <dgm:pt modelId="{2996B826-D59D-421E-9492-C925A15441D1}" type="pres">
      <dgm:prSet presAssocID="{2424820B-1377-4652-9A4A-0A4E9A52D0B3}" presName="root2" presStyleCnt="0"/>
      <dgm:spPr/>
    </dgm:pt>
    <dgm:pt modelId="{BD9DF337-941A-470D-877F-4ADC47693986}" type="pres">
      <dgm:prSet presAssocID="{2424820B-1377-4652-9A4A-0A4E9A52D0B3}" presName="LevelTwoTextNode" presStyleLbl="node4" presStyleIdx="1" presStyleCnt="4" custScaleX="111485" custLinFactY="100000" custLinFactNeighborX="552" custLinFactNeighborY="178326">
        <dgm:presLayoutVars>
          <dgm:chPref val="3"/>
        </dgm:presLayoutVars>
      </dgm:prSet>
      <dgm:spPr/>
    </dgm:pt>
    <dgm:pt modelId="{5E3F5A9C-6729-47BB-821A-FB8ED7B5CE93}" type="pres">
      <dgm:prSet presAssocID="{2424820B-1377-4652-9A4A-0A4E9A52D0B3}" presName="level3hierChild" presStyleCnt="0"/>
      <dgm:spPr/>
    </dgm:pt>
    <dgm:pt modelId="{393CF506-02EE-41E3-8613-8C814BA521BA}" type="pres">
      <dgm:prSet presAssocID="{5249DA8C-5648-48CA-8438-B70BC809C599}" presName="conn2-1" presStyleLbl="parChTrans1D2" presStyleIdx="1" presStyleCnt="2"/>
      <dgm:spPr/>
    </dgm:pt>
    <dgm:pt modelId="{82855FFE-096E-4E8B-BBA1-B48C29543D89}" type="pres">
      <dgm:prSet presAssocID="{5249DA8C-5648-48CA-8438-B70BC809C599}" presName="connTx" presStyleLbl="parChTrans1D2" presStyleIdx="1" presStyleCnt="2"/>
      <dgm:spPr/>
    </dgm:pt>
    <dgm:pt modelId="{24AC6B90-3B29-49D6-BB32-C66C1C4E3E2B}" type="pres">
      <dgm:prSet presAssocID="{44BDDE63-D9D0-4A84-8394-7A36941E2235}" presName="root2" presStyleCnt="0"/>
      <dgm:spPr/>
    </dgm:pt>
    <dgm:pt modelId="{C052540D-3B3E-409B-8D91-61FE8030769F}" type="pres">
      <dgm:prSet presAssocID="{44BDDE63-D9D0-4A84-8394-7A36941E2235}" presName="LevelTwoTextNode" presStyleLbl="node2" presStyleIdx="1" presStyleCnt="2" custLinFactY="-100000" custLinFactNeighborX="3888" custLinFactNeighborY="-158878">
        <dgm:presLayoutVars>
          <dgm:chPref val="3"/>
        </dgm:presLayoutVars>
      </dgm:prSet>
      <dgm:spPr/>
    </dgm:pt>
    <dgm:pt modelId="{C2BC7DC1-600D-4F68-B511-86ECFBE3E4F3}" type="pres">
      <dgm:prSet presAssocID="{44BDDE63-D9D0-4A84-8394-7A36941E2235}" presName="level3hierChild" presStyleCnt="0"/>
      <dgm:spPr/>
    </dgm:pt>
    <dgm:pt modelId="{84B1024A-B34D-457B-832D-666041EF24C2}" type="pres">
      <dgm:prSet presAssocID="{9B242C82-CC3F-404C-8804-E22802949F1D}" presName="conn2-1" presStyleLbl="parChTrans1D3" presStyleIdx="2" presStyleCnt="4"/>
      <dgm:spPr/>
    </dgm:pt>
    <dgm:pt modelId="{B1ABD64E-6D08-4B14-B3B2-87DD211A0852}" type="pres">
      <dgm:prSet presAssocID="{9B242C82-CC3F-404C-8804-E22802949F1D}" presName="connTx" presStyleLbl="parChTrans1D3" presStyleIdx="2" presStyleCnt="4"/>
      <dgm:spPr/>
    </dgm:pt>
    <dgm:pt modelId="{474E9A1A-2962-4134-82FA-4C65F197CDC1}" type="pres">
      <dgm:prSet presAssocID="{7372686B-BF51-4281-A429-F1CFB79ADA10}" presName="root2" presStyleCnt="0"/>
      <dgm:spPr/>
    </dgm:pt>
    <dgm:pt modelId="{B5800209-5D05-49F0-9389-DD923BF5EC3A}" type="pres">
      <dgm:prSet presAssocID="{7372686B-BF51-4281-A429-F1CFB79ADA10}" presName="LevelTwoTextNode" presStyleLbl="node3" presStyleIdx="2" presStyleCnt="4" custLinFactY="-100000" custLinFactNeighborX="5250" custLinFactNeighborY="-173719">
        <dgm:presLayoutVars>
          <dgm:chPref val="3"/>
        </dgm:presLayoutVars>
      </dgm:prSet>
      <dgm:spPr/>
    </dgm:pt>
    <dgm:pt modelId="{1AF57DBD-BD5C-44F4-B80F-82D8CFFAA582}" type="pres">
      <dgm:prSet presAssocID="{7372686B-BF51-4281-A429-F1CFB79ADA10}" presName="level3hierChild" presStyleCnt="0"/>
      <dgm:spPr/>
    </dgm:pt>
    <dgm:pt modelId="{5A5EABA1-9E0C-42AA-9F34-640A27B835F0}" type="pres">
      <dgm:prSet presAssocID="{520F93AD-5C46-45C5-921B-6C875CBBCACE}" presName="conn2-1" presStyleLbl="parChTrans1D4" presStyleIdx="2" presStyleCnt="4"/>
      <dgm:spPr/>
    </dgm:pt>
    <dgm:pt modelId="{5CE5D64A-0872-4C61-8CA6-642E238EB319}" type="pres">
      <dgm:prSet presAssocID="{520F93AD-5C46-45C5-921B-6C875CBBCACE}" presName="connTx" presStyleLbl="parChTrans1D4" presStyleIdx="2" presStyleCnt="4"/>
      <dgm:spPr/>
    </dgm:pt>
    <dgm:pt modelId="{F6F927AD-EE7C-4B5D-BC5C-3B1BB81EB544}" type="pres">
      <dgm:prSet presAssocID="{65D150FD-512F-42A8-B8B3-3BBC005E4310}" presName="root2" presStyleCnt="0"/>
      <dgm:spPr/>
    </dgm:pt>
    <dgm:pt modelId="{BA92251E-B445-47E5-9A39-FF687F8C5F6C}" type="pres">
      <dgm:prSet presAssocID="{65D150FD-512F-42A8-B8B3-3BBC005E4310}" presName="LevelTwoTextNode" presStyleLbl="node4" presStyleIdx="2" presStyleCnt="4" custScaleX="111596" custLinFactY="-100000" custLinFactNeighborX="552" custLinFactNeighborY="-174698">
        <dgm:presLayoutVars>
          <dgm:chPref val="3"/>
        </dgm:presLayoutVars>
      </dgm:prSet>
      <dgm:spPr/>
    </dgm:pt>
    <dgm:pt modelId="{BBBFACDC-3FE3-4CB7-AD34-9FF9BD4581FA}" type="pres">
      <dgm:prSet presAssocID="{65D150FD-512F-42A8-B8B3-3BBC005E4310}" presName="level3hierChild" presStyleCnt="0"/>
      <dgm:spPr/>
    </dgm:pt>
    <dgm:pt modelId="{4BE3AEE0-945A-4937-BB65-38A3FD0EC23C}" type="pres">
      <dgm:prSet presAssocID="{3567085F-035A-4D28-90BC-E023883D259C}" presName="conn2-1" presStyleLbl="parChTrans1D3" presStyleIdx="3" presStyleCnt="4"/>
      <dgm:spPr/>
    </dgm:pt>
    <dgm:pt modelId="{FE7F4EA9-3A0C-433D-A220-B42F94675003}" type="pres">
      <dgm:prSet presAssocID="{3567085F-035A-4D28-90BC-E023883D259C}" presName="connTx" presStyleLbl="parChTrans1D3" presStyleIdx="3" presStyleCnt="4"/>
      <dgm:spPr/>
    </dgm:pt>
    <dgm:pt modelId="{FC753FCA-0ECB-41BB-BDC9-D08FDC457B52}" type="pres">
      <dgm:prSet presAssocID="{881C7407-3393-4CB2-A1CC-68C93B7165B5}" presName="root2" presStyleCnt="0"/>
      <dgm:spPr/>
    </dgm:pt>
    <dgm:pt modelId="{67C3682A-DB21-451F-A290-0A41D229E009}" type="pres">
      <dgm:prSet presAssocID="{881C7407-3393-4CB2-A1CC-68C93B7165B5}" presName="LevelTwoTextNode" presStyleLbl="node3" presStyleIdx="3" presStyleCnt="4" custLinFactY="-100000" custLinFactNeighborX="4858" custLinFactNeighborY="-169800">
        <dgm:presLayoutVars>
          <dgm:chPref val="3"/>
        </dgm:presLayoutVars>
      </dgm:prSet>
      <dgm:spPr/>
    </dgm:pt>
    <dgm:pt modelId="{8D248C1F-E292-4E82-9194-378BA6A62BAF}" type="pres">
      <dgm:prSet presAssocID="{881C7407-3393-4CB2-A1CC-68C93B7165B5}" presName="level3hierChild" presStyleCnt="0"/>
      <dgm:spPr/>
    </dgm:pt>
    <dgm:pt modelId="{974EB5B5-9F76-4230-844B-8FAFD0E25154}" type="pres">
      <dgm:prSet presAssocID="{D9860B28-568C-4F1E-BBDD-C653A5A55864}" presName="conn2-1" presStyleLbl="parChTrans1D4" presStyleIdx="3" presStyleCnt="4"/>
      <dgm:spPr/>
    </dgm:pt>
    <dgm:pt modelId="{E994DEEE-352F-4CD0-889B-88970FB1F37B}" type="pres">
      <dgm:prSet presAssocID="{D9860B28-568C-4F1E-BBDD-C653A5A55864}" presName="connTx" presStyleLbl="parChTrans1D4" presStyleIdx="3" presStyleCnt="4"/>
      <dgm:spPr/>
    </dgm:pt>
    <dgm:pt modelId="{8126F7C7-15E1-427D-A4F5-ECE978B2D06D}" type="pres">
      <dgm:prSet presAssocID="{ADB154FC-0B5F-48C6-A0A8-7BDA34D52EF6}" presName="root2" presStyleCnt="0"/>
      <dgm:spPr/>
    </dgm:pt>
    <dgm:pt modelId="{C833B668-4170-43B8-B3D7-25B7406B6663}" type="pres">
      <dgm:prSet presAssocID="{ADB154FC-0B5F-48C6-A0A8-7BDA34D52EF6}" presName="LevelTwoTextNode" presStyleLbl="node4" presStyleIdx="3" presStyleCnt="4" custScaleX="112610" custScaleY="129553" custLinFactY="-100000" custLinFactNeighborX="552" custLinFactNeighborY="-169669">
        <dgm:presLayoutVars>
          <dgm:chPref val="3"/>
        </dgm:presLayoutVars>
      </dgm:prSet>
      <dgm:spPr/>
    </dgm:pt>
    <dgm:pt modelId="{546C3801-DA55-4338-A8E3-C7CFEBA62212}" type="pres">
      <dgm:prSet presAssocID="{ADB154FC-0B5F-48C6-A0A8-7BDA34D52EF6}" presName="level3hierChild" presStyleCnt="0"/>
      <dgm:spPr/>
    </dgm:pt>
  </dgm:ptLst>
  <dgm:cxnLst>
    <dgm:cxn modelId="{CFB7F602-B027-4111-8DEA-91FF7C70E64B}" type="presOf" srcId="{9B242C82-CC3F-404C-8804-E22802949F1D}" destId="{84B1024A-B34D-457B-832D-666041EF24C2}" srcOrd="0" destOrd="0" presId="urn:microsoft.com/office/officeart/2005/8/layout/hierarchy2"/>
    <dgm:cxn modelId="{9994DF06-3878-4B94-B1D4-D800BFDBE9D9}" type="presOf" srcId="{AEAD8C19-5F51-46CA-9208-726C1A3AE5D5}" destId="{FC5AE121-58DA-4CA3-A50F-2DA28053F083}" srcOrd="0" destOrd="0" presId="urn:microsoft.com/office/officeart/2005/8/layout/hierarchy2"/>
    <dgm:cxn modelId="{7447AB0F-5702-4F3B-AD37-B798BC95D343}" srcId="{2AB6609F-EFC9-497D-8CCD-4766139BEC8F}" destId="{393AB82A-F984-47BF-83B7-BEB603F9C056}" srcOrd="0" destOrd="0" parTransId="{E0C4523E-39A8-4AF3-9F22-2FD133FC3F0C}" sibTransId="{97756EBD-C5C0-4FFB-B01F-F9330031543C}"/>
    <dgm:cxn modelId="{D4D99112-DAAB-4273-B422-E4C34D992C02}" type="presOf" srcId="{ADB154FC-0B5F-48C6-A0A8-7BDA34D52EF6}" destId="{C833B668-4170-43B8-B3D7-25B7406B6663}" srcOrd="0" destOrd="0" presId="urn:microsoft.com/office/officeart/2005/8/layout/hierarchy2"/>
    <dgm:cxn modelId="{DDECBF15-4427-41CC-B2C5-EE223871F236}" type="presOf" srcId="{520F93AD-5C46-45C5-921B-6C875CBBCACE}" destId="{5CE5D64A-0872-4C61-8CA6-642E238EB319}" srcOrd="1" destOrd="0" presId="urn:microsoft.com/office/officeart/2005/8/layout/hierarchy2"/>
    <dgm:cxn modelId="{8605AB24-8B8B-4DA1-BEED-3272853026C9}" type="presOf" srcId="{5249DA8C-5648-48CA-8438-B70BC809C599}" destId="{393CF506-02EE-41E3-8613-8C814BA521BA}" srcOrd="0" destOrd="0" presId="urn:microsoft.com/office/officeart/2005/8/layout/hierarchy2"/>
    <dgm:cxn modelId="{9C2BEC27-A90B-4D8C-B73F-9BBD10940598}" type="presOf" srcId="{5249DA8C-5648-48CA-8438-B70BC809C599}" destId="{82855FFE-096E-4E8B-BBA1-B48C29543D89}" srcOrd="1" destOrd="0" presId="urn:microsoft.com/office/officeart/2005/8/layout/hierarchy2"/>
    <dgm:cxn modelId="{DA2DB02C-FBFD-49BE-A6C5-7985353353EF}" type="presOf" srcId="{43FC693E-470B-40A6-9844-68FCB39500F7}" destId="{3801C641-981C-4EC7-9AFB-D7A0AAFB5D5B}" srcOrd="0" destOrd="0" presId="urn:microsoft.com/office/officeart/2005/8/layout/hierarchy2"/>
    <dgm:cxn modelId="{DD470233-A4A2-44ED-8B6F-BA67D10B712A}" srcId="{C3A8874D-0323-4751-9F36-84D17D6BFFCB}" destId="{2424820B-1377-4652-9A4A-0A4E9A52D0B3}" srcOrd="0" destOrd="0" parTransId="{439D3DFC-9295-4261-B8CA-8C3029ED40F3}" sibTransId="{515D6F88-2923-4296-91E1-5A38FDD3BC0B}"/>
    <dgm:cxn modelId="{7B63B635-20E3-4AA0-B00C-CF030A79004C}" srcId="{8A21306F-0875-4733-8374-B70D1F9A81DB}" destId="{3C91F39A-E0CF-4D8A-B62F-91D8842F5FC4}" srcOrd="0" destOrd="0" parTransId="{DEF23989-D24B-4B93-AC45-20659D87C71C}" sibTransId="{5CC9E21B-1F3A-4105-8BB4-6883623F4B9F}"/>
    <dgm:cxn modelId="{99B55336-A107-4D12-9BE8-A7BA48EADFEF}" type="presOf" srcId="{881C7407-3393-4CB2-A1CC-68C93B7165B5}" destId="{67C3682A-DB21-451F-A290-0A41D229E009}" srcOrd="0" destOrd="0" presId="urn:microsoft.com/office/officeart/2005/8/layout/hierarchy2"/>
    <dgm:cxn modelId="{D95E9237-2281-4009-B424-6E9C1DA10DC9}" type="presOf" srcId="{7F20F420-83D3-4C78-BC27-7B7D590AF442}" destId="{4A792D28-F8DC-46E9-B068-604B7221733E}" srcOrd="0" destOrd="0" presId="urn:microsoft.com/office/officeart/2005/8/layout/hierarchy2"/>
    <dgm:cxn modelId="{0F5F703A-D2B4-4315-9D12-491F43995A5E}" srcId="{44BDDE63-D9D0-4A84-8394-7A36941E2235}" destId="{7372686B-BF51-4281-A429-F1CFB79ADA10}" srcOrd="0" destOrd="0" parTransId="{9B242C82-CC3F-404C-8804-E22802949F1D}" sibTransId="{9E58DA9E-DF39-4846-9DF7-E99D4B949681}"/>
    <dgm:cxn modelId="{434C513D-FD40-4B67-9660-6A142D8FDB11}" type="presOf" srcId="{44BDDE63-D9D0-4A84-8394-7A36941E2235}" destId="{C052540D-3B3E-409B-8D91-61FE8030769F}" srcOrd="0" destOrd="0" presId="urn:microsoft.com/office/officeart/2005/8/layout/hierarchy2"/>
    <dgm:cxn modelId="{FA433849-91B2-4D04-8D4D-9A783893E960}" type="presOf" srcId="{3567085F-035A-4D28-90BC-E023883D259C}" destId="{FE7F4EA9-3A0C-433D-A220-B42F94675003}" srcOrd="1" destOrd="0" presId="urn:microsoft.com/office/officeart/2005/8/layout/hierarchy2"/>
    <dgm:cxn modelId="{F03D654A-2A5E-46A3-BB99-60E94008A8FB}" type="presOf" srcId="{65D150FD-512F-42A8-B8B3-3BBC005E4310}" destId="{BA92251E-B445-47E5-9A39-FF687F8C5F6C}" srcOrd="0" destOrd="0" presId="urn:microsoft.com/office/officeart/2005/8/layout/hierarchy2"/>
    <dgm:cxn modelId="{8686C851-310E-4963-B22E-7220C681C3DF}" type="presOf" srcId="{D9860B28-568C-4F1E-BBDD-C653A5A55864}" destId="{974EB5B5-9F76-4230-844B-8FAFD0E25154}" srcOrd="0" destOrd="0" presId="urn:microsoft.com/office/officeart/2005/8/layout/hierarchy2"/>
    <dgm:cxn modelId="{64E16B54-2D94-425C-9C7F-FFCBB32ACB16}" type="presOf" srcId="{9B242C82-CC3F-404C-8804-E22802949F1D}" destId="{B1ABD64E-6D08-4B14-B3B2-87DD211A0852}" srcOrd="1" destOrd="0" presId="urn:microsoft.com/office/officeart/2005/8/layout/hierarchy2"/>
    <dgm:cxn modelId="{2E0F7755-2E8D-4DA8-8B67-412E4FBFA966}" srcId="{393AB82A-F984-47BF-83B7-BEB603F9C056}" destId="{7F20F420-83D3-4C78-BC27-7B7D590AF442}" srcOrd="0" destOrd="0" parTransId="{A7257FF2-7934-48CB-9D25-AE7DD91A0416}" sibTransId="{4B642DDB-B29D-4A0B-8B68-0DA378D87DFC}"/>
    <dgm:cxn modelId="{702A475F-BC24-41DD-BDD3-200070F1C5A3}" srcId="{7F20F420-83D3-4C78-BC27-7B7D590AF442}" destId="{C3A8874D-0323-4751-9F36-84D17D6BFFCB}" srcOrd="1" destOrd="0" parTransId="{AEAD8C19-5F51-46CA-9208-726C1A3AE5D5}" sibTransId="{4A813B9B-A4E2-47EB-AF6B-3975BB59F1B2}"/>
    <dgm:cxn modelId="{E432FE67-FDA4-4C72-A631-D183957B0063}" type="presOf" srcId="{393AB82A-F984-47BF-83B7-BEB603F9C056}" destId="{D0466290-F68B-42F0-8EBD-2302A885242C}" srcOrd="0" destOrd="0" presId="urn:microsoft.com/office/officeart/2005/8/layout/hierarchy2"/>
    <dgm:cxn modelId="{94002E68-D101-41C3-8550-10F564A515E8}" type="presOf" srcId="{7372686B-BF51-4281-A429-F1CFB79ADA10}" destId="{B5800209-5D05-49F0-9389-DD923BF5EC3A}" srcOrd="0" destOrd="0" presId="urn:microsoft.com/office/officeart/2005/8/layout/hierarchy2"/>
    <dgm:cxn modelId="{C329126C-A580-480F-945F-95A1907B2A4F}" type="presOf" srcId="{3567085F-035A-4D28-90BC-E023883D259C}" destId="{4BE3AEE0-945A-4937-BB65-38A3FD0EC23C}" srcOrd="0" destOrd="0" presId="urn:microsoft.com/office/officeart/2005/8/layout/hierarchy2"/>
    <dgm:cxn modelId="{B2EE927D-8A62-47F4-80FC-A0115313253B}" type="presOf" srcId="{520F93AD-5C46-45C5-921B-6C875CBBCACE}" destId="{5A5EABA1-9E0C-42AA-9F34-640A27B835F0}" srcOrd="0" destOrd="0" presId="urn:microsoft.com/office/officeart/2005/8/layout/hierarchy2"/>
    <dgm:cxn modelId="{2C24F580-E92F-42D5-9552-DF3CC15C637C}" type="presOf" srcId="{43FC693E-470B-40A6-9844-68FCB39500F7}" destId="{00C84947-FDC8-404D-A63D-D8025E9A9289}" srcOrd="1" destOrd="0" presId="urn:microsoft.com/office/officeart/2005/8/layout/hierarchy2"/>
    <dgm:cxn modelId="{BC67E489-F8EE-4CA3-98A3-70EC2C59E435}" type="presOf" srcId="{DEF23989-D24B-4B93-AC45-20659D87C71C}" destId="{A770C689-8964-4AC3-B3CF-54CEB140D746}" srcOrd="1" destOrd="0" presId="urn:microsoft.com/office/officeart/2005/8/layout/hierarchy2"/>
    <dgm:cxn modelId="{71D5258A-38EA-473E-80B2-079D54CCDAEC}" type="presOf" srcId="{C3A8874D-0323-4751-9F36-84D17D6BFFCB}" destId="{A13F5956-231E-4072-9431-2A597F470958}" srcOrd="0" destOrd="0" presId="urn:microsoft.com/office/officeart/2005/8/layout/hierarchy2"/>
    <dgm:cxn modelId="{FEF85F94-34AD-407A-879C-93D46FF7E81E}" srcId="{7F20F420-83D3-4C78-BC27-7B7D590AF442}" destId="{8A21306F-0875-4733-8374-B70D1F9A81DB}" srcOrd="0" destOrd="0" parTransId="{43FC693E-470B-40A6-9844-68FCB39500F7}" sibTransId="{D19EC284-32E4-4415-B396-48210D677160}"/>
    <dgm:cxn modelId="{557C6298-7ECD-4462-9BA8-B8AE94B20426}" type="presOf" srcId="{2AB6609F-EFC9-497D-8CCD-4766139BEC8F}" destId="{5CAA850E-A552-40DB-A403-43F9686D4EA6}" srcOrd="0" destOrd="0" presId="urn:microsoft.com/office/officeart/2005/8/layout/hierarchy2"/>
    <dgm:cxn modelId="{205F7D98-E295-425B-A02E-09EB70DB254D}" type="presOf" srcId="{AEAD8C19-5F51-46CA-9208-726C1A3AE5D5}" destId="{17BABF6F-F84C-409E-80BE-AECAD9075EF2}" srcOrd="1" destOrd="0" presId="urn:microsoft.com/office/officeart/2005/8/layout/hierarchy2"/>
    <dgm:cxn modelId="{AC41F59D-8046-4DDB-BB0F-E32325030C9C}" type="presOf" srcId="{2424820B-1377-4652-9A4A-0A4E9A52D0B3}" destId="{BD9DF337-941A-470D-877F-4ADC47693986}" srcOrd="0" destOrd="0" presId="urn:microsoft.com/office/officeart/2005/8/layout/hierarchy2"/>
    <dgm:cxn modelId="{1C1EF0AB-F1B1-452F-A8EE-0A61A2F128D9}" type="presOf" srcId="{8A21306F-0875-4733-8374-B70D1F9A81DB}" destId="{3E173AE2-ED6E-4FB5-A6EB-69CBA8A50BD3}" srcOrd="0" destOrd="0" presId="urn:microsoft.com/office/officeart/2005/8/layout/hierarchy2"/>
    <dgm:cxn modelId="{E0DF70AE-890A-446A-B0AD-01AEC29A0D17}" type="presOf" srcId="{D9860B28-568C-4F1E-BBDD-C653A5A55864}" destId="{E994DEEE-352F-4CD0-889B-88970FB1F37B}" srcOrd="1" destOrd="0" presId="urn:microsoft.com/office/officeart/2005/8/layout/hierarchy2"/>
    <dgm:cxn modelId="{57169EB7-ADFD-4AF3-AF8E-1BFE43B89692}" type="presOf" srcId="{DEF23989-D24B-4B93-AC45-20659D87C71C}" destId="{B039E064-7E2E-4561-9F4B-79E536F588AB}" srcOrd="0" destOrd="0" presId="urn:microsoft.com/office/officeart/2005/8/layout/hierarchy2"/>
    <dgm:cxn modelId="{78DB28BA-229A-4D5C-91DB-74AD11B4445D}" srcId="{393AB82A-F984-47BF-83B7-BEB603F9C056}" destId="{44BDDE63-D9D0-4A84-8394-7A36941E2235}" srcOrd="1" destOrd="0" parTransId="{5249DA8C-5648-48CA-8438-B70BC809C599}" sibTransId="{1174DF32-F8A9-4580-82A7-AEC62981DC19}"/>
    <dgm:cxn modelId="{EC0BEFBA-EC4E-4854-9F86-46A7D50115A3}" type="presOf" srcId="{A7257FF2-7934-48CB-9D25-AE7DD91A0416}" destId="{E28E8B58-F515-499D-A3F8-1EDB04F53AEC}" srcOrd="0" destOrd="0" presId="urn:microsoft.com/office/officeart/2005/8/layout/hierarchy2"/>
    <dgm:cxn modelId="{71141BBD-5D52-4B25-BEB3-EEB67A78F731}" type="presOf" srcId="{3C91F39A-E0CF-4D8A-B62F-91D8842F5FC4}" destId="{66A1B5E2-988E-44CA-A89F-4CC57A4D64F4}" srcOrd="0" destOrd="0" presId="urn:microsoft.com/office/officeart/2005/8/layout/hierarchy2"/>
    <dgm:cxn modelId="{A01060C2-B2F4-4DEE-A1E0-77CAF4E690FF}" type="presOf" srcId="{439D3DFC-9295-4261-B8CA-8C3029ED40F3}" destId="{248786AD-0FE7-45A8-904D-14A85DD8EB11}" srcOrd="0" destOrd="0" presId="urn:microsoft.com/office/officeart/2005/8/layout/hierarchy2"/>
    <dgm:cxn modelId="{A83125D5-DC3D-457E-BB9B-41A45DB45DA5}" srcId="{881C7407-3393-4CB2-A1CC-68C93B7165B5}" destId="{ADB154FC-0B5F-48C6-A0A8-7BDA34D52EF6}" srcOrd="0" destOrd="0" parTransId="{D9860B28-568C-4F1E-BBDD-C653A5A55864}" sibTransId="{80D438DC-F6E4-4F49-86B3-4CC4344607A0}"/>
    <dgm:cxn modelId="{F6A218DC-8894-4884-874D-9034016E0BC9}" type="presOf" srcId="{A7257FF2-7934-48CB-9D25-AE7DD91A0416}" destId="{DFA9FFC4-AA1E-495E-82CB-2AF570F6E070}" srcOrd="1" destOrd="0" presId="urn:microsoft.com/office/officeart/2005/8/layout/hierarchy2"/>
    <dgm:cxn modelId="{4C0900E9-EECB-4258-B23A-DD75F57D4CA4}" srcId="{44BDDE63-D9D0-4A84-8394-7A36941E2235}" destId="{881C7407-3393-4CB2-A1CC-68C93B7165B5}" srcOrd="1" destOrd="0" parTransId="{3567085F-035A-4D28-90BC-E023883D259C}" sibTransId="{7EE038AE-B31E-4EE5-9C75-A0BA5EC10919}"/>
    <dgm:cxn modelId="{FD7EFAEF-FDE9-4EF3-8A0D-252BF4A88273}" srcId="{7372686B-BF51-4281-A429-F1CFB79ADA10}" destId="{65D150FD-512F-42A8-B8B3-3BBC005E4310}" srcOrd="0" destOrd="0" parTransId="{520F93AD-5C46-45C5-921B-6C875CBBCACE}" sibTransId="{61B40AC7-C1F2-4350-AC27-B9648C4678F6}"/>
    <dgm:cxn modelId="{FD364EF9-E564-40D4-AFF0-79FAB3937250}" type="presOf" srcId="{439D3DFC-9295-4261-B8CA-8C3029ED40F3}" destId="{4AB5CAFD-EB1A-453C-A7E0-488D03A14E3B}" srcOrd="1" destOrd="0" presId="urn:microsoft.com/office/officeart/2005/8/layout/hierarchy2"/>
    <dgm:cxn modelId="{D6561786-29E0-4050-B678-BF3B39AD1725}" type="presParOf" srcId="{5CAA850E-A552-40DB-A403-43F9686D4EA6}" destId="{A828A0A3-914B-4C30-9842-6C1569D257B7}" srcOrd="0" destOrd="0" presId="urn:microsoft.com/office/officeart/2005/8/layout/hierarchy2"/>
    <dgm:cxn modelId="{DB6C431F-DB3D-43DD-AFDA-A03A4663C729}" type="presParOf" srcId="{A828A0A3-914B-4C30-9842-6C1569D257B7}" destId="{D0466290-F68B-42F0-8EBD-2302A885242C}" srcOrd="0" destOrd="0" presId="urn:microsoft.com/office/officeart/2005/8/layout/hierarchy2"/>
    <dgm:cxn modelId="{226FE4B5-B22B-4C1C-907F-3D471F878D02}" type="presParOf" srcId="{A828A0A3-914B-4C30-9842-6C1569D257B7}" destId="{555E4B9E-3A4F-4E4B-8B35-E889C12D9483}" srcOrd="1" destOrd="0" presId="urn:microsoft.com/office/officeart/2005/8/layout/hierarchy2"/>
    <dgm:cxn modelId="{CE4355AF-ED6F-4275-9C12-E038BFC3904E}" type="presParOf" srcId="{555E4B9E-3A4F-4E4B-8B35-E889C12D9483}" destId="{E28E8B58-F515-499D-A3F8-1EDB04F53AEC}" srcOrd="0" destOrd="0" presId="urn:microsoft.com/office/officeart/2005/8/layout/hierarchy2"/>
    <dgm:cxn modelId="{87813C04-BA34-49BE-9598-DC30AF17C12A}" type="presParOf" srcId="{E28E8B58-F515-499D-A3F8-1EDB04F53AEC}" destId="{DFA9FFC4-AA1E-495E-82CB-2AF570F6E070}" srcOrd="0" destOrd="0" presId="urn:microsoft.com/office/officeart/2005/8/layout/hierarchy2"/>
    <dgm:cxn modelId="{21A7D8DD-3D61-4C27-B07D-2C55B8F45ECC}" type="presParOf" srcId="{555E4B9E-3A4F-4E4B-8B35-E889C12D9483}" destId="{F65C19FB-D6CE-456F-9A77-22DAE099ED89}" srcOrd="1" destOrd="0" presId="urn:microsoft.com/office/officeart/2005/8/layout/hierarchy2"/>
    <dgm:cxn modelId="{980FFF84-AEB4-4A42-BF33-CE502E720812}" type="presParOf" srcId="{F65C19FB-D6CE-456F-9A77-22DAE099ED89}" destId="{4A792D28-F8DC-46E9-B068-604B7221733E}" srcOrd="0" destOrd="0" presId="urn:microsoft.com/office/officeart/2005/8/layout/hierarchy2"/>
    <dgm:cxn modelId="{18738C29-C9D0-4298-8405-BBBF8859E380}" type="presParOf" srcId="{F65C19FB-D6CE-456F-9A77-22DAE099ED89}" destId="{352EC677-A706-40A8-8E79-371FA7E6BE81}" srcOrd="1" destOrd="0" presId="urn:microsoft.com/office/officeart/2005/8/layout/hierarchy2"/>
    <dgm:cxn modelId="{14DAC38E-13CE-4398-953D-10C6AE7225AB}" type="presParOf" srcId="{352EC677-A706-40A8-8E79-371FA7E6BE81}" destId="{3801C641-981C-4EC7-9AFB-D7A0AAFB5D5B}" srcOrd="0" destOrd="0" presId="urn:microsoft.com/office/officeart/2005/8/layout/hierarchy2"/>
    <dgm:cxn modelId="{B42ACF2A-9765-42CB-9B6B-023683F1E830}" type="presParOf" srcId="{3801C641-981C-4EC7-9AFB-D7A0AAFB5D5B}" destId="{00C84947-FDC8-404D-A63D-D8025E9A9289}" srcOrd="0" destOrd="0" presId="urn:microsoft.com/office/officeart/2005/8/layout/hierarchy2"/>
    <dgm:cxn modelId="{017DE594-25B3-49DA-A39E-23EDD1F19E8D}" type="presParOf" srcId="{352EC677-A706-40A8-8E79-371FA7E6BE81}" destId="{107AA887-62F5-4F16-8762-14B2908AAC8F}" srcOrd="1" destOrd="0" presId="urn:microsoft.com/office/officeart/2005/8/layout/hierarchy2"/>
    <dgm:cxn modelId="{2B32B27B-EC9F-44F3-909D-30935010C8D5}" type="presParOf" srcId="{107AA887-62F5-4F16-8762-14B2908AAC8F}" destId="{3E173AE2-ED6E-4FB5-A6EB-69CBA8A50BD3}" srcOrd="0" destOrd="0" presId="urn:microsoft.com/office/officeart/2005/8/layout/hierarchy2"/>
    <dgm:cxn modelId="{C5977843-EB38-45AC-9DC4-C1D35096EC3D}" type="presParOf" srcId="{107AA887-62F5-4F16-8762-14B2908AAC8F}" destId="{8D82986C-D66D-4343-9769-DE5E3F320BCC}" srcOrd="1" destOrd="0" presId="urn:microsoft.com/office/officeart/2005/8/layout/hierarchy2"/>
    <dgm:cxn modelId="{0BA8C143-14C1-403D-8386-F24FA3936443}" type="presParOf" srcId="{8D82986C-D66D-4343-9769-DE5E3F320BCC}" destId="{B039E064-7E2E-4561-9F4B-79E536F588AB}" srcOrd="0" destOrd="0" presId="urn:microsoft.com/office/officeart/2005/8/layout/hierarchy2"/>
    <dgm:cxn modelId="{85838293-F4A4-4EE9-9444-5914734CC0D1}" type="presParOf" srcId="{B039E064-7E2E-4561-9F4B-79E536F588AB}" destId="{A770C689-8964-4AC3-B3CF-54CEB140D746}" srcOrd="0" destOrd="0" presId="urn:microsoft.com/office/officeart/2005/8/layout/hierarchy2"/>
    <dgm:cxn modelId="{E14884D0-2A4D-42C7-AF56-ED7A1FC414B0}" type="presParOf" srcId="{8D82986C-D66D-4343-9769-DE5E3F320BCC}" destId="{109D398F-2A56-42ED-B129-58E6509D394D}" srcOrd="1" destOrd="0" presId="urn:microsoft.com/office/officeart/2005/8/layout/hierarchy2"/>
    <dgm:cxn modelId="{C9177E48-18FA-4AD9-90E7-751D8375534C}" type="presParOf" srcId="{109D398F-2A56-42ED-B129-58E6509D394D}" destId="{66A1B5E2-988E-44CA-A89F-4CC57A4D64F4}" srcOrd="0" destOrd="0" presId="urn:microsoft.com/office/officeart/2005/8/layout/hierarchy2"/>
    <dgm:cxn modelId="{4BFEFC64-7580-46AD-A3B6-D2BD9C6942DF}" type="presParOf" srcId="{109D398F-2A56-42ED-B129-58E6509D394D}" destId="{A773795F-8521-4C58-8A45-4528623214A5}" srcOrd="1" destOrd="0" presId="urn:microsoft.com/office/officeart/2005/8/layout/hierarchy2"/>
    <dgm:cxn modelId="{50260CC2-43FE-47ED-8D9D-F250C9C2291C}" type="presParOf" srcId="{352EC677-A706-40A8-8E79-371FA7E6BE81}" destId="{FC5AE121-58DA-4CA3-A50F-2DA28053F083}" srcOrd="2" destOrd="0" presId="urn:microsoft.com/office/officeart/2005/8/layout/hierarchy2"/>
    <dgm:cxn modelId="{AB5F5D28-BDD0-4AEF-A338-671A6928DBB7}" type="presParOf" srcId="{FC5AE121-58DA-4CA3-A50F-2DA28053F083}" destId="{17BABF6F-F84C-409E-80BE-AECAD9075EF2}" srcOrd="0" destOrd="0" presId="urn:microsoft.com/office/officeart/2005/8/layout/hierarchy2"/>
    <dgm:cxn modelId="{36BF073E-6F22-46BD-8F73-1BBB5275AF78}" type="presParOf" srcId="{352EC677-A706-40A8-8E79-371FA7E6BE81}" destId="{3C3351B8-4442-4075-88CE-F924048B8641}" srcOrd="3" destOrd="0" presId="urn:microsoft.com/office/officeart/2005/8/layout/hierarchy2"/>
    <dgm:cxn modelId="{DBE586E6-453E-4B04-8C7C-AF63373A7320}" type="presParOf" srcId="{3C3351B8-4442-4075-88CE-F924048B8641}" destId="{A13F5956-231E-4072-9431-2A597F470958}" srcOrd="0" destOrd="0" presId="urn:microsoft.com/office/officeart/2005/8/layout/hierarchy2"/>
    <dgm:cxn modelId="{65C48B14-E612-4FF3-AD56-AC8F931088ED}" type="presParOf" srcId="{3C3351B8-4442-4075-88CE-F924048B8641}" destId="{0A73F234-C93C-4460-934D-84C71792CA2B}" srcOrd="1" destOrd="0" presId="urn:microsoft.com/office/officeart/2005/8/layout/hierarchy2"/>
    <dgm:cxn modelId="{315CB578-6C70-4B05-B602-A4456C7CF274}" type="presParOf" srcId="{0A73F234-C93C-4460-934D-84C71792CA2B}" destId="{248786AD-0FE7-45A8-904D-14A85DD8EB11}" srcOrd="0" destOrd="0" presId="urn:microsoft.com/office/officeart/2005/8/layout/hierarchy2"/>
    <dgm:cxn modelId="{2A7BEFB9-CD4F-480A-B888-C2D6E96733E9}" type="presParOf" srcId="{248786AD-0FE7-45A8-904D-14A85DD8EB11}" destId="{4AB5CAFD-EB1A-453C-A7E0-488D03A14E3B}" srcOrd="0" destOrd="0" presId="urn:microsoft.com/office/officeart/2005/8/layout/hierarchy2"/>
    <dgm:cxn modelId="{066F0D81-0571-447C-A630-BCB637A07874}" type="presParOf" srcId="{0A73F234-C93C-4460-934D-84C71792CA2B}" destId="{2996B826-D59D-421E-9492-C925A15441D1}" srcOrd="1" destOrd="0" presId="urn:microsoft.com/office/officeart/2005/8/layout/hierarchy2"/>
    <dgm:cxn modelId="{D41195DA-6BE8-431C-937B-6851E007B5AA}" type="presParOf" srcId="{2996B826-D59D-421E-9492-C925A15441D1}" destId="{BD9DF337-941A-470D-877F-4ADC47693986}" srcOrd="0" destOrd="0" presId="urn:microsoft.com/office/officeart/2005/8/layout/hierarchy2"/>
    <dgm:cxn modelId="{B0ECD9E4-0200-4154-A4E6-49EDE978FF83}" type="presParOf" srcId="{2996B826-D59D-421E-9492-C925A15441D1}" destId="{5E3F5A9C-6729-47BB-821A-FB8ED7B5CE93}" srcOrd="1" destOrd="0" presId="urn:microsoft.com/office/officeart/2005/8/layout/hierarchy2"/>
    <dgm:cxn modelId="{53B1824D-CAE2-4CDD-8B02-966B034984E4}" type="presParOf" srcId="{555E4B9E-3A4F-4E4B-8B35-E889C12D9483}" destId="{393CF506-02EE-41E3-8613-8C814BA521BA}" srcOrd="2" destOrd="0" presId="urn:microsoft.com/office/officeart/2005/8/layout/hierarchy2"/>
    <dgm:cxn modelId="{7D7306A1-5C12-444B-86AF-5BCA0E809543}" type="presParOf" srcId="{393CF506-02EE-41E3-8613-8C814BA521BA}" destId="{82855FFE-096E-4E8B-BBA1-B48C29543D89}" srcOrd="0" destOrd="0" presId="urn:microsoft.com/office/officeart/2005/8/layout/hierarchy2"/>
    <dgm:cxn modelId="{B8911B60-0A65-4750-A9ED-026B4522F8DE}" type="presParOf" srcId="{555E4B9E-3A4F-4E4B-8B35-E889C12D9483}" destId="{24AC6B90-3B29-49D6-BB32-C66C1C4E3E2B}" srcOrd="3" destOrd="0" presId="urn:microsoft.com/office/officeart/2005/8/layout/hierarchy2"/>
    <dgm:cxn modelId="{C7FCDA93-1203-4924-BECE-D59EF0F7F362}" type="presParOf" srcId="{24AC6B90-3B29-49D6-BB32-C66C1C4E3E2B}" destId="{C052540D-3B3E-409B-8D91-61FE8030769F}" srcOrd="0" destOrd="0" presId="urn:microsoft.com/office/officeart/2005/8/layout/hierarchy2"/>
    <dgm:cxn modelId="{3718597F-98E1-446F-9918-BE0DE6D6A517}" type="presParOf" srcId="{24AC6B90-3B29-49D6-BB32-C66C1C4E3E2B}" destId="{C2BC7DC1-600D-4F68-B511-86ECFBE3E4F3}" srcOrd="1" destOrd="0" presId="urn:microsoft.com/office/officeart/2005/8/layout/hierarchy2"/>
    <dgm:cxn modelId="{02BE4DBC-804B-4FAF-A7FA-C665A09F80E7}" type="presParOf" srcId="{C2BC7DC1-600D-4F68-B511-86ECFBE3E4F3}" destId="{84B1024A-B34D-457B-832D-666041EF24C2}" srcOrd="0" destOrd="0" presId="urn:microsoft.com/office/officeart/2005/8/layout/hierarchy2"/>
    <dgm:cxn modelId="{92923396-03D8-4AE8-8833-83D9183FA2F3}" type="presParOf" srcId="{84B1024A-B34D-457B-832D-666041EF24C2}" destId="{B1ABD64E-6D08-4B14-B3B2-87DD211A0852}" srcOrd="0" destOrd="0" presId="urn:microsoft.com/office/officeart/2005/8/layout/hierarchy2"/>
    <dgm:cxn modelId="{BCEABE54-D85F-4AD7-B684-31DA46DA38FA}" type="presParOf" srcId="{C2BC7DC1-600D-4F68-B511-86ECFBE3E4F3}" destId="{474E9A1A-2962-4134-82FA-4C65F197CDC1}" srcOrd="1" destOrd="0" presId="urn:microsoft.com/office/officeart/2005/8/layout/hierarchy2"/>
    <dgm:cxn modelId="{59B7B00C-5AA6-4024-AE28-07BDCE32FF82}" type="presParOf" srcId="{474E9A1A-2962-4134-82FA-4C65F197CDC1}" destId="{B5800209-5D05-49F0-9389-DD923BF5EC3A}" srcOrd="0" destOrd="0" presId="urn:microsoft.com/office/officeart/2005/8/layout/hierarchy2"/>
    <dgm:cxn modelId="{87458878-5297-4B5B-81AF-0BF142ED18EB}" type="presParOf" srcId="{474E9A1A-2962-4134-82FA-4C65F197CDC1}" destId="{1AF57DBD-BD5C-44F4-B80F-82D8CFFAA582}" srcOrd="1" destOrd="0" presId="urn:microsoft.com/office/officeart/2005/8/layout/hierarchy2"/>
    <dgm:cxn modelId="{ECF75196-9541-4569-81F1-FEBC053BB07D}" type="presParOf" srcId="{1AF57DBD-BD5C-44F4-B80F-82D8CFFAA582}" destId="{5A5EABA1-9E0C-42AA-9F34-640A27B835F0}" srcOrd="0" destOrd="0" presId="urn:microsoft.com/office/officeart/2005/8/layout/hierarchy2"/>
    <dgm:cxn modelId="{59FCF60F-D2F3-43E5-A589-AF00861563C2}" type="presParOf" srcId="{5A5EABA1-9E0C-42AA-9F34-640A27B835F0}" destId="{5CE5D64A-0872-4C61-8CA6-642E238EB319}" srcOrd="0" destOrd="0" presId="urn:microsoft.com/office/officeart/2005/8/layout/hierarchy2"/>
    <dgm:cxn modelId="{1224D3A0-FDD3-4872-8345-2963D85921AF}" type="presParOf" srcId="{1AF57DBD-BD5C-44F4-B80F-82D8CFFAA582}" destId="{F6F927AD-EE7C-4B5D-BC5C-3B1BB81EB544}" srcOrd="1" destOrd="0" presId="urn:microsoft.com/office/officeart/2005/8/layout/hierarchy2"/>
    <dgm:cxn modelId="{B5C12CFC-21F2-4068-BEC4-CAB25D407966}" type="presParOf" srcId="{F6F927AD-EE7C-4B5D-BC5C-3B1BB81EB544}" destId="{BA92251E-B445-47E5-9A39-FF687F8C5F6C}" srcOrd="0" destOrd="0" presId="urn:microsoft.com/office/officeart/2005/8/layout/hierarchy2"/>
    <dgm:cxn modelId="{D61B3543-3331-4FB4-AF37-2CC3B2235CAE}" type="presParOf" srcId="{F6F927AD-EE7C-4B5D-BC5C-3B1BB81EB544}" destId="{BBBFACDC-3FE3-4CB7-AD34-9FF9BD4581FA}" srcOrd="1" destOrd="0" presId="urn:microsoft.com/office/officeart/2005/8/layout/hierarchy2"/>
    <dgm:cxn modelId="{AF8F2228-2249-4BD0-84F0-6F32A26C5C11}" type="presParOf" srcId="{C2BC7DC1-600D-4F68-B511-86ECFBE3E4F3}" destId="{4BE3AEE0-945A-4937-BB65-38A3FD0EC23C}" srcOrd="2" destOrd="0" presId="urn:microsoft.com/office/officeart/2005/8/layout/hierarchy2"/>
    <dgm:cxn modelId="{91B046AA-52FE-4874-B8AD-A0D56425C62F}" type="presParOf" srcId="{4BE3AEE0-945A-4937-BB65-38A3FD0EC23C}" destId="{FE7F4EA9-3A0C-433D-A220-B42F94675003}" srcOrd="0" destOrd="0" presId="urn:microsoft.com/office/officeart/2005/8/layout/hierarchy2"/>
    <dgm:cxn modelId="{BEC2A4CA-06F4-4A7E-A8A4-761EC344D67C}" type="presParOf" srcId="{C2BC7DC1-600D-4F68-B511-86ECFBE3E4F3}" destId="{FC753FCA-0ECB-41BB-BDC9-D08FDC457B52}" srcOrd="3" destOrd="0" presId="urn:microsoft.com/office/officeart/2005/8/layout/hierarchy2"/>
    <dgm:cxn modelId="{5D6D03DE-FA38-4811-99E1-EC5794811164}" type="presParOf" srcId="{FC753FCA-0ECB-41BB-BDC9-D08FDC457B52}" destId="{67C3682A-DB21-451F-A290-0A41D229E009}" srcOrd="0" destOrd="0" presId="urn:microsoft.com/office/officeart/2005/8/layout/hierarchy2"/>
    <dgm:cxn modelId="{B4873EEB-B329-4D52-A337-4699D693DFDD}" type="presParOf" srcId="{FC753FCA-0ECB-41BB-BDC9-D08FDC457B52}" destId="{8D248C1F-E292-4E82-9194-378BA6A62BAF}" srcOrd="1" destOrd="0" presId="urn:microsoft.com/office/officeart/2005/8/layout/hierarchy2"/>
    <dgm:cxn modelId="{63B3CD83-28AC-40B9-A1DC-86CE0919E02E}" type="presParOf" srcId="{8D248C1F-E292-4E82-9194-378BA6A62BAF}" destId="{974EB5B5-9F76-4230-844B-8FAFD0E25154}" srcOrd="0" destOrd="0" presId="urn:microsoft.com/office/officeart/2005/8/layout/hierarchy2"/>
    <dgm:cxn modelId="{AF127046-AA27-45C2-8BB4-BDCEA1D86387}" type="presParOf" srcId="{974EB5B5-9F76-4230-844B-8FAFD0E25154}" destId="{E994DEEE-352F-4CD0-889B-88970FB1F37B}" srcOrd="0" destOrd="0" presId="urn:microsoft.com/office/officeart/2005/8/layout/hierarchy2"/>
    <dgm:cxn modelId="{F16A9D17-43FE-4A83-8F2F-087F85769D88}" type="presParOf" srcId="{8D248C1F-E292-4E82-9194-378BA6A62BAF}" destId="{8126F7C7-15E1-427D-A4F5-ECE978B2D06D}" srcOrd="1" destOrd="0" presId="urn:microsoft.com/office/officeart/2005/8/layout/hierarchy2"/>
    <dgm:cxn modelId="{B54D5858-3F15-4E89-96BE-18F2FAE6BC63}" type="presParOf" srcId="{8126F7C7-15E1-427D-A4F5-ECE978B2D06D}" destId="{C833B668-4170-43B8-B3D7-25B7406B6663}" srcOrd="0" destOrd="0" presId="urn:microsoft.com/office/officeart/2005/8/layout/hierarchy2"/>
    <dgm:cxn modelId="{5BA3E9C2-82AE-4C33-B275-78A67DB81465}" type="presParOf" srcId="{8126F7C7-15E1-427D-A4F5-ECE978B2D06D}" destId="{546C3801-DA55-4338-A8E3-C7CFEBA62212}" srcOrd="1" destOrd="0" presId="urn:microsoft.com/office/officeart/2005/8/layout/hierarchy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0466290-F68B-42F0-8EBD-2302A885242C}">
      <dsp:nvSpPr>
        <dsp:cNvPr id="0" name=""/>
        <dsp:cNvSpPr/>
      </dsp:nvSpPr>
      <dsp:spPr>
        <a:xfrm>
          <a:off x="17415" y="1831657"/>
          <a:ext cx="1901985" cy="1470834"/>
        </a:xfrm>
        <a:prstGeom prst="roundRect">
          <a:avLst>
            <a:gd name="adj" fmla="val 10000"/>
          </a:avLst>
        </a:prstGeom>
        <a:solidFill>
          <a:schemeClr val="accent1">
            <a:hueOff val="0"/>
            <a:satOff val="0"/>
            <a:lumOff val="0"/>
            <a:alphaOff val="0"/>
          </a:schemeClr>
        </a:solidFill>
        <a:ln>
          <a:noFill/>
        </a:ln>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1">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1066800">
            <a:lnSpc>
              <a:spcPct val="90000"/>
            </a:lnSpc>
            <a:spcBef>
              <a:spcPct val="0"/>
            </a:spcBef>
            <a:spcAft>
              <a:spcPct val="35000"/>
            </a:spcAft>
            <a:buNone/>
          </a:pPr>
          <a:r>
            <a:rPr lang="en-US" sz="2400" b="1" kern="1200" dirty="0"/>
            <a:t> Sleep Apnea</a:t>
          </a:r>
        </a:p>
      </dsp:txBody>
      <dsp:txXfrm>
        <a:off x="60494" y="1874736"/>
        <a:ext cx="1815827" cy="1384676"/>
      </dsp:txXfrm>
    </dsp:sp>
    <dsp:sp modelId="{E28E8B58-F515-499D-A3F8-1EDB04F53AEC}">
      <dsp:nvSpPr>
        <dsp:cNvPr id="0" name=""/>
        <dsp:cNvSpPr/>
      </dsp:nvSpPr>
      <dsp:spPr>
        <a:xfrm rot="3383623">
          <a:off x="1562804" y="3215068"/>
          <a:ext cx="1597236" cy="34287"/>
        </a:xfrm>
        <a:custGeom>
          <a:avLst/>
          <a:gdLst/>
          <a:ahLst/>
          <a:cxnLst/>
          <a:rect l="0" t="0" r="0" b="0"/>
          <a:pathLst>
            <a:path>
              <a:moveTo>
                <a:pt x="0" y="17143"/>
              </a:moveTo>
              <a:lnTo>
                <a:pt x="1597236" y="17143"/>
              </a:lnTo>
            </a:path>
          </a:pathLst>
        </a:custGeom>
        <a:noFill/>
        <a:ln w="15875" cap="flat" cmpd="sng" algn="ctr">
          <a:solidFill>
            <a:schemeClr val="accent2">
              <a:hueOff val="0"/>
              <a:satOff val="0"/>
              <a:lumOff val="0"/>
              <a:alphaOff val="0"/>
            </a:schemeClr>
          </a:solidFill>
          <a:prstDash val="solid"/>
        </a:ln>
        <a:effectLst/>
        <a:scene3d>
          <a:camera prst="orthographicFront">
            <a:rot lat="0" lon="0" rev="0"/>
          </a:camera>
          <a:lightRig rig="contrasting" dir="t">
            <a:rot lat="0" lon="0" rev="1200000"/>
          </a:lightRig>
        </a:scene3d>
        <a:sp3d z="-110000"/>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dirty="0"/>
        </a:p>
      </dsp:txBody>
      <dsp:txXfrm>
        <a:off x="2321491" y="3192281"/>
        <a:ext cx="79861" cy="79861"/>
      </dsp:txXfrm>
    </dsp:sp>
    <dsp:sp modelId="{4A792D28-F8DC-46E9-B068-604B7221733E}">
      <dsp:nvSpPr>
        <dsp:cNvPr id="0" name=""/>
        <dsp:cNvSpPr/>
      </dsp:nvSpPr>
      <dsp:spPr>
        <a:xfrm>
          <a:off x="2803443" y="3421853"/>
          <a:ext cx="1901985" cy="950992"/>
        </a:xfrm>
        <a:prstGeom prst="roundRect">
          <a:avLst>
            <a:gd name="adj" fmla="val 10000"/>
          </a:avLst>
        </a:prstGeom>
        <a:solidFill>
          <a:schemeClr val="accent2">
            <a:hueOff val="0"/>
            <a:satOff val="0"/>
            <a:lumOff val="0"/>
            <a:alphaOff val="0"/>
          </a:schemeClr>
        </a:solidFill>
        <a:ln>
          <a:noFill/>
        </a:ln>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1">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977900">
            <a:lnSpc>
              <a:spcPct val="90000"/>
            </a:lnSpc>
            <a:spcBef>
              <a:spcPct val="0"/>
            </a:spcBef>
            <a:spcAft>
              <a:spcPct val="35000"/>
            </a:spcAft>
            <a:buNone/>
          </a:pPr>
          <a:r>
            <a:rPr lang="en-US" sz="2200" b="1" kern="1200" dirty="0"/>
            <a:t>Hypoxia</a:t>
          </a:r>
        </a:p>
      </dsp:txBody>
      <dsp:txXfrm>
        <a:off x="2831297" y="3449707"/>
        <a:ext cx="1846277" cy="895284"/>
      </dsp:txXfrm>
    </dsp:sp>
    <dsp:sp modelId="{3801C641-981C-4EC7-9AFB-D7A0AAFB5D5B}">
      <dsp:nvSpPr>
        <dsp:cNvPr id="0" name=""/>
        <dsp:cNvSpPr/>
      </dsp:nvSpPr>
      <dsp:spPr>
        <a:xfrm rot="19104749">
          <a:off x="4583658" y="3559534"/>
          <a:ext cx="966221" cy="34287"/>
        </a:xfrm>
        <a:custGeom>
          <a:avLst/>
          <a:gdLst/>
          <a:ahLst/>
          <a:cxnLst/>
          <a:rect l="0" t="0" r="0" b="0"/>
          <a:pathLst>
            <a:path>
              <a:moveTo>
                <a:pt x="0" y="17143"/>
              </a:moveTo>
              <a:lnTo>
                <a:pt x="966221" y="17143"/>
              </a:lnTo>
            </a:path>
          </a:pathLst>
        </a:custGeom>
        <a:noFill/>
        <a:ln w="15875" cap="flat" cmpd="sng" algn="ctr">
          <a:solidFill>
            <a:schemeClr val="accent3">
              <a:hueOff val="0"/>
              <a:satOff val="0"/>
              <a:lumOff val="0"/>
              <a:alphaOff val="0"/>
            </a:schemeClr>
          </a:solidFill>
          <a:prstDash val="solid"/>
        </a:ln>
        <a:effectLst/>
        <a:scene3d>
          <a:camera prst="orthographicFront">
            <a:rot lat="0" lon="0" rev="0"/>
          </a:camera>
          <a:lightRig rig="contrasting" dir="t">
            <a:rot lat="0" lon="0" rev="1200000"/>
          </a:lightRig>
        </a:scene3d>
        <a:sp3d z="-110000"/>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dirty="0"/>
        </a:p>
      </dsp:txBody>
      <dsp:txXfrm>
        <a:off x="5042613" y="3552522"/>
        <a:ext cx="48311" cy="48311"/>
      </dsp:txXfrm>
    </dsp:sp>
    <dsp:sp modelId="{3E173AE2-ED6E-4FB5-A6EB-69CBA8A50BD3}">
      <dsp:nvSpPr>
        <dsp:cNvPr id="0" name=""/>
        <dsp:cNvSpPr/>
      </dsp:nvSpPr>
      <dsp:spPr>
        <a:xfrm>
          <a:off x="5428108" y="2780510"/>
          <a:ext cx="1901985" cy="950992"/>
        </a:xfrm>
        <a:prstGeom prst="roundRect">
          <a:avLst>
            <a:gd name="adj" fmla="val 10000"/>
          </a:avLst>
        </a:prstGeom>
        <a:solidFill>
          <a:schemeClr val="accent3">
            <a:hueOff val="0"/>
            <a:satOff val="0"/>
            <a:lumOff val="0"/>
            <a:alphaOff val="0"/>
          </a:schemeClr>
        </a:solidFill>
        <a:ln>
          <a:noFill/>
        </a:ln>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1">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US" sz="1800" kern="1200" dirty="0"/>
            <a:t>Ischemia</a:t>
          </a:r>
        </a:p>
      </dsp:txBody>
      <dsp:txXfrm>
        <a:off x="5455962" y="2808364"/>
        <a:ext cx="1846277" cy="895284"/>
      </dsp:txXfrm>
    </dsp:sp>
    <dsp:sp modelId="{B039E064-7E2E-4561-9F4B-79E536F588AB}">
      <dsp:nvSpPr>
        <dsp:cNvPr id="0" name=""/>
        <dsp:cNvSpPr/>
      </dsp:nvSpPr>
      <dsp:spPr>
        <a:xfrm rot="49167">
          <a:off x="7330058" y="3243770"/>
          <a:ext cx="686230" cy="34287"/>
        </a:xfrm>
        <a:custGeom>
          <a:avLst/>
          <a:gdLst/>
          <a:ahLst/>
          <a:cxnLst/>
          <a:rect l="0" t="0" r="0" b="0"/>
          <a:pathLst>
            <a:path>
              <a:moveTo>
                <a:pt x="0" y="17143"/>
              </a:moveTo>
              <a:lnTo>
                <a:pt x="686230" y="17143"/>
              </a:lnTo>
            </a:path>
          </a:pathLst>
        </a:custGeom>
        <a:noFill/>
        <a:ln w="15875" cap="flat" cmpd="sng" algn="ctr">
          <a:solidFill>
            <a:schemeClr val="accent4">
              <a:hueOff val="0"/>
              <a:satOff val="0"/>
              <a:lumOff val="0"/>
              <a:alphaOff val="0"/>
            </a:schemeClr>
          </a:solidFill>
          <a:prstDash val="solid"/>
        </a:ln>
        <a:effectLst/>
        <a:scene3d>
          <a:camera prst="orthographicFront">
            <a:rot lat="0" lon="0" rev="0"/>
          </a:camera>
          <a:lightRig rig="contrasting" dir="t">
            <a:rot lat="0" lon="0" rev="1200000"/>
          </a:lightRig>
        </a:scene3d>
        <a:sp3d z="-110000"/>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dirty="0"/>
        </a:p>
      </dsp:txBody>
      <dsp:txXfrm>
        <a:off x="7656018" y="3243758"/>
        <a:ext cx="34311" cy="34311"/>
      </dsp:txXfrm>
    </dsp:sp>
    <dsp:sp modelId="{66A1B5E2-988E-44CA-A89F-4CC57A4D64F4}">
      <dsp:nvSpPr>
        <dsp:cNvPr id="0" name=""/>
        <dsp:cNvSpPr/>
      </dsp:nvSpPr>
      <dsp:spPr>
        <a:xfrm>
          <a:off x="8016254" y="2555310"/>
          <a:ext cx="2150841" cy="1421021"/>
        </a:xfrm>
        <a:prstGeom prst="roundRect">
          <a:avLst>
            <a:gd name="adj" fmla="val 10000"/>
          </a:avLst>
        </a:prstGeom>
        <a:solidFill>
          <a:schemeClr val="tx2">
            <a:lumMod val="60000"/>
            <a:lumOff val="40000"/>
          </a:schemeClr>
        </a:solidFill>
        <a:ln>
          <a:noFill/>
        </a:ln>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1">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US" sz="1600" kern="1200" dirty="0"/>
            <a:t>Dementia</a:t>
          </a:r>
        </a:p>
        <a:p>
          <a:pPr marL="0" lvl="0" indent="0" algn="ctr" defTabSz="711200">
            <a:lnSpc>
              <a:spcPct val="90000"/>
            </a:lnSpc>
            <a:spcBef>
              <a:spcPct val="0"/>
            </a:spcBef>
            <a:spcAft>
              <a:spcPct val="35000"/>
            </a:spcAft>
            <a:buNone/>
          </a:pPr>
          <a:r>
            <a:rPr lang="en-US" sz="1600" kern="1200" dirty="0"/>
            <a:t>Myocardial infarction</a:t>
          </a:r>
        </a:p>
        <a:p>
          <a:pPr marL="0" lvl="0" indent="0" algn="ctr" defTabSz="711200">
            <a:lnSpc>
              <a:spcPct val="90000"/>
            </a:lnSpc>
            <a:spcBef>
              <a:spcPct val="0"/>
            </a:spcBef>
            <a:spcAft>
              <a:spcPct val="35000"/>
            </a:spcAft>
            <a:buNone/>
          </a:pPr>
          <a:r>
            <a:rPr lang="en-US" sz="1600" kern="1200" dirty="0"/>
            <a:t>Stroke</a:t>
          </a:r>
        </a:p>
      </dsp:txBody>
      <dsp:txXfrm>
        <a:off x="8057874" y="2596930"/>
        <a:ext cx="2067601" cy="1337781"/>
      </dsp:txXfrm>
    </dsp:sp>
    <dsp:sp modelId="{FC5AE121-58DA-4CA3-A50F-2DA28053F083}">
      <dsp:nvSpPr>
        <dsp:cNvPr id="0" name=""/>
        <dsp:cNvSpPr/>
      </dsp:nvSpPr>
      <dsp:spPr>
        <a:xfrm rot="2396258">
          <a:off x="4592868" y="4189989"/>
          <a:ext cx="965127" cy="34287"/>
        </a:xfrm>
        <a:custGeom>
          <a:avLst/>
          <a:gdLst/>
          <a:ahLst/>
          <a:cxnLst/>
          <a:rect l="0" t="0" r="0" b="0"/>
          <a:pathLst>
            <a:path>
              <a:moveTo>
                <a:pt x="0" y="17143"/>
              </a:moveTo>
              <a:lnTo>
                <a:pt x="965127" y="17143"/>
              </a:lnTo>
            </a:path>
          </a:pathLst>
        </a:custGeom>
        <a:noFill/>
        <a:ln w="15875" cap="flat" cmpd="sng" algn="ctr">
          <a:solidFill>
            <a:schemeClr val="accent3">
              <a:hueOff val="0"/>
              <a:satOff val="0"/>
              <a:lumOff val="0"/>
              <a:alphaOff val="0"/>
            </a:schemeClr>
          </a:solidFill>
          <a:prstDash val="solid"/>
        </a:ln>
        <a:effectLst/>
        <a:scene3d>
          <a:camera prst="orthographicFront">
            <a:rot lat="0" lon="0" rev="0"/>
          </a:camera>
          <a:lightRig rig="contrasting" dir="t">
            <a:rot lat="0" lon="0" rev="1200000"/>
          </a:lightRig>
        </a:scene3d>
        <a:sp3d z="-110000"/>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dirty="0"/>
        </a:p>
      </dsp:txBody>
      <dsp:txXfrm>
        <a:off x="5051304" y="4183004"/>
        <a:ext cx="48256" cy="48256"/>
      </dsp:txXfrm>
    </dsp:sp>
    <dsp:sp modelId="{A13F5956-231E-4072-9431-2A597F470958}">
      <dsp:nvSpPr>
        <dsp:cNvPr id="0" name=""/>
        <dsp:cNvSpPr/>
      </dsp:nvSpPr>
      <dsp:spPr>
        <a:xfrm>
          <a:off x="5445435" y="4041420"/>
          <a:ext cx="1901985" cy="950992"/>
        </a:xfrm>
        <a:prstGeom prst="roundRect">
          <a:avLst>
            <a:gd name="adj" fmla="val 10000"/>
          </a:avLst>
        </a:prstGeom>
        <a:solidFill>
          <a:schemeClr val="accent3">
            <a:hueOff val="0"/>
            <a:satOff val="0"/>
            <a:lumOff val="0"/>
            <a:alphaOff val="0"/>
          </a:schemeClr>
        </a:solidFill>
        <a:ln>
          <a:noFill/>
        </a:ln>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1">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US" sz="1800" kern="1200" dirty="0"/>
            <a:t>Inflammation</a:t>
          </a:r>
        </a:p>
      </dsp:txBody>
      <dsp:txXfrm>
        <a:off x="5473289" y="4069274"/>
        <a:ext cx="1846277" cy="895284"/>
      </dsp:txXfrm>
    </dsp:sp>
    <dsp:sp modelId="{248786AD-0FE7-45A8-904D-14A85DD8EB11}">
      <dsp:nvSpPr>
        <dsp:cNvPr id="0" name=""/>
        <dsp:cNvSpPr/>
      </dsp:nvSpPr>
      <dsp:spPr>
        <a:xfrm>
          <a:off x="7347420" y="4499772"/>
          <a:ext cx="668833" cy="34287"/>
        </a:xfrm>
        <a:custGeom>
          <a:avLst/>
          <a:gdLst/>
          <a:ahLst/>
          <a:cxnLst/>
          <a:rect l="0" t="0" r="0" b="0"/>
          <a:pathLst>
            <a:path>
              <a:moveTo>
                <a:pt x="0" y="17143"/>
              </a:moveTo>
              <a:lnTo>
                <a:pt x="668833" y="17143"/>
              </a:lnTo>
            </a:path>
          </a:pathLst>
        </a:custGeom>
        <a:noFill/>
        <a:ln w="15875" cap="flat" cmpd="sng" algn="ctr">
          <a:solidFill>
            <a:schemeClr val="accent4">
              <a:hueOff val="0"/>
              <a:satOff val="0"/>
              <a:lumOff val="0"/>
              <a:alphaOff val="0"/>
            </a:schemeClr>
          </a:solidFill>
          <a:prstDash val="solid"/>
        </a:ln>
        <a:effectLst/>
        <a:scene3d>
          <a:camera prst="orthographicFront">
            <a:rot lat="0" lon="0" rev="0"/>
          </a:camera>
          <a:lightRig rig="contrasting" dir="t">
            <a:rot lat="0" lon="0" rev="1200000"/>
          </a:lightRig>
        </a:scene3d>
        <a:sp3d z="-110000"/>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dirty="0"/>
        </a:p>
      </dsp:txBody>
      <dsp:txXfrm>
        <a:off x="7665116" y="4500195"/>
        <a:ext cx="33441" cy="33441"/>
      </dsp:txXfrm>
    </dsp:sp>
    <dsp:sp modelId="{BD9DF337-941A-470D-877F-4ADC47693986}">
      <dsp:nvSpPr>
        <dsp:cNvPr id="0" name=""/>
        <dsp:cNvSpPr/>
      </dsp:nvSpPr>
      <dsp:spPr>
        <a:xfrm>
          <a:off x="8016254" y="4041420"/>
          <a:ext cx="2120428" cy="950992"/>
        </a:xfrm>
        <a:prstGeom prst="roundRect">
          <a:avLst>
            <a:gd name="adj" fmla="val 10000"/>
          </a:avLst>
        </a:prstGeom>
        <a:solidFill>
          <a:schemeClr val="tx2">
            <a:lumMod val="60000"/>
            <a:lumOff val="40000"/>
          </a:schemeClr>
        </a:solidFill>
        <a:ln>
          <a:noFill/>
        </a:ln>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1">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US" sz="1600" kern="1200" dirty="0"/>
            <a:t>Cancer</a:t>
          </a:r>
        </a:p>
        <a:p>
          <a:pPr marL="0" lvl="0" indent="0" algn="ctr" defTabSz="711200">
            <a:lnSpc>
              <a:spcPct val="90000"/>
            </a:lnSpc>
            <a:spcBef>
              <a:spcPct val="0"/>
            </a:spcBef>
            <a:spcAft>
              <a:spcPct val="35000"/>
            </a:spcAft>
            <a:buNone/>
          </a:pPr>
          <a:r>
            <a:rPr lang="en-US" sz="1600" kern="1200" dirty="0"/>
            <a:t>Endothelial dysfunction</a:t>
          </a:r>
        </a:p>
      </dsp:txBody>
      <dsp:txXfrm>
        <a:off x="8044108" y="4069274"/>
        <a:ext cx="2064720" cy="895284"/>
      </dsp:txXfrm>
    </dsp:sp>
    <dsp:sp modelId="{393CF506-02EE-41E3-8613-8C814BA521BA}">
      <dsp:nvSpPr>
        <dsp:cNvPr id="0" name=""/>
        <dsp:cNvSpPr/>
      </dsp:nvSpPr>
      <dsp:spPr>
        <a:xfrm rot="18193528">
          <a:off x="1575055" y="1912738"/>
          <a:ext cx="1523435" cy="34287"/>
        </a:xfrm>
        <a:custGeom>
          <a:avLst/>
          <a:gdLst/>
          <a:ahLst/>
          <a:cxnLst/>
          <a:rect l="0" t="0" r="0" b="0"/>
          <a:pathLst>
            <a:path>
              <a:moveTo>
                <a:pt x="0" y="17143"/>
              </a:moveTo>
              <a:lnTo>
                <a:pt x="1523435" y="17143"/>
              </a:lnTo>
            </a:path>
          </a:pathLst>
        </a:custGeom>
        <a:noFill/>
        <a:ln w="15875" cap="flat" cmpd="sng" algn="ctr">
          <a:solidFill>
            <a:schemeClr val="accent2">
              <a:hueOff val="0"/>
              <a:satOff val="0"/>
              <a:lumOff val="0"/>
              <a:alphaOff val="0"/>
            </a:schemeClr>
          </a:solidFill>
          <a:prstDash val="solid"/>
        </a:ln>
        <a:effectLst/>
        <a:scene3d>
          <a:camera prst="orthographicFront">
            <a:rot lat="0" lon="0" rev="0"/>
          </a:camera>
          <a:lightRig rig="contrasting" dir="t">
            <a:rot lat="0" lon="0" rev="1200000"/>
          </a:lightRig>
        </a:scene3d>
        <a:sp3d z="-110000"/>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dirty="0"/>
        </a:p>
      </dsp:txBody>
      <dsp:txXfrm>
        <a:off x="2298686" y="1891796"/>
        <a:ext cx="76171" cy="76171"/>
      </dsp:txXfrm>
    </dsp:sp>
    <dsp:sp modelId="{C052540D-3B3E-409B-8D91-61FE8030769F}">
      <dsp:nvSpPr>
        <dsp:cNvPr id="0" name=""/>
        <dsp:cNvSpPr/>
      </dsp:nvSpPr>
      <dsp:spPr>
        <a:xfrm>
          <a:off x="2754144" y="817192"/>
          <a:ext cx="1901985" cy="950992"/>
        </a:xfrm>
        <a:prstGeom prst="roundRect">
          <a:avLst>
            <a:gd name="adj" fmla="val 10000"/>
          </a:avLst>
        </a:prstGeom>
        <a:solidFill>
          <a:schemeClr val="accent2">
            <a:hueOff val="0"/>
            <a:satOff val="0"/>
            <a:lumOff val="0"/>
            <a:alphaOff val="0"/>
          </a:schemeClr>
        </a:solidFill>
        <a:ln>
          <a:noFill/>
        </a:ln>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1">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977900">
            <a:lnSpc>
              <a:spcPct val="90000"/>
            </a:lnSpc>
            <a:spcBef>
              <a:spcPct val="0"/>
            </a:spcBef>
            <a:spcAft>
              <a:spcPct val="35000"/>
            </a:spcAft>
            <a:buNone/>
          </a:pPr>
          <a:r>
            <a:rPr lang="en-US" sz="2200" b="1" kern="1200" dirty="0"/>
            <a:t>Arousal</a:t>
          </a:r>
        </a:p>
      </dsp:txBody>
      <dsp:txXfrm>
        <a:off x="2781998" y="845046"/>
        <a:ext cx="1846277" cy="895284"/>
      </dsp:txXfrm>
    </dsp:sp>
    <dsp:sp modelId="{84B1024A-B34D-457B-832D-666041EF24C2}">
      <dsp:nvSpPr>
        <dsp:cNvPr id="0" name=""/>
        <dsp:cNvSpPr/>
      </dsp:nvSpPr>
      <dsp:spPr>
        <a:xfrm rot="18963366">
          <a:off x="4503175" y="896435"/>
          <a:ext cx="1092608" cy="34287"/>
        </a:xfrm>
        <a:custGeom>
          <a:avLst/>
          <a:gdLst/>
          <a:ahLst/>
          <a:cxnLst/>
          <a:rect l="0" t="0" r="0" b="0"/>
          <a:pathLst>
            <a:path>
              <a:moveTo>
                <a:pt x="0" y="17143"/>
              </a:moveTo>
              <a:lnTo>
                <a:pt x="1092608" y="17143"/>
              </a:lnTo>
            </a:path>
          </a:pathLst>
        </a:custGeom>
        <a:noFill/>
        <a:ln w="15875" cap="flat" cmpd="sng" algn="ctr">
          <a:solidFill>
            <a:schemeClr val="accent3">
              <a:hueOff val="0"/>
              <a:satOff val="0"/>
              <a:lumOff val="0"/>
              <a:alphaOff val="0"/>
            </a:schemeClr>
          </a:solidFill>
          <a:prstDash val="solid"/>
        </a:ln>
        <a:effectLst/>
        <a:scene3d>
          <a:camera prst="orthographicFront">
            <a:rot lat="0" lon="0" rev="0"/>
          </a:camera>
          <a:lightRig rig="contrasting" dir="t">
            <a:rot lat="0" lon="0" rev="1200000"/>
          </a:lightRig>
        </a:scene3d>
        <a:sp3d z="-110000"/>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dirty="0"/>
        </a:p>
      </dsp:txBody>
      <dsp:txXfrm>
        <a:off x="5022164" y="886264"/>
        <a:ext cx="54630" cy="54630"/>
      </dsp:txXfrm>
    </dsp:sp>
    <dsp:sp modelId="{B5800209-5D05-49F0-9389-DD923BF5EC3A}">
      <dsp:nvSpPr>
        <dsp:cNvPr id="0" name=""/>
        <dsp:cNvSpPr/>
      </dsp:nvSpPr>
      <dsp:spPr>
        <a:xfrm>
          <a:off x="5442829" y="58973"/>
          <a:ext cx="1901985" cy="950992"/>
        </a:xfrm>
        <a:prstGeom prst="roundRect">
          <a:avLst>
            <a:gd name="adj" fmla="val 10000"/>
          </a:avLst>
        </a:prstGeom>
        <a:solidFill>
          <a:schemeClr val="accent3">
            <a:hueOff val="0"/>
            <a:satOff val="0"/>
            <a:lumOff val="0"/>
            <a:alphaOff val="0"/>
          </a:schemeClr>
        </a:solidFill>
        <a:ln>
          <a:noFill/>
        </a:ln>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1">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ts val="0"/>
            </a:spcAft>
            <a:buNone/>
          </a:pPr>
          <a:r>
            <a:rPr lang="en-US" sz="1800" kern="1200" dirty="0"/>
            <a:t>Disturbed </a:t>
          </a:r>
        </a:p>
        <a:p>
          <a:pPr marL="0" lvl="0" indent="0" algn="ctr" defTabSz="800100">
            <a:lnSpc>
              <a:spcPct val="90000"/>
            </a:lnSpc>
            <a:spcBef>
              <a:spcPct val="0"/>
            </a:spcBef>
            <a:spcAft>
              <a:spcPts val="0"/>
            </a:spcAft>
            <a:buNone/>
          </a:pPr>
          <a:r>
            <a:rPr lang="en-US" sz="1800" kern="1200" dirty="0"/>
            <a:t>sleep</a:t>
          </a:r>
        </a:p>
      </dsp:txBody>
      <dsp:txXfrm>
        <a:off x="5470683" y="86827"/>
        <a:ext cx="1846277" cy="895284"/>
      </dsp:txXfrm>
    </dsp:sp>
    <dsp:sp modelId="{5A5EABA1-9E0C-42AA-9F34-640A27B835F0}">
      <dsp:nvSpPr>
        <dsp:cNvPr id="0" name=""/>
        <dsp:cNvSpPr/>
      </dsp:nvSpPr>
      <dsp:spPr>
        <a:xfrm rot="21552335">
          <a:off x="7344782" y="512670"/>
          <a:ext cx="671503" cy="34287"/>
        </a:xfrm>
        <a:custGeom>
          <a:avLst/>
          <a:gdLst/>
          <a:ahLst/>
          <a:cxnLst/>
          <a:rect l="0" t="0" r="0" b="0"/>
          <a:pathLst>
            <a:path>
              <a:moveTo>
                <a:pt x="0" y="17143"/>
              </a:moveTo>
              <a:lnTo>
                <a:pt x="671503" y="17143"/>
              </a:lnTo>
            </a:path>
          </a:pathLst>
        </a:custGeom>
        <a:noFill/>
        <a:ln w="15875" cap="flat" cmpd="sng" algn="ctr">
          <a:solidFill>
            <a:schemeClr val="accent4">
              <a:hueOff val="0"/>
              <a:satOff val="0"/>
              <a:lumOff val="0"/>
              <a:alphaOff val="0"/>
            </a:schemeClr>
          </a:solidFill>
          <a:prstDash val="solid"/>
        </a:ln>
        <a:effectLst/>
        <a:scene3d>
          <a:camera prst="orthographicFront">
            <a:rot lat="0" lon="0" rev="0"/>
          </a:camera>
          <a:lightRig rig="contrasting" dir="t">
            <a:rot lat="0" lon="0" rev="1200000"/>
          </a:lightRig>
        </a:scene3d>
        <a:sp3d z="-110000"/>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dirty="0"/>
        </a:p>
      </dsp:txBody>
      <dsp:txXfrm>
        <a:off x="7663747" y="513027"/>
        <a:ext cx="33575" cy="33575"/>
      </dsp:txXfrm>
    </dsp:sp>
    <dsp:sp modelId="{BA92251E-B445-47E5-9A39-FF687F8C5F6C}">
      <dsp:nvSpPr>
        <dsp:cNvPr id="0" name=""/>
        <dsp:cNvSpPr/>
      </dsp:nvSpPr>
      <dsp:spPr>
        <a:xfrm>
          <a:off x="8016254" y="49663"/>
          <a:ext cx="2122540" cy="950992"/>
        </a:xfrm>
        <a:prstGeom prst="roundRect">
          <a:avLst>
            <a:gd name="adj" fmla="val 10000"/>
          </a:avLst>
        </a:prstGeom>
        <a:solidFill>
          <a:schemeClr val="tx2">
            <a:lumMod val="60000"/>
            <a:lumOff val="40000"/>
          </a:schemeClr>
        </a:solidFill>
        <a:ln>
          <a:noFill/>
        </a:ln>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1">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US" sz="1600" kern="1200" dirty="0">
              <a:latin typeface="Calibri"/>
            </a:rPr>
            <a:t>↓M</a:t>
          </a:r>
          <a:r>
            <a:rPr lang="en-US" sz="1600" kern="1200" dirty="0"/>
            <a:t>ental acuity</a:t>
          </a:r>
        </a:p>
        <a:p>
          <a:pPr marL="0" lvl="0" indent="0" algn="ctr" defTabSz="711200">
            <a:lnSpc>
              <a:spcPct val="90000"/>
            </a:lnSpc>
            <a:spcBef>
              <a:spcPct val="0"/>
            </a:spcBef>
            <a:spcAft>
              <a:spcPct val="35000"/>
            </a:spcAft>
            <a:buNone/>
          </a:pPr>
          <a:r>
            <a:rPr lang="en-US" sz="1600" kern="1200" dirty="0"/>
            <a:t>Fatigue</a:t>
          </a:r>
        </a:p>
      </dsp:txBody>
      <dsp:txXfrm>
        <a:off x="8044108" y="77517"/>
        <a:ext cx="2066832" cy="895284"/>
      </dsp:txXfrm>
    </dsp:sp>
    <dsp:sp modelId="{4BE3AEE0-945A-4937-BB65-38A3FD0EC23C}">
      <dsp:nvSpPr>
        <dsp:cNvPr id="0" name=""/>
        <dsp:cNvSpPr/>
      </dsp:nvSpPr>
      <dsp:spPr>
        <a:xfrm rot="2002151">
          <a:off x="4579219" y="1532153"/>
          <a:ext cx="933065" cy="34287"/>
        </a:xfrm>
        <a:custGeom>
          <a:avLst/>
          <a:gdLst/>
          <a:ahLst/>
          <a:cxnLst/>
          <a:rect l="0" t="0" r="0" b="0"/>
          <a:pathLst>
            <a:path>
              <a:moveTo>
                <a:pt x="0" y="17143"/>
              </a:moveTo>
              <a:lnTo>
                <a:pt x="933065" y="17143"/>
              </a:lnTo>
            </a:path>
          </a:pathLst>
        </a:custGeom>
        <a:noFill/>
        <a:ln w="15875" cap="flat" cmpd="sng" algn="ctr">
          <a:solidFill>
            <a:schemeClr val="accent3">
              <a:hueOff val="0"/>
              <a:satOff val="0"/>
              <a:lumOff val="0"/>
              <a:alphaOff val="0"/>
            </a:schemeClr>
          </a:solidFill>
          <a:prstDash val="solid"/>
        </a:ln>
        <a:effectLst/>
        <a:scene3d>
          <a:camera prst="orthographicFront">
            <a:rot lat="0" lon="0" rev="0"/>
          </a:camera>
          <a:lightRig rig="contrasting" dir="t">
            <a:rot lat="0" lon="0" rev="1200000"/>
          </a:lightRig>
        </a:scene3d>
        <a:sp3d z="-110000"/>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dirty="0"/>
        </a:p>
      </dsp:txBody>
      <dsp:txXfrm>
        <a:off x="5022425" y="1525970"/>
        <a:ext cx="46653" cy="46653"/>
      </dsp:txXfrm>
    </dsp:sp>
    <dsp:sp modelId="{67C3682A-DB21-451F-A290-0A41D229E009}">
      <dsp:nvSpPr>
        <dsp:cNvPr id="0" name=""/>
        <dsp:cNvSpPr/>
      </dsp:nvSpPr>
      <dsp:spPr>
        <a:xfrm>
          <a:off x="5435373" y="1330408"/>
          <a:ext cx="1901985" cy="950992"/>
        </a:xfrm>
        <a:prstGeom prst="roundRect">
          <a:avLst>
            <a:gd name="adj" fmla="val 10000"/>
          </a:avLst>
        </a:prstGeom>
        <a:solidFill>
          <a:schemeClr val="accent3">
            <a:hueOff val="0"/>
            <a:satOff val="0"/>
            <a:lumOff val="0"/>
            <a:alphaOff val="0"/>
          </a:schemeClr>
        </a:solidFill>
        <a:ln>
          <a:noFill/>
        </a:ln>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1">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US" sz="1800" kern="1200" dirty="0"/>
            <a:t>Sympathetic Activation</a:t>
          </a:r>
        </a:p>
      </dsp:txBody>
      <dsp:txXfrm>
        <a:off x="5463227" y="1358262"/>
        <a:ext cx="1846277" cy="895284"/>
      </dsp:txXfrm>
    </dsp:sp>
    <dsp:sp modelId="{974EB5B5-9F76-4230-844B-8FAFD0E25154}">
      <dsp:nvSpPr>
        <dsp:cNvPr id="0" name=""/>
        <dsp:cNvSpPr/>
      </dsp:nvSpPr>
      <dsp:spPr>
        <a:xfrm rot="6308">
          <a:off x="7337358" y="1789383"/>
          <a:ext cx="678895" cy="34287"/>
        </a:xfrm>
        <a:custGeom>
          <a:avLst/>
          <a:gdLst/>
          <a:ahLst/>
          <a:cxnLst/>
          <a:rect l="0" t="0" r="0" b="0"/>
          <a:pathLst>
            <a:path>
              <a:moveTo>
                <a:pt x="0" y="17143"/>
              </a:moveTo>
              <a:lnTo>
                <a:pt x="678895" y="17143"/>
              </a:lnTo>
            </a:path>
          </a:pathLst>
        </a:custGeom>
        <a:noFill/>
        <a:ln w="15875" cap="flat" cmpd="sng" algn="ctr">
          <a:solidFill>
            <a:schemeClr val="accent4">
              <a:hueOff val="0"/>
              <a:satOff val="0"/>
              <a:lumOff val="0"/>
              <a:alphaOff val="0"/>
            </a:schemeClr>
          </a:solidFill>
          <a:prstDash val="solid"/>
        </a:ln>
        <a:effectLst/>
        <a:scene3d>
          <a:camera prst="orthographicFront">
            <a:rot lat="0" lon="0" rev="0"/>
          </a:camera>
          <a:lightRig rig="contrasting" dir="t">
            <a:rot lat="0" lon="0" rev="1200000"/>
          </a:lightRig>
        </a:scene3d>
        <a:sp3d z="-110000"/>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dirty="0"/>
        </a:p>
      </dsp:txBody>
      <dsp:txXfrm>
        <a:off x="7659834" y="1789555"/>
        <a:ext cx="33944" cy="33944"/>
      </dsp:txXfrm>
    </dsp:sp>
    <dsp:sp modelId="{C833B668-4170-43B8-B3D7-25B7406B6663}">
      <dsp:nvSpPr>
        <dsp:cNvPr id="0" name=""/>
        <dsp:cNvSpPr/>
      </dsp:nvSpPr>
      <dsp:spPr>
        <a:xfrm>
          <a:off x="8016254" y="1191130"/>
          <a:ext cx="2141826" cy="1232039"/>
        </a:xfrm>
        <a:prstGeom prst="roundRect">
          <a:avLst>
            <a:gd name="adj" fmla="val 10000"/>
          </a:avLst>
        </a:prstGeom>
        <a:solidFill>
          <a:schemeClr val="tx2">
            <a:lumMod val="60000"/>
            <a:lumOff val="40000"/>
          </a:schemeClr>
        </a:solidFill>
        <a:ln>
          <a:noFill/>
        </a:ln>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1">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US" sz="1600" kern="1200" dirty="0">
              <a:latin typeface="Calibri"/>
            </a:rPr>
            <a:t>↑Renin</a:t>
          </a:r>
        </a:p>
        <a:p>
          <a:pPr marL="0" lvl="0" indent="0" algn="ctr" defTabSz="711200">
            <a:lnSpc>
              <a:spcPct val="90000"/>
            </a:lnSpc>
            <a:spcBef>
              <a:spcPct val="0"/>
            </a:spcBef>
            <a:spcAft>
              <a:spcPct val="35000"/>
            </a:spcAft>
            <a:buNone/>
          </a:pPr>
          <a:r>
            <a:rPr lang="en-US" sz="1600" kern="1200" dirty="0">
              <a:latin typeface="Calibri"/>
            </a:rPr>
            <a:t>↑ Heart rate</a:t>
          </a:r>
        </a:p>
        <a:p>
          <a:pPr marL="0" lvl="0" indent="0" algn="ctr" defTabSz="711200">
            <a:lnSpc>
              <a:spcPct val="90000"/>
            </a:lnSpc>
            <a:spcBef>
              <a:spcPct val="0"/>
            </a:spcBef>
            <a:spcAft>
              <a:spcPct val="35000"/>
            </a:spcAft>
            <a:buNone/>
          </a:pPr>
          <a:r>
            <a:rPr lang="en-US" sz="1600" kern="1200" dirty="0">
              <a:latin typeface="Calibri"/>
            </a:rPr>
            <a:t>↑ Peripheral vascular resistance</a:t>
          </a:r>
          <a:endParaRPr lang="en-US" sz="1600" kern="1200" dirty="0"/>
        </a:p>
      </dsp:txBody>
      <dsp:txXfrm>
        <a:off x="8052339" y="1227215"/>
        <a:ext cx="2069656" cy="1159869"/>
      </dsp:txXfrm>
    </dsp:sp>
  </dsp:spTree>
</dsp:drawing>
</file>

<file path=ppt/diagrams/layout1.xml><?xml version="1.0" encoding="utf-8"?>
<dgm:layoutDef xmlns:dgm="http://schemas.openxmlformats.org/drawingml/2006/diagram" xmlns:a="http://schemas.openxmlformats.org/drawingml/2006/main" uniqueId="urn:microsoft.com/office/officeart/2005/8/layout/hierarchy2">
  <dgm:title val=""/>
  <dgm:desc val=""/>
  <dgm:catLst>
    <dgm:cat type="hierarchy" pri="5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diagram">
    <dgm:varLst>
      <dgm:chPref val="1"/>
      <dgm:dir/>
      <dgm:animOne val="branch"/>
      <dgm:animLvl val="lvl"/>
      <dgm:resizeHandles val="exact"/>
    </dgm:varLst>
    <dgm:choose name="Name0">
      <dgm:if name="Name1" func="var" arg="dir" op="equ" val="norm">
        <dgm:alg type="hierChild">
          <dgm:param type="linDir" val="fromT"/>
          <dgm:param type="chAlign" val="l"/>
        </dgm:alg>
      </dgm:if>
      <dgm:else name="Name2">
        <dgm:alg type="hierChild">
          <dgm:param type="linDir" val="fromT"/>
          <dgm:param type="chAlign" val="r"/>
        </dgm:alg>
      </dgm:else>
    </dgm:choose>
    <dgm:shape xmlns:r="http://schemas.openxmlformats.org/officeDocument/2006/relationships" r:blip="">
      <dgm:adjLst/>
    </dgm:shape>
    <dgm:presOf/>
    <dgm:constrLst>
      <dgm:constr type="h" for="des" ptType="node" refType="h"/>
      <dgm:constr type="w" for="des" ptType="node" refType="h" refFor="des" refPtType="node" fact="2"/>
      <dgm:constr type="sibSp" refType="h" refFor="des" refPtType="node" op="equ" fact="0.15"/>
      <dgm:constr type="sibSp" for="des" forName="level2hierChild" refType="h" refFor="des" refPtType="node" op="equ" fact="0.15"/>
      <dgm:constr type="sibSp" for="des" forName="level3hierChild" refType="h" refFor="des" refPtType="node" op="equ" fact="0.15"/>
      <dgm:constr type="sp" for="des" forName="root1" refType="w" refFor="des" refPtType="node" fact="0.4"/>
      <dgm:constr type="sp" for="des" forName="root2" refType="sp" refFor="des" refForName="root1" op="equ"/>
      <dgm:constr type="primFontSz" for="des" ptType="node" op="equ" val="65"/>
      <dgm:constr type="primFontSz" for="des" forName="connTx" op="equ" val="55"/>
      <dgm:constr type="primFontSz" for="des" forName="connTx" refType="primFontSz" refFor="des" refPtType="node" op="lte" fact="0.8"/>
    </dgm:constrLst>
    <dgm:ruleLst/>
    <dgm:forEach name="Name3" axis="ch">
      <dgm:forEach name="Name4" axis="self" ptType="node">
        <dgm:layoutNode name="root1">
          <dgm:choose name="Name5">
            <dgm:if name="Name6" func="var" arg="dir" op="equ" val="norm">
              <dgm:alg type="hierRoot">
                <dgm:param type="hierAlign" val="lCtrCh"/>
              </dgm:alg>
            </dgm:if>
            <dgm:else name="Name7">
              <dgm:alg type="hierRoot">
                <dgm:param type="hierAlign" val="rCtrCh"/>
              </dgm:alg>
            </dgm:else>
          </dgm:choose>
          <dgm:shape xmlns:r="http://schemas.openxmlformats.org/officeDocument/2006/relationships" r:blip="">
            <dgm:adjLst/>
          </dgm:shape>
          <dgm:presOf/>
          <dgm:constrLst/>
          <dgm:ruleLst/>
          <dgm:layoutNode name="LevelOneTextNod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name="level2hierChild">
            <dgm:choose name="Name8">
              <dgm:if name="Name9" func="var" arg="dir" op="equ" val="norm">
                <dgm:alg type="hierChild">
                  <dgm:param type="linDir" val="fromT"/>
                  <dgm:param type="chAlign" val="l"/>
                </dgm:alg>
              </dgm:if>
              <dgm:else name="Name10">
                <dgm:alg type="hierChild">
                  <dgm:param type="linDir" val="fromT"/>
                  <dgm:param type="chAlign" val="r"/>
                </dgm:alg>
              </dgm:else>
            </dgm:choose>
            <dgm:shape xmlns:r="http://schemas.openxmlformats.org/officeDocument/2006/relationships" r:blip="">
              <dgm:adjLst/>
            </dgm:shape>
            <dgm:presOf/>
            <dgm:constrLst/>
            <dgm:ruleLst/>
            <dgm:forEach name="repeat" axis="ch">
              <dgm:forEach name="Name11" axis="self" ptType="parTrans" cnt="1">
                <dgm:layoutNode name="conn2-1">
                  <dgm:choose name="Name12">
                    <dgm:if name="Name13" func="var" arg="dir" op="equ" val="norm">
                      <dgm:alg type="conn">
                        <dgm:param type="dim" val="1D"/>
                        <dgm:param type="begPts" val="midR"/>
                        <dgm:param type="endPts" val="midL"/>
                        <dgm:param type="endSty" val="noArr"/>
                      </dgm:alg>
                    </dgm:if>
                    <dgm:else name="Name14">
                      <dgm:alg type="conn">
                        <dgm:param type="dim" val="1D"/>
                        <dgm:param type="begPts" val="midL"/>
                        <dgm:param type="endPts" val="midR"/>
                        <dgm:param type="endSty" val="noArr"/>
                      </dgm:alg>
                    </dgm:else>
                  </dgm:choose>
                  <dgm:shape xmlns:r="http://schemas.openxmlformats.org/officeDocument/2006/relationships" type="conn" r:blip="">
                    <dgm:adjLst/>
                  </dgm:shape>
                  <dgm:presOf axis="self"/>
                  <dgm:constrLst>
                    <dgm:constr type="w" val="1"/>
                    <dgm:constr type="h" val="5"/>
                    <dgm:constr type="connDist"/>
                    <dgm:constr type="begPad"/>
                    <dgm:constr type="endPad"/>
                    <dgm:constr type="userA" for="ch" refType="connDist"/>
                  </dgm:constrLst>
                  <dgm:ruleLst/>
                  <dgm:layoutNode name="connTx">
                    <dgm:alg type="tx">
                      <dgm:param type="autoTxRot" val="grav"/>
                    </dgm:alg>
                    <dgm:shape xmlns:r="http://schemas.openxmlformats.org/officeDocument/2006/relationships" type="rect" r:blip="" hideGeom="1">
                      <dgm:adjLst/>
                    </dgm:shape>
                    <dgm:presOf axis="self"/>
                    <dgm:constrLst>
                      <dgm:constr type="userA"/>
                      <dgm:constr type="w" refType="userA" fact="0.05"/>
                      <dgm:constr type="h" refType="userA" fact="0.05"/>
                      <dgm:constr type="lMarg" val="1"/>
                      <dgm:constr type="rMarg" val="1"/>
                      <dgm:constr type="tMarg"/>
                      <dgm:constr type="bMarg"/>
                    </dgm:constrLst>
                    <dgm:ruleLst>
                      <dgm:rule type="h" val="NaN" fact="0.25" max="NaN"/>
                      <dgm:rule type="w" val="NaN" fact="0.8" max="NaN"/>
                      <dgm:rule type="primFontSz" val="5" fact="NaN" max="NaN"/>
                    </dgm:ruleLst>
                  </dgm:layoutNode>
                </dgm:layoutNode>
              </dgm:forEach>
              <dgm:forEach name="Name15" axis="self" ptType="node">
                <dgm:layoutNode name="root2">
                  <dgm:choose name="Name16">
                    <dgm:if name="Name17" func="var" arg="dir" op="equ" val="norm">
                      <dgm:alg type="hierRoot">
                        <dgm:param type="hierAlign" val="lCtrCh"/>
                      </dgm:alg>
                    </dgm:if>
                    <dgm:else name="Name18">
                      <dgm:alg type="hierRoot">
                        <dgm:param type="hierAlign" val="rCtrCh"/>
                      </dgm:alg>
                    </dgm:else>
                  </dgm:choose>
                  <dgm:shape xmlns:r="http://schemas.openxmlformats.org/officeDocument/2006/relationships" r:blip="">
                    <dgm:adjLst/>
                  </dgm:shape>
                  <dgm:presOf/>
                  <dgm:constrLst/>
                  <dgm:ruleLst/>
                  <dgm:layoutNode name="LevelTwoTextNode">
                    <dgm:varLst>
                      <dgm:chPref val="3"/>
                    </dgm:varLst>
                    <dgm:alg type="tx"/>
                    <dgm:shape xmlns:r="http://schemas.openxmlformats.org/officeDocument/2006/relationships" type="roundRect" r:blip="">
                      <dgm:adjLst>
                        <dgm:adj idx="1" val="0.1"/>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name="level3hierChild">
                    <dgm:choose name="Name19">
                      <dgm:if name="Name20" func="var" arg="dir" op="equ" val="norm">
                        <dgm:alg type="hierChild">
                          <dgm:param type="linDir" val="fromT"/>
                          <dgm:param type="chAlign" val="l"/>
                        </dgm:alg>
                      </dgm:if>
                      <dgm:else name="Name21">
                        <dgm:alg type="hierChild">
                          <dgm:param type="linDir" val="fromT"/>
                          <dgm:param type="chAlign" val="r"/>
                        </dgm:alg>
                      </dgm:else>
                    </dgm:choose>
                    <dgm:shape xmlns:r="http://schemas.openxmlformats.org/officeDocument/2006/relationships" r:blip="">
                      <dgm:adjLst/>
                    </dgm:shape>
                    <dgm:presOf/>
                    <dgm:constrLst/>
                    <dgm:ruleLst/>
                    <dgm:forEach name="Name22" ref="repeat"/>
                  </dgm:layoutNode>
                </dgm:layoutNode>
              </dgm:forEach>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3d3">
  <dgm:title val=""/>
  <dgm:desc val=""/>
  <dgm:catLst>
    <dgm:cat type="3D" pri="11300"/>
  </dgm:catLst>
  <dgm:scene3d>
    <a:camera prst="orthographicFront"/>
    <a:lightRig rig="threePt" dir="t"/>
  </dgm:scene3d>
  <dgm:styleLbl name="node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l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vennNode1">
    <dgm:scene3d>
      <a:camera prst="orthographicFront">
        <a:rot lat="0" lon="0" rev="0"/>
      </a:camera>
      <a:lightRig rig="contrasting" dir="t">
        <a:rot lat="0" lon="0" rev="1200000"/>
      </a:lightRig>
    </dgm:scene3d>
    <dgm:sp3d contourW="12700" prstMaterial="clear">
      <a:bevelT w="177800" h="254000"/>
      <a:bevelB w="152400"/>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f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alignImgPlace1">
    <dgm:scene3d>
      <a:camera prst="orthographicFront">
        <a:rot lat="0" lon="0" rev="0"/>
      </a:camera>
      <a:lightRig rig="contrasting" dir="t">
        <a:rot lat="0" lon="0" rev="1200000"/>
      </a:lightRig>
    </dgm:scene3d>
    <dgm:sp3d contourW="12700" prstMaterial="flat">
      <a:bevelT w="177800" h="254000"/>
      <a:bevelB w="152400"/>
    </dgm:sp3d>
    <dgm:txPr/>
    <dgm:style>
      <a:lnRef idx="0">
        <a:scrgbClr r="0" g="0" b="0"/>
      </a:lnRef>
      <a:fillRef idx="1">
        <a:scrgbClr r="0" g="0" b="0"/>
      </a:fillRef>
      <a:effectRef idx="1">
        <a:scrgbClr r="0" g="0" b="0"/>
      </a:effectRef>
      <a:fontRef idx="minor"/>
    </dgm:style>
  </dgm:styleLbl>
  <dgm:styleLbl name="b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sibTrans2D1">
    <dgm:scene3d>
      <a:camera prst="orthographicFront">
        <a:rot lat="0" lon="0" rev="0"/>
      </a:camera>
      <a:lightRig rig="contrasting" dir="t">
        <a:rot lat="0" lon="0" rev="1200000"/>
      </a:lightRig>
    </dgm:scene3d>
    <dgm:sp3d z="-182000" contourW="19050" prstMaterial="metal">
      <a:bevelT w="88900" h="203200"/>
      <a:bevelB w="165100" h="254000"/>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ibTrans1D1">
    <dgm:scene3d>
      <a:camera prst="orthographicFront">
        <a:rot lat="0" lon="0" rev="0"/>
      </a:camera>
      <a:lightRig rig="contrasting" dir="t">
        <a:rot lat="0" lon="0" rev="1200000"/>
      </a:lightRig>
    </dgm:scene3d>
    <dgm:sp3d z="-110000"/>
    <dgm:txPr/>
    <dgm:style>
      <a:lnRef idx="1">
        <a:scrgbClr r="0" g="0" b="0"/>
      </a:lnRef>
      <a:fillRef idx="0">
        <a:scrgbClr r="0" g="0" b="0"/>
      </a:fillRef>
      <a:effectRef idx="0">
        <a:scrgbClr r="0" g="0" b="0"/>
      </a:effectRef>
      <a:fontRef idx="minor"/>
    </dgm:style>
  </dgm:styleLbl>
  <dgm:styleLbl name="callout">
    <dgm:scene3d>
      <a:camera prst="orthographicFront">
        <a:rot lat="0" lon="0" rev="0"/>
      </a:camera>
      <a:lightRig rig="contrasting" dir="t">
        <a:rot lat="0" lon="0" rev="1200000"/>
      </a:lightRig>
    </dgm:scene3d>
    <dgm:sp3d z="10000"/>
    <dgm:txPr/>
    <dgm:style>
      <a:lnRef idx="2">
        <a:scrgbClr r="0" g="0" b="0"/>
      </a:lnRef>
      <a:fillRef idx="1">
        <a:scrgbClr r="0" g="0" b="0"/>
      </a:fillRef>
      <a:effectRef idx="0">
        <a:scrgbClr r="0" g="0" b="0"/>
      </a:effectRef>
      <a:fontRef idx="minor"/>
    </dgm:style>
  </dgm:styleLbl>
  <dgm:styleLbl name="asst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parChTrans2D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1D1">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2">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3">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4">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con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tr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FgAcc1">
    <dgm:scene3d>
      <a:camera prst="orthographicFront">
        <a:rot lat="0" lon="0" rev="0"/>
      </a:camera>
      <a:lightRig rig="contrasting" dir="t">
        <a:rot lat="0" lon="0" rev="1200000"/>
      </a:lightRig>
    </dgm:scene3d>
    <dgm:sp3d z="300000" contourW="12700" prstMaterial="flat">
      <a:bevelT w="177800" h="254000"/>
      <a:bevelB w="152400"/>
    </dgm:sp3d>
    <dgm:txPr/>
    <dgm:style>
      <a:lnRef idx="0">
        <a:scrgbClr r="0" g="0" b="0"/>
      </a:lnRef>
      <a:fillRef idx="1">
        <a:scrgbClr r="0" g="0" b="0"/>
      </a:fillRef>
      <a:effectRef idx="0">
        <a:scrgbClr r="0" g="0" b="0"/>
      </a:effectRef>
      <a:fontRef idx="minor"/>
    </dgm:style>
  </dgm:styleLbl>
  <dgm:styleLbl name="solid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Follow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0">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2">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3">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4">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hp">
    <dgm:scene3d>
      <a:camera prst="orthographicFront">
        <a:rot lat="0" lon="0" rev="0"/>
      </a:camera>
      <a:lightRig rig="contrasting" dir="t">
        <a:rot lat="0" lon="0" rev="1200000"/>
      </a:lightRig>
    </dgm:scene3d>
    <dgm:sp3d z="-300000" prstMaterial="plastic"/>
    <dgm:txPr/>
    <dgm:style>
      <a:lnRef idx="1">
        <a:scrgbClr r="0" g="0" b="0"/>
      </a:lnRef>
      <a:fillRef idx="1">
        <a:scrgbClr r="0" g="0" b="0"/>
      </a:fillRef>
      <a:effectRef idx="0">
        <a:scrgbClr r="0" g="0" b="0"/>
      </a:effectRef>
      <a:fontRef idx="minor"/>
    </dgm:style>
  </dgm:styleLbl>
  <dgm:styleLbl name="dkBgShp">
    <dgm:scene3d>
      <a:camera prst="orthographicFront">
        <a:rot lat="0" lon="0" rev="0"/>
      </a:camera>
      <a:lightRig rig="contrasting" dir="t">
        <a:rot lat="0" lon="0" rev="1200000"/>
      </a:lightRig>
    </dgm:scene3d>
    <dgm:sp3d contourW="12700" prstMaterial="flat">
      <a:bevelT w="100800" h="154000"/>
      <a:bevelB w="152400"/>
    </dgm:sp3d>
    <dgm:txPr/>
    <dgm:style>
      <a:lnRef idx="0">
        <a:scrgbClr r="0" g="0" b="0"/>
      </a:lnRef>
      <a:fillRef idx="1">
        <a:scrgbClr r="0" g="0" b="0"/>
      </a:fillRef>
      <a:effectRef idx="0">
        <a:scrgbClr r="0" g="0" b="0"/>
      </a:effectRef>
      <a:fontRef idx="minor"/>
    </dgm:style>
  </dgm:styleLbl>
  <dgm:styleLbl name="trBgShp">
    <dgm:scene3d>
      <a:camera prst="orthographicFront">
        <a:rot lat="0" lon="0" rev="0"/>
      </a:camera>
      <a:lightRig rig="contrasting" dir="t">
        <a:rot lat="0" lon="0" rev="1200000"/>
      </a:lightRig>
    </dgm:scene3d>
    <dgm:sp3d z="-152400" prstMaterial="matte"/>
    <dgm:txPr/>
    <dgm:style>
      <a:lnRef idx="1">
        <a:scrgbClr r="0" g="0" b="0"/>
      </a:lnRef>
      <a:fillRef idx="1">
        <a:scrgbClr r="0" g="0" b="0"/>
      </a:fillRef>
      <a:effectRef idx="0">
        <a:scrgbClr r="0" g="0" b="0"/>
      </a:effectRef>
      <a:fontRef idx="minor"/>
    </dgm:style>
  </dgm:styleLbl>
  <dgm:styleLbl name="fgShp">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1">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FA8E36A-FA29-47EC-B502-1B9D3D8E72DA}" type="datetimeFigureOut">
              <a:rPr lang="en-US" smtClean="0"/>
              <a:t>9/21/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BBCDC7C-02E3-452D-86D3-D7C891A8A868}" type="slidenum">
              <a:rPr lang="en-US" smtClean="0"/>
              <a:t>‹#›</a:t>
            </a:fld>
            <a:endParaRPr lang="en-US"/>
          </a:p>
        </p:txBody>
      </p:sp>
    </p:spTree>
    <p:extLst>
      <p:ext uri="{BB962C8B-B14F-4D97-AF65-F5344CB8AC3E}">
        <p14:creationId xmlns:p14="http://schemas.microsoft.com/office/powerpoint/2010/main" val="260862516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79632718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58004809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03294EB-7B09-4B68-A858-E314D2E79672}" type="slidenum">
              <a:rPr lang="en-US" smtClean="0"/>
              <a:pPr/>
              <a:t>24</a:t>
            </a:fld>
            <a:endParaRPr lang="en-US" dirty="0"/>
          </a:p>
        </p:txBody>
      </p:sp>
    </p:spTree>
    <p:extLst>
      <p:ext uri="{BB962C8B-B14F-4D97-AF65-F5344CB8AC3E}">
        <p14:creationId xmlns:p14="http://schemas.microsoft.com/office/powerpoint/2010/main" val="355073078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006389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95043027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02634347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Slide Image Placeholder 1"/>
          <p:cNvSpPr>
            <a:spLocks noGrp="1" noRot="1" noChangeAspect="1" noTextEdit="1"/>
          </p:cNvSpPr>
          <p:nvPr>
            <p:ph type="sldImg"/>
          </p:nvPr>
        </p:nvSpPr>
        <p:spPr bwMode="auto">
          <a:noFill/>
          <a:ln>
            <a:solidFill>
              <a:srgbClr val="000000"/>
            </a:solidFill>
            <a:miter lim="800000"/>
            <a:headEnd/>
            <a:tailEnd/>
          </a:ln>
        </p:spPr>
      </p:sp>
      <p:sp>
        <p:nvSpPr>
          <p:cNvPr id="38915"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a:p>
        </p:txBody>
      </p:sp>
    </p:spTree>
    <p:extLst>
      <p:ext uri="{BB962C8B-B14F-4D97-AF65-F5344CB8AC3E}">
        <p14:creationId xmlns:p14="http://schemas.microsoft.com/office/powerpoint/2010/main" val="322808643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Slide Image Placeholder 1"/>
          <p:cNvSpPr>
            <a:spLocks noGrp="1" noRot="1" noChangeAspect="1" noTextEdit="1"/>
          </p:cNvSpPr>
          <p:nvPr>
            <p:ph type="sldImg"/>
          </p:nvPr>
        </p:nvSpPr>
        <p:spPr bwMode="auto">
          <a:noFill/>
          <a:ln>
            <a:solidFill>
              <a:srgbClr val="000000"/>
            </a:solidFill>
            <a:miter lim="800000"/>
            <a:headEnd/>
            <a:tailEnd/>
          </a:ln>
        </p:spPr>
      </p:sp>
      <p:sp>
        <p:nvSpPr>
          <p:cNvPr id="38915"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a:p>
        </p:txBody>
      </p:sp>
    </p:spTree>
    <p:extLst>
      <p:ext uri="{BB962C8B-B14F-4D97-AF65-F5344CB8AC3E}">
        <p14:creationId xmlns:p14="http://schemas.microsoft.com/office/powerpoint/2010/main" val="131176044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25857982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14266">
              <a:defRPr/>
            </a:pPr>
            <a:endParaRPr lang="en-US" sz="1800" dirty="0"/>
          </a:p>
        </p:txBody>
      </p:sp>
    </p:spTree>
    <p:extLst>
      <p:ext uri="{BB962C8B-B14F-4D97-AF65-F5344CB8AC3E}">
        <p14:creationId xmlns:p14="http://schemas.microsoft.com/office/powerpoint/2010/main" val="347667918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84749">
              <a:defRPr/>
            </a:pPr>
            <a:endParaRPr lang="en-US" dirty="0"/>
          </a:p>
        </p:txBody>
      </p:sp>
      <p:sp>
        <p:nvSpPr>
          <p:cNvPr id="4" name="Slide Number Placeholder 3"/>
          <p:cNvSpPr>
            <a:spLocks noGrp="1"/>
          </p:cNvSpPr>
          <p:nvPr>
            <p:ph type="sldNum" sz="quarter" idx="10"/>
          </p:nvPr>
        </p:nvSpPr>
        <p:spPr/>
        <p:txBody>
          <a:bodyPr/>
          <a:lstStyle/>
          <a:p>
            <a:fld id="{2303227D-D659-D54F-9EE4-AB7F3891D4A5}" type="slidenum">
              <a:rPr lang="en-US" smtClean="0"/>
              <a:t>34</a:t>
            </a:fld>
            <a:endParaRPr lang="en-US"/>
          </a:p>
        </p:txBody>
      </p:sp>
    </p:spTree>
    <p:extLst>
      <p:ext uri="{BB962C8B-B14F-4D97-AF65-F5344CB8AC3E}">
        <p14:creationId xmlns:p14="http://schemas.microsoft.com/office/powerpoint/2010/main" val="391522722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87086120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sidual events: (1) obstructive events, (2) not fully capturing ventilation</a:t>
            </a:r>
          </a:p>
        </p:txBody>
      </p:sp>
    </p:spTree>
    <p:extLst>
      <p:ext uri="{BB962C8B-B14F-4D97-AF65-F5344CB8AC3E}">
        <p14:creationId xmlns:p14="http://schemas.microsoft.com/office/powerpoint/2010/main" val="20015716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87529475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7200" y="719138"/>
            <a:ext cx="6400800" cy="3602037"/>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22784646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entral sleep apnea is</a:t>
            </a:r>
            <a:r>
              <a:rPr lang="en-US" baseline="0" dirty="0"/>
              <a:t> a devastating disease with surges of </a:t>
            </a:r>
            <a:r>
              <a:rPr lang="en-US" baseline="0" dirty="0" err="1"/>
              <a:t>neurohormonal</a:t>
            </a:r>
            <a:r>
              <a:rPr lang="en-US" baseline="0" dirty="0"/>
              <a:t> activation negatively impacting cardiovascular health.</a:t>
            </a:r>
          </a:p>
          <a:p>
            <a:r>
              <a:rPr lang="en-US" baseline="0" dirty="0"/>
              <a:t>The remedē® System is a breakthrough technology demonstrated to be safe and effective in the treatment of adult patients with moderate to severe central sleep apnea.</a:t>
            </a:r>
          </a:p>
          <a:p>
            <a:endParaRPr lang="en-US" baseline="0" dirty="0"/>
          </a:p>
          <a:p>
            <a:r>
              <a:rPr lang="en-US" baseline="0" dirty="0"/>
              <a:t>Benefits to the remedē® System include improvements in oxygenation and arousals, normalizing the breathing pattern during sleep, ensured patient compliance and improved sleep and quality of life.  These benefits are seen without significant safety concerns.  </a:t>
            </a:r>
            <a:endParaRPr lang="en-US" dirty="0"/>
          </a:p>
        </p:txBody>
      </p:sp>
    </p:spTree>
    <p:extLst>
      <p:ext uri="{BB962C8B-B14F-4D97-AF65-F5344CB8AC3E}">
        <p14:creationId xmlns:p14="http://schemas.microsoft.com/office/powerpoint/2010/main" val="202267313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03294EB-7B09-4B68-A858-E314D2E79672}" type="slidenum">
              <a:rPr lang="en-US" smtClean="0"/>
              <a:pPr/>
              <a:t>43</a:t>
            </a:fld>
            <a:endParaRPr lang="en-US" dirty="0"/>
          </a:p>
        </p:txBody>
      </p:sp>
    </p:spTree>
    <p:extLst>
      <p:ext uri="{BB962C8B-B14F-4D97-AF65-F5344CB8AC3E}">
        <p14:creationId xmlns:p14="http://schemas.microsoft.com/office/powerpoint/2010/main" val="231943685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14567859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16094959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0046539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0"/>
        <p:cNvGrpSpPr/>
        <p:nvPr/>
      </p:nvGrpSpPr>
      <p:grpSpPr>
        <a:xfrm>
          <a:off x="0" y="0"/>
          <a:ext cx="0" cy="0"/>
          <a:chOff x="0" y="0"/>
          <a:chExt cx="0" cy="0"/>
        </a:xfrm>
      </p:grpSpPr>
      <p:sp>
        <p:nvSpPr>
          <p:cNvPr id="121" name="Google Shape;121;p4:notes"/>
          <p:cNvSpPr>
            <a:spLocks noGrp="1" noRot="1" noChangeAspect="1"/>
          </p:cNvSpPr>
          <p:nvPr>
            <p:ph type="sldImg" idx="2"/>
          </p:nvPr>
        </p:nvSpPr>
        <p:spPr>
          <a:xfrm>
            <a:off x="457200" y="719138"/>
            <a:ext cx="6402388" cy="3602037"/>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miter lim="800000"/>
            <a:headEnd type="none" w="sm" len="sm"/>
            <a:tailEnd type="none" w="sm" len="sm"/>
          </a:ln>
        </p:spPr>
      </p:sp>
      <p:sp>
        <p:nvSpPr>
          <p:cNvPr id="122" name="Google Shape;122;p4:notes"/>
          <p:cNvSpPr txBox="1">
            <a:spLocks noGrp="1"/>
          </p:cNvSpPr>
          <p:nvPr>
            <p:ph type="body" idx="1"/>
          </p:nvPr>
        </p:nvSpPr>
        <p:spPr>
          <a:xfrm>
            <a:off x="732504" y="4561378"/>
            <a:ext cx="5850194" cy="4320541"/>
          </a:xfrm>
          <a:prstGeom prst="rect">
            <a:avLst/>
          </a:prstGeom>
          <a:noFill/>
          <a:ln>
            <a:noFill/>
          </a:ln>
        </p:spPr>
        <p:txBody>
          <a:bodyPr spcFirstLastPara="1" wrap="square" lIns="96800" tIns="48400" rIns="96800" bIns="48400" anchor="t" anchorCtr="0">
            <a:noAutofit/>
          </a:bodyPr>
          <a:lstStyle/>
          <a:p>
            <a:pPr marL="0" lvl="0" indent="0" algn="l" rtl="0">
              <a:spcBef>
                <a:spcPts val="0"/>
              </a:spcBef>
              <a:spcAft>
                <a:spcPts val="0"/>
              </a:spcAft>
              <a:buNone/>
            </a:pPr>
            <a:endParaRPr dirty="0"/>
          </a:p>
        </p:txBody>
      </p:sp>
      <p:sp>
        <p:nvSpPr>
          <p:cNvPr id="123" name="Google Shape;123;p4:notes"/>
          <p:cNvSpPr txBox="1">
            <a:spLocks noGrp="1"/>
          </p:cNvSpPr>
          <p:nvPr>
            <p:ph type="sldNum" idx="12"/>
          </p:nvPr>
        </p:nvSpPr>
        <p:spPr>
          <a:xfrm>
            <a:off x="4142658" y="9117908"/>
            <a:ext cx="3170904" cy="481676"/>
          </a:xfrm>
          <a:prstGeom prst="rect">
            <a:avLst/>
          </a:prstGeom>
          <a:noFill/>
          <a:ln>
            <a:noFill/>
          </a:ln>
        </p:spPr>
        <p:txBody>
          <a:bodyPr spcFirstLastPara="1" wrap="square" lIns="96800" tIns="48400" rIns="96800" bIns="48400" anchor="b" anchorCtr="0">
            <a:noAutofit/>
          </a:bodyPr>
          <a:lstStyle/>
          <a:p>
            <a:pPr marL="0" marR="0" lvl="0" indent="0" algn="r" defTabSz="967421" rtl="0" eaLnBrk="1" fontAlgn="base" latinLnBrk="0" hangingPunct="1">
              <a:lnSpc>
                <a:spcPct val="100000"/>
              </a:lnSpc>
              <a:spcBef>
                <a:spcPts val="0"/>
              </a:spcBef>
              <a:spcAft>
                <a:spcPts val="0"/>
              </a:spcAft>
              <a:buClrTx/>
              <a:buSzTx/>
              <a:buFontTx/>
              <a:buNone/>
              <a:tabLst/>
              <a:defRPr/>
            </a:pPr>
            <a:fld id="{00000000-1234-1234-1234-123412341234}" type="slidenum">
              <a:rPr kumimoji="0" lang="en-US" sz="1200" b="0" i="0" u="none" strike="noStrike" kern="1200" cap="none" spc="0" normalizeH="0" baseline="0" noProof="0">
                <a:ln>
                  <a:noFill/>
                </a:ln>
                <a:solidFill>
                  <a:srgbClr val="000000"/>
                </a:solidFill>
                <a:effectLst/>
                <a:uLnTx/>
                <a:uFillTx/>
                <a:latin typeface="Century Gothic" panose="020B0502020202020204" pitchFamily="34" charset="0"/>
                <a:ea typeface="ＭＳ Ｐゴシック" pitchFamily="-106" charset="-128"/>
                <a:cs typeface="+mn-cs"/>
              </a:rPr>
              <a:pPr marL="0" marR="0" lvl="0" indent="0" algn="r" defTabSz="967421" rtl="0" eaLnBrk="1" fontAlgn="base" latinLnBrk="0" hangingPunct="1">
                <a:lnSpc>
                  <a:spcPct val="100000"/>
                </a:lnSpc>
                <a:spcBef>
                  <a:spcPts val="0"/>
                </a:spcBef>
                <a:spcAft>
                  <a:spcPts val="0"/>
                </a:spcAft>
                <a:buClrTx/>
                <a:buSzTx/>
                <a:buFontTx/>
                <a:buNone/>
                <a:tabLst/>
                <a:defRPr/>
              </a:pPr>
              <a:t>53</a:t>
            </a:fld>
            <a:endParaRPr kumimoji="0" sz="1200" b="0" i="0" u="none" strike="noStrike" kern="1200" cap="none" spc="0" normalizeH="0" baseline="0" noProof="0">
              <a:ln>
                <a:noFill/>
              </a:ln>
              <a:solidFill>
                <a:srgbClr val="000000"/>
              </a:solidFill>
              <a:effectLst/>
              <a:uLnTx/>
              <a:uFillTx/>
              <a:latin typeface="Century Gothic" panose="020B0502020202020204" pitchFamily="34" charset="0"/>
              <a:ea typeface="ＭＳ Ｐゴシック" pitchFamily="-106" charset="-128"/>
              <a:cs typeface="+mn-cs"/>
            </a:endParaRPr>
          </a:p>
        </p:txBody>
      </p:sp>
    </p:spTree>
    <p:extLst>
      <p:ext uri="{BB962C8B-B14F-4D97-AF65-F5344CB8AC3E}">
        <p14:creationId xmlns:p14="http://schemas.microsoft.com/office/powerpoint/2010/main" val="345960905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 name="PlaceHolder 1"/>
          <p:cNvSpPr>
            <a:spLocks noGrp="1" noRot="1" noChangeAspect="1"/>
          </p:cNvSpPr>
          <p:nvPr>
            <p:ph type="sldImg"/>
          </p:nvPr>
        </p:nvSpPr>
        <p:spPr>
          <a:xfrm>
            <a:off x="533400" y="763588"/>
            <a:ext cx="6705600" cy="3771900"/>
          </a:xfrm>
          <a:prstGeom prst="rect">
            <a:avLst/>
          </a:prstGeom>
        </p:spPr>
      </p:sp>
      <p:sp>
        <p:nvSpPr>
          <p:cNvPr id="67" name="PlaceHolder 2"/>
          <p:cNvSpPr>
            <a:spLocks noGrp="1"/>
          </p:cNvSpPr>
          <p:nvPr>
            <p:ph type="body"/>
          </p:nvPr>
        </p:nvSpPr>
        <p:spPr>
          <a:xfrm>
            <a:off x="777960" y="4776840"/>
            <a:ext cx="6216480" cy="4525200"/>
          </a:xfrm>
          <a:prstGeom prst="rect">
            <a:avLst/>
          </a:prstGeom>
        </p:spPr>
        <p:txBody>
          <a:bodyPr lIns="0" tIns="0" rIns="0" bIns="0">
            <a:spAutoFit/>
          </a:bodyPr>
          <a:lstStyle/>
          <a:p>
            <a:r>
              <a:rPr lang="en-US" sz="900" b="0" strike="noStrike" spc="-1" dirty="0">
                <a:latin typeface="Arial"/>
              </a:rPr>
              <a:t>Identification of persistent AF (AF episode lasting &gt;7 days) over time in patients with or without severe sleep apnea in the modified intention-to-treat population. AF = atrial fibrillation.</a:t>
            </a:r>
          </a:p>
          <a:p>
            <a:endParaRPr lang="en-US" sz="900" b="0" strike="noStrike" spc="-1" dirty="0">
              <a:latin typeface="Arial"/>
            </a:endParaRPr>
          </a:p>
          <a:p>
            <a:endParaRPr lang="en-US" sz="900" b="0" strike="noStrike" spc="-1" dirty="0">
              <a:latin typeface="Arial"/>
            </a:endParaRPr>
          </a:p>
          <a:p>
            <a:endParaRPr lang="en-US" sz="900" b="0" strike="noStrike" spc="-1" dirty="0">
              <a:latin typeface="Arial"/>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68443437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u="none" dirty="0"/>
              <a:t>Central</a:t>
            </a:r>
            <a:r>
              <a:rPr lang="en-US" dirty="0"/>
              <a:t> sleep apnea is a form of sleep disordered breathing which results from an intermittent neural drive to breathe.  It pri</a:t>
            </a:r>
            <a:r>
              <a:rPr lang="en-US" b="0" baseline="0" dirty="0"/>
              <a:t>marily </a:t>
            </a:r>
            <a:r>
              <a:rPr lang="en-US" b="0" dirty="0"/>
              <a:t>occurs </a:t>
            </a:r>
            <a:r>
              <a:rPr lang="en-US" b="0" strike="noStrike" dirty="0"/>
              <a:t>in </a:t>
            </a:r>
            <a:r>
              <a:rPr lang="en-US" b="0" baseline="0" dirty="0"/>
              <a:t>diseases associated with increased sympathetic drive such as heart failure, atrial fibrillation and renal disease. </a:t>
            </a:r>
            <a:r>
              <a:rPr lang="en-US" b="0" u="none" baseline="0" dirty="0">
                <a:solidFill>
                  <a:srgbClr val="FF0000"/>
                </a:solidFill>
              </a:rPr>
              <a:t>The bottom panel on this slide shows </a:t>
            </a:r>
            <a:r>
              <a:rPr lang="en-US" b="0" baseline="0" dirty="0"/>
              <a:t>CSA during a sleep study demonstrating </a:t>
            </a:r>
            <a:r>
              <a:rPr lang="en-US" baseline="0" dirty="0"/>
              <a:t>a period of rapid, deep breathing (hyperpnea) followed by periods of absent (apnea) or shallow breathing (hypopnea). </a:t>
            </a:r>
            <a:r>
              <a:rPr lang="en-US" strike="noStrike" baseline="0" dirty="0"/>
              <a:t>CSA is characterized by an absence of movement of the thoracic and abdominal belts indicating no attempt at breathing during these episodes. </a:t>
            </a:r>
            <a:r>
              <a:rPr lang="en-US" b="0" baseline="0" dirty="0"/>
              <a:t>Each apneic or </a:t>
            </a:r>
            <a:r>
              <a:rPr lang="en-US" b="0" baseline="0" dirty="0" err="1"/>
              <a:t>hypopneic</a:t>
            </a:r>
            <a:r>
              <a:rPr lang="en-US" b="0" baseline="0" dirty="0"/>
              <a:t> episode results in an arousal and a decrease in oxygen saturation. </a:t>
            </a:r>
            <a:endParaRPr lang="en-US" strike="noStrike" dirty="0"/>
          </a:p>
        </p:txBody>
      </p:sp>
    </p:spTree>
    <p:extLst>
      <p:ext uri="{BB962C8B-B14F-4D97-AF65-F5344CB8AC3E}">
        <p14:creationId xmlns:p14="http://schemas.microsoft.com/office/powerpoint/2010/main" val="239869718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uring</a:t>
            </a:r>
            <a:r>
              <a:rPr lang="en-US" baseline="0" dirty="0"/>
              <a:t> sleep, respiration is regulated by the respiratory control center in the brain to maintain a constant carbon dioxide level in the blood.  When carbon dioxide levels rise, signals are sent to the muscles of respiration to breathe.  The largest breathing muscle is the diaphragm which receives its signal via the phrenic nerve.  In CSA, there is a delay in the signaling process which produces a respiratory arrhythmia leading to an oscillation between hyperventilation and apnea.  </a:t>
            </a:r>
          </a:p>
          <a:p>
            <a:endParaRPr lang="en-US" baseline="0" dirty="0"/>
          </a:p>
          <a:p>
            <a:r>
              <a:rPr lang="en-US" baseline="0" dirty="0"/>
              <a:t>One form of this patterned breathing, Cheyne-Stokes Respiration, can be seen during the daytime in patients with heart failure.  However, patients with very mild heart failure and without heart failure can be found to have this pattern at </a:t>
            </a:r>
            <a:r>
              <a:rPr lang="en-US" baseline="0" dirty="0" err="1"/>
              <a:t>nigth</a:t>
            </a:r>
            <a:r>
              <a:rPr lang="en-US" baseline="0" dirty="0"/>
              <a:t>. </a:t>
            </a:r>
            <a:endParaRPr lang="en-US" dirty="0"/>
          </a:p>
        </p:txBody>
      </p:sp>
    </p:spTree>
    <p:extLst>
      <p:ext uri="{BB962C8B-B14F-4D97-AF65-F5344CB8AC3E}">
        <p14:creationId xmlns:p14="http://schemas.microsoft.com/office/powerpoint/2010/main" val="330510751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any patients with CSA have a primary complaint of daytime “fatigue” or “tiredness”</a:t>
            </a:r>
          </a:p>
          <a:p>
            <a:pPr lvl="1"/>
            <a:r>
              <a:rPr lang="en-US" altLang="en-US" dirty="0"/>
              <a:t>Fatigue may be multifactorial in these patients</a:t>
            </a:r>
          </a:p>
          <a:p>
            <a:pPr lvl="2"/>
            <a:r>
              <a:rPr lang="en-US" altLang="en-US" dirty="0"/>
              <a:t>Low cardiac index</a:t>
            </a:r>
          </a:p>
          <a:p>
            <a:pPr lvl="2"/>
            <a:r>
              <a:rPr lang="en-US" altLang="en-US" dirty="0"/>
              <a:t>Medication side-effects</a:t>
            </a:r>
          </a:p>
          <a:p>
            <a:pPr lvl="2"/>
            <a:r>
              <a:rPr lang="en-US" altLang="en-US" dirty="0"/>
              <a:t>Co-existent medical problems (depression, anemia, etc.)</a:t>
            </a:r>
          </a:p>
          <a:p>
            <a:pPr lvl="2"/>
            <a:r>
              <a:rPr lang="en-US" altLang="en-US" dirty="0"/>
              <a:t>Sleep disorders</a:t>
            </a:r>
          </a:p>
          <a:p>
            <a:r>
              <a:rPr lang="en-US" altLang="en-US" dirty="0"/>
              <a:t>Despite optimal medical therapy, many patients continue to complain of significant fatigue</a:t>
            </a:r>
          </a:p>
          <a:p>
            <a:r>
              <a:rPr lang="en-US" altLang="en-US" dirty="0"/>
              <a:t>CSA patients frequently do not snore</a:t>
            </a:r>
          </a:p>
          <a:p>
            <a:r>
              <a:rPr lang="en-US" altLang="en-US" dirty="0"/>
              <a:t>CSA patients frequently are not aware that they have arousals</a:t>
            </a:r>
          </a:p>
          <a:p>
            <a:endParaRPr lang="en-US" dirty="0"/>
          </a:p>
        </p:txBody>
      </p:sp>
    </p:spTree>
    <p:extLst>
      <p:ext uri="{BB962C8B-B14F-4D97-AF65-F5344CB8AC3E}">
        <p14:creationId xmlns:p14="http://schemas.microsoft.com/office/powerpoint/2010/main" val="210494316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any patients with CSA have a primary complaint of daytime “fatigue” or “tiredness”</a:t>
            </a:r>
          </a:p>
          <a:p>
            <a:pPr lvl="1"/>
            <a:r>
              <a:rPr lang="en-US" altLang="en-US" dirty="0"/>
              <a:t>Fatigue may be multifactorial in these patients</a:t>
            </a:r>
          </a:p>
          <a:p>
            <a:pPr lvl="2"/>
            <a:r>
              <a:rPr lang="en-US" altLang="en-US" dirty="0"/>
              <a:t>Low cardiac index</a:t>
            </a:r>
          </a:p>
          <a:p>
            <a:pPr lvl="2"/>
            <a:r>
              <a:rPr lang="en-US" altLang="en-US" dirty="0"/>
              <a:t>Medication side-effects</a:t>
            </a:r>
          </a:p>
          <a:p>
            <a:pPr lvl="2"/>
            <a:r>
              <a:rPr lang="en-US" altLang="en-US" dirty="0"/>
              <a:t>Co-existent medical problems (depression, anemia, etc.)</a:t>
            </a:r>
          </a:p>
          <a:p>
            <a:pPr lvl="2"/>
            <a:r>
              <a:rPr lang="en-US" altLang="en-US" dirty="0"/>
              <a:t>Sleep disorders</a:t>
            </a:r>
          </a:p>
          <a:p>
            <a:r>
              <a:rPr lang="en-US" altLang="en-US" dirty="0"/>
              <a:t>Despite optimal medical therapy, many patients continue to complain of significant fatigue</a:t>
            </a:r>
          </a:p>
          <a:p>
            <a:r>
              <a:rPr lang="en-US" altLang="en-US" dirty="0"/>
              <a:t>CSA patients frequently do not snore</a:t>
            </a:r>
          </a:p>
          <a:p>
            <a:r>
              <a:rPr lang="en-US" altLang="en-US" dirty="0"/>
              <a:t>CSA patients frequently are not aware that they have arousals</a:t>
            </a:r>
          </a:p>
          <a:p>
            <a:endParaRPr lang="en-US" dirty="0"/>
          </a:p>
        </p:txBody>
      </p:sp>
    </p:spTree>
    <p:extLst>
      <p:ext uri="{BB962C8B-B14F-4D97-AF65-F5344CB8AC3E}">
        <p14:creationId xmlns:p14="http://schemas.microsoft.com/office/powerpoint/2010/main" val="86635292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baseline="0" dirty="0"/>
              <a:t>This slide may not be necessary for (or understood by) techs, MAs, etc.  This will resonate with cardiology/HF providers.</a:t>
            </a:r>
          </a:p>
          <a:p>
            <a:endParaRPr lang="en-US" b="1" baseline="0" dirty="0"/>
          </a:p>
          <a:p>
            <a:r>
              <a:rPr lang="en-US" b="1" baseline="0" dirty="0"/>
              <a:t>Key messages:</a:t>
            </a:r>
            <a:r>
              <a:rPr lang="en-US" b="0" baseline="0" dirty="0"/>
              <a:t> </a:t>
            </a:r>
          </a:p>
          <a:p>
            <a:pPr lvl="1"/>
            <a:r>
              <a:rPr lang="en-US" b="0" baseline="0" dirty="0"/>
              <a:t>+ Majority of CSA patients have HF (75-80%), but there are a significant amount that do not</a:t>
            </a:r>
          </a:p>
          <a:p>
            <a:pPr lvl="1"/>
            <a:r>
              <a:rPr lang="en-US" b="0" baseline="0" dirty="0"/>
              <a:t>+ CSA increases readmissions, mortality, risk of comorbidities…also patients are highly symptomatic</a:t>
            </a:r>
            <a:endParaRPr lang="en-US" dirty="0"/>
          </a:p>
          <a:p>
            <a:endParaRPr lang="en-US" dirty="0"/>
          </a:p>
        </p:txBody>
      </p:sp>
      <p:sp>
        <p:nvSpPr>
          <p:cNvPr id="4" name="Slide Number Placeholder 3"/>
          <p:cNvSpPr>
            <a:spLocks noGrp="1"/>
          </p:cNvSpPr>
          <p:nvPr>
            <p:ph type="sldNum" sz="quarter" idx="10"/>
          </p:nvPr>
        </p:nvSpPr>
        <p:spPr/>
        <p:txBody>
          <a:bodyPr/>
          <a:lstStyle/>
          <a:p>
            <a:fld id="{2303227D-D659-D54F-9EE4-AB7F3891D4A5}" type="slidenum">
              <a:rPr lang="en-US" smtClean="0"/>
              <a:t>18</a:t>
            </a:fld>
            <a:endParaRPr lang="en-US"/>
          </a:p>
        </p:txBody>
      </p:sp>
    </p:spTree>
    <p:extLst>
      <p:ext uri="{BB962C8B-B14F-4D97-AF65-F5344CB8AC3E}">
        <p14:creationId xmlns:p14="http://schemas.microsoft.com/office/powerpoint/2010/main" val="257133915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7" name="Rectangle 6"/>
          <p:cNvSpPr/>
          <p:nvPr/>
        </p:nvSpPr>
        <p:spPr>
          <a:xfrm>
            <a:off x="1" y="6400800"/>
            <a:ext cx="12192000"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 name="Rectangle 7"/>
          <p:cNvSpPr/>
          <p:nvPr/>
        </p:nvSpPr>
        <p:spPr>
          <a:xfrm>
            <a:off x="1" y="6334316"/>
            <a:ext cx="12192000" cy="6648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ctrTitle"/>
          </p:nvPr>
        </p:nvSpPr>
        <p:spPr>
          <a:xfrm>
            <a:off x="1097280" y="758952"/>
            <a:ext cx="10058400" cy="3566160"/>
          </a:xfrm>
        </p:spPr>
        <p:txBody>
          <a:bodyPr anchor="b">
            <a:normAutofit/>
          </a:bodyPr>
          <a:lstStyle>
            <a:lvl1pPr algn="l">
              <a:lnSpc>
                <a:spcPct val="85000"/>
              </a:lnSpc>
              <a:defRPr sz="8000" spc="-50" baseline="0">
                <a:solidFill>
                  <a:schemeClr val="tx1">
                    <a:lumMod val="85000"/>
                    <a:lumOff val="15000"/>
                  </a:schemeClr>
                </a:solidFill>
              </a:defRPr>
            </a:lvl1pPr>
          </a:lstStyle>
          <a:p>
            <a:r>
              <a:rPr lang="en-US"/>
              <a:t>Click to edit Master title style</a:t>
            </a:r>
            <a:endParaRPr lang="en-US" dirty="0"/>
          </a:p>
        </p:txBody>
      </p:sp>
      <p:sp>
        <p:nvSpPr>
          <p:cNvPr id="3" name="Subtitle 2"/>
          <p:cNvSpPr>
            <a:spLocks noGrp="1"/>
          </p:cNvSpPr>
          <p:nvPr>
            <p:ph type="subTitle" idx="1"/>
          </p:nvPr>
        </p:nvSpPr>
        <p:spPr>
          <a:xfrm>
            <a:off x="1100051" y="4455621"/>
            <a:ext cx="10058400" cy="1143000"/>
          </a:xfrm>
        </p:spPr>
        <p:txBody>
          <a:bodyPr lIns="91440" rIns="91440">
            <a:normAutofit/>
          </a:bodyPr>
          <a:lstStyle>
            <a:lvl1pPr marL="0" indent="0" algn="l">
              <a:buNone/>
              <a:defRPr sz="2400" cap="all" spc="200" baseline="0">
                <a:solidFill>
                  <a:schemeClr val="tx2"/>
                </a:solidFill>
                <a:latin typeface="+mj-lt"/>
              </a:defRPr>
            </a:lvl1pPr>
            <a:lvl2pPr marL="457200" indent="0" algn="ctr">
              <a:buNone/>
              <a:defRPr sz="2400"/>
            </a:lvl2pPr>
            <a:lvl3pPr marL="914400" indent="0" algn="ctr">
              <a:buNone/>
              <a:defRPr sz="2400"/>
            </a:lvl3pPr>
            <a:lvl4pPr marL="1371600" indent="0" algn="ctr">
              <a:buNone/>
              <a:defRPr sz="2000"/>
            </a:lvl4pPr>
            <a:lvl5pPr marL="1828800" indent="0" algn="ctr">
              <a:buNone/>
              <a:defRPr sz="2000"/>
            </a:lvl5pPr>
            <a:lvl6pPr marL="2286000" indent="0" algn="ctr">
              <a:buNone/>
              <a:defRPr sz="2000"/>
            </a:lvl6pPr>
            <a:lvl7pPr marL="2743200" indent="0" algn="ctr">
              <a:buNone/>
              <a:defRPr sz="2000"/>
            </a:lvl7pPr>
            <a:lvl8pPr marL="3200400" indent="0" algn="ctr">
              <a:buNone/>
              <a:defRPr sz="2000"/>
            </a:lvl8pPr>
            <a:lvl9pPr marL="3657600" indent="0" algn="ctr">
              <a:buNone/>
              <a:defRPr sz="20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61DA3AAB-AECD-4603-AED3-0DF2E441CBFF}" type="datetime1">
              <a:rPr lang="en-US" smtClean="0"/>
              <a:t>9/21/23</a:t>
            </a:fld>
            <a:endParaRPr lang="en-US"/>
          </a:p>
        </p:txBody>
      </p:sp>
      <p:sp>
        <p:nvSpPr>
          <p:cNvPr id="5" name="Footer Placeholder 4"/>
          <p:cNvSpPr>
            <a:spLocks noGrp="1"/>
          </p:cNvSpPr>
          <p:nvPr>
            <p:ph type="ftr" sz="quarter" idx="11"/>
          </p:nvPr>
        </p:nvSpPr>
        <p:spPr/>
        <p:txBody>
          <a:bodyPr/>
          <a:lstStyle/>
          <a:p>
            <a:r>
              <a:rPr lang="en-US"/>
              <a:t>MedEd1937 Rev D</a:t>
            </a:r>
          </a:p>
        </p:txBody>
      </p:sp>
      <p:sp>
        <p:nvSpPr>
          <p:cNvPr id="6" name="Slide Number Placeholder 5"/>
          <p:cNvSpPr>
            <a:spLocks noGrp="1"/>
          </p:cNvSpPr>
          <p:nvPr>
            <p:ph type="sldNum" sz="quarter" idx="12"/>
          </p:nvPr>
        </p:nvSpPr>
        <p:spPr/>
        <p:txBody>
          <a:bodyPr/>
          <a:lstStyle/>
          <a:p>
            <a:fld id="{21D51F98-DEF0-4E23-AE94-24E7CFC19B28}" type="slidenum">
              <a:rPr lang="en-US" smtClean="0"/>
              <a:t>‹#›</a:t>
            </a:fld>
            <a:endParaRPr lang="en-US"/>
          </a:p>
        </p:txBody>
      </p:sp>
      <p:cxnSp>
        <p:nvCxnSpPr>
          <p:cNvPr id="9" name="Straight Connector 8"/>
          <p:cNvCxnSpPr/>
          <p:nvPr/>
        </p:nvCxnSpPr>
        <p:spPr>
          <a:xfrm>
            <a:off x="1207658" y="4343400"/>
            <a:ext cx="987552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6225201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lIns="45720" tIns="0" rIns="4572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F8A92104-34E9-4743-AC06-B120920286B9}" type="datetime1">
              <a:rPr lang="en-US" smtClean="0"/>
              <a:t>9/21/23</a:t>
            </a:fld>
            <a:endParaRPr lang="en-US"/>
          </a:p>
        </p:txBody>
      </p:sp>
      <p:sp>
        <p:nvSpPr>
          <p:cNvPr id="5" name="Footer Placeholder 4"/>
          <p:cNvSpPr>
            <a:spLocks noGrp="1"/>
          </p:cNvSpPr>
          <p:nvPr>
            <p:ph type="ftr" sz="quarter" idx="11"/>
          </p:nvPr>
        </p:nvSpPr>
        <p:spPr/>
        <p:txBody>
          <a:bodyPr/>
          <a:lstStyle/>
          <a:p>
            <a:r>
              <a:rPr lang="en-US"/>
              <a:t>MedEd1937 Rev D</a:t>
            </a:r>
          </a:p>
        </p:txBody>
      </p:sp>
      <p:sp>
        <p:nvSpPr>
          <p:cNvPr id="6" name="Slide Number Placeholder 5"/>
          <p:cNvSpPr>
            <a:spLocks noGrp="1"/>
          </p:cNvSpPr>
          <p:nvPr>
            <p:ph type="sldNum" sz="quarter" idx="12"/>
          </p:nvPr>
        </p:nvSpPr>
        <p:spPr/>
        <p:txBody>
          <a:bodyPr/>
          <a:lstStyle/>
          <a:p>
            <a:fld id="{21D51F98-DEF0-4E23-AE94-24E7CFC19B28}" type="slidenum">
              <a:rPr lang="en-US" smtClean="0"/>
              <a:t>‹#›</a:t>
            </a:fld>
            <a:endParaRPr lang="en-US"/>
          </a:p>
        </p:txBody>
      </p:sp>
    </p:spTree>
    <p:extLst>
      <p:ext uri="{BB962C8B-B14F-4D97-AF65-F5344CB8AC3E}">
        <p14:creationId xmlns:p14="http://schemas.microsoft.com/office/powerpoint/2010/main" val="95007851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7" name="Rectangle 6"/>
          <p:cNvSpPr/>
          <p:nvPr/>
        </p:nvSpPr>
        <p:spPr>
          <a:xfrm>
            <a:off x="3175"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 name="Rectangle 7"/>
          <p:cNvSpPr/>
          <p:nvPr/>
        </p:nvSpPr>
        <p:spPr>
          <a:xfrm>
            <a:off x="15" y="633431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Vertical Title 1"/>
          <p:cNvSpPr>
            <a:spLocks noGrp="1"/>
          </p:cNvSpPr>
          <p:nvPr>
            <p:ph type="title" orient="vert"/>
          </p:nvPr>
        </p:nvSpPr>
        <p:spPr>
          <a:xfrm>
            <a:off x="8724900" y="412302"/>
            <a:ext cx="2628900" cy="575989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0" y="412302"/>
            <a:ext cx="7734300" cy="5759898"/>
          </a:xfrm>
        </p:spPr>
        <p:txBody>
          <a:bodyPr vert="eaVert" lIns="45720" tIns="0" rIns="4572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4C87AD2F-A516-4FAA-B606-2E9274BC7588}" type="datetime1">
              <a:rPr lang="en-US" smtClean="0"/>
              <a:t>9/21/23</a:t>
            </a:fld>
            <a:endParaRPr lang="en-US"/>
          </a:p>
        </p:txBody>
      </p:sp>
      <p:sp>
        <p:nvSpPr>
          <p:cNvPr id="5" name="Footer Placeholder 4"/>
          <p:cNvSpPr>
            <a:spLocks noGrp="1"/>
          </p:cNvSpPr>
          <p:nvPr>
            <p:ph type="ftr" sz="quarter" idx="11"/>
          </p:nvPr>
        </p:nvSpPr>
        <p:spPr/>
        <p:txBody>
          <a:bodyPr/>
          <a:lstStyle/>
          <a:p>
            <a:r>
              <a:rPr lang="en-US"/>
              <a:t>MedEd1937 Rev D</a:t>
            </a:r>
          </a:p>
        </p:txBody>
      </p:sp>
      <p:sp>
        <p:nvSpPr>
          <p:cNvPr id="6" name="Slide Number Placeholder 5"/>
          <p:cNvSpPr>
            <a:spLocks noGrp="1"/>
          </p:cNvSpPr>
          <p:nvPr>
            <p:ph type="sldNum" sz="quarter" idx="12"/>
          </p:nvPr>
        </p:nvSpPr>
        <p:spPr/>
        <p:txBody>
          <a:bodyPr/>
          <a:lstStyle/>
          <a:p>
            <a:fld id="{21D51F98-DEF0-4E23-AE94-24E7CFC19B28}" type="slidenum">
              <a:rPr lang="en-US" smtClean="0"/>
              <a:t>‹#›</a:t>
            </a:fld>
            <a:endParaRPr lang="en-US"/>
          </a:p>
        </p:txBody>
      </p:sp>
    </p:spTree>
    <p:extLst>
      <p:ext uri="{BB962C8B-B14F-4D97-AF65-F5344CB8AC3E}">
        <p14:creationId xmlns:p14="http://schemas.microsoft.com/office/powerpoint/2010/main" val="245061876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Text, and Content">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E40AC2EE-D541-3C4F-AA60-C353C287F423}"/>
              </a:ext>
            </a:extLst>
          </p:cNvPr>
          <p:cNvSpPr>
            <a:spLocks noGrp="1"/>
          </p:cNvSpPr>
          <p:nvPr>
            <p:ph type="title"/>
          </p:nvPr>
        </p:nvSpPr>
        <p:spPr>
          <a:xfrm>
            <a:off x="609600" y="228600"/>
            <a:ext cx="10972800" cy="655636"/>
          </a:xfrm>
        </p:spPr>
        <p:txBody>
          <a:bodyPr/>
          <a:lstStyle>
            <a:lvl1pPr>
              <a:defRPr>
                <a:solidFill>
                  <a:srgbClr val="0074C8"/>
                </a:solidFill>
              </a:defRPr>
            </a:lvl1pPr>
          </a:lstStyle>
          <a:p>
            <a:r>
              <a:rPr lang="en-US" dirty="0"/>
              <a:t>Click to edit Master title style</a:t>
            </a:r>
          </a:p>
        </p:txBody>
      </p:sp>
      <p:sp>
        <p:nvSpPr>
          <p:cNvPr id="6" name="Text Placeholder 2">
            <a:extLst>
              <a:ext uri="{FF2B5EF4-FFF2-40B4-BE49-F238E27FC236}">
                <a16:creationId xmlns:a16="http://schemas.microsoft.com/office/drawing/2014/main" id="{8498EFC7-4C56-F848-BD23-F6F14FCD5EDA}"/>
              </a:ext>
            </a:extLst>
          </p:cNvPr>
          <p:cNvSpPr>
            <a:spLocks noGrp="1"/>
          </p:cNvSpPr>
          <p:nvPr>
            <p:ph type="body" sz="half" idx="1"/>
          </p:nvPr>
        </p:nvSpPr>
        <p:spPr>
          <a:xfrm>
            <a:off x="609600" y="1041401"/>
            <a:ext cx="5384800" cy="452596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3">
            <a:extLst>
              <a:ext uri="{FF2B5EF4-FFF2-40B4-BE49-F238E27FC236}">
                <a16:creationId xmlns:a16="http://schemas.microsoft.com/office/drawing/2014/main" id="{D01557D8-205F-3447-B8E3-812FE4837F9A}"/>
              </a:ext>
            </a:extLst>
          </p:cNvPr>
          <p:cNvSpPr>
            <a:spLocks noGrp="1"/>
          </p:cNvSpPr>
          <p:nvPr>
            <p:ph sz="half" idx="2"/>
          </p:nvPr>
        </p:nvSpPr>
        <p:spPr>
          <a:xfrm>
            <a:off x="6197600" y="1041401"/>
            <a:ext cx="5384800" cy="452596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08856464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ext Slide">
    <p:spTree>
      <p:nvGrpSpPr>
        <p:cNvPr id="1" name=""/>
        <p:cNvGrpSpPr/>
        <p:nvPr/>
      </p:nvGrpSpPr>
      <p:grpSpPr>
        <a:xfrm>
          <a:off x="0" y="0"/>
          <a:ext cx="0" cy="0"/>
          <a:chOff x="0" y="0"/>
          <a:chExt cx="0" cy="0"/>
        </a:xfrm>
      </p:grpSpPr>
      <p:sp>
        <p:nvSpPr>
          <p:cNvPr id="3" name="Content Placeholder 2"/>
          <p:cNvSpPr>
            <a:spLocks noGrp="1"/>
          </p:cNvSpPr>
          <p:nvPr>
            <p:ph idx="1"/>
          </p:nvPr>
        </p:nvSpPr>
        <p:spPr>
          <a:xfrm>
            <a:off x="711200" y="1371600"/>
            <a:ext cx="10871200" cy="4724400"/>
          </a:xfrm>
          <a:prstGeom prst="rect">
            <a:avLst/>
          </a:prstGeom>
        </p:spPr>
        <p:txBody>
          <a:bodyPr/>
          <a:lstStyle>
            <a:lvl1pPr>
              <a:defRPr sz="2000">
                <a:solidFill>
                  <a:srgbClr val="003F4C"/>
                </a:solidFill>
              </a:defRPr>
            </a:lvl1pPr>
            <a:lvl2pPr>
              <a:defRPr sz="1800">
                <a:solidFill>
                  <a:srgbClr val="003F4C"/>
                </a:solidFill>
              </a:defRPr>
            </a:lvl2pPr>
            <a:lvl3pPr>
              <a:defRPr sz="1600">
                <a:solidFill>
                  <a:srgbClr val="003F4C"/>
                </a:solidFill>
              </a:defRPr>
            </a:lvl3pPr>
            <a:lvl4pPr>
              <a:defRPr sz="1400">
                <a:solidFill>
                  <a:srgbClr val="003F4C"/>
                </a:solidFill>
              </a:defRPr>
            </a:lvl4pPr>
            <a:lvl5pPr>
              <a:defRPr sz="1200">
                <a:solidFill>
                  <a:srgbClr val="003F4C"/>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p:cNvSpPr>
            <a:spLocks noGrp="1"/>
          </p:cNvSpPr>
          <p:nvPr>
            <p:ph type="sldNum" sz="quarter" idx="12"/>
          </p:nvPr>
        </p:nvSpPr>
        <p:spPr/>
        <p:txBody>
          <a:bodyPr/>
          <a:lstStyle/>
          <a:p>
            <a:fld id="{66122E37-4F2F-4C99-8716-004D330A9530}" type="slidenum">
              <a:rPr lang="en-US" smtClean="0"/>
              <a:pPr/>
              <a:t>‹#›</a:t>
            </a:fld>
            <a:endParaRPr lang="en-US"/>
          </a:p>
        </p:txBody>
      </p:sp>
      <p:sp>
        <p:nvSpPr>
          <p:cNvPr id="7" name="Title Placeholder 11"/>
          <p:cNvSpPr>
            <a:spLocks noGrp="1"/>
          </p:cNvSpPr>
          <p:nvPr>
            <p:ph type="title"/>
          </p:nvPr>
        </p:nvSpPr>
        <p:spPr>
          <a:xfrm>
            <a:off x="609600" y="152400"/>
            <a:ext cx="10972800" cy="762000"/>
          </a:xfrm>
          <a:prstGeom prst="rect">
            <a:avLst/>
          </a:prstGeom>
        </p:spPr>
        <p:txBody>
          <a:bodyPr vert="horz" lIns="91440" tIns="45720" rIns="91440" bIns="45720" rtlCol="0" anchor="ctr">
            <a:normAutofit/>
          </a:bodyPr>
          <a:lstStyle/>
          <a:p>
            <a:r>
              <a:rPr lang="en-US"/>
              <a:t>Click to edit Master title style</a:t>
            </a:r>
            <a:endParaRPr lang="en-US" dirty="0"/>
          </a:p>
        </p:txBody>
      </p:sp>
    </p:spTree>
    <p:extLst>
      <p:ext uri="{BB962C8B-B14F-4D97-AF65-F5344CB8AC3E}">
        <p14:creationId xmlns:p14="http://schemas.microsoft.com/office/powerpoint/2010/main" val="303892085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Two Content">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95D31723-BDB6-F14D-9B25-ED29234E2B4F}"/>
              </a:ext>
            </a:extLst>
          </p:cNvPr>
          <p:cNvSpPr>
            <a:spLocks noGrp="1"/>
          </p:cNvSpPr>
          <p:nvPr>
            <p:ph type="title"/>
          </p:nvPr>
        </p:nvSpPr>
        <p:spPr>
          <a:xfrm>
            <a:off x="609600" y="266700"/>
            <a:ext cx="10972800" cy="714812"/>
          </a:xfrm>
        </p:spPr>
        <p:txBody>
          <a:bodyPr anchor="ctr" anchorCtr="0"/>
          <a:lstStyle>
            <a:lvl1pPr>
              <a:defRPr>
                <a:solidFill>
                  <a:srgbClr val="0074C8"/>
                </a:solidFill>
              </a:defRPr>
            </a:lvl1pPr>
          </a:lstStyle>
          <a:p>
            <a:r>
              <a:rPr lang="en-US"/>
              <a:t>Click to edit Master title style</a:t>
            </a:r>
          </a:p>
        </p:txBody>
      </p:sp>
      <p:sp>
        <p:nvSpPr>
          <p:cNvPr id="5" name="Content Placeholder 2">
            <a:extLst>
              <a:ext uri="{FF2B5EF4-FFF2-40B4-BE49-F238E27FC236}">
                <a16:creationId xmlns:a16="http://schemas.microsoft.com/office/drawing/2014/main" id="{79ADA80E-1C26-E745-8142-AD27EA2A6779}"/>
              </a:ext>
            </a:extLst>
          </p:cNvPr>
          <p:cNvSpPr>
            <a:spLocks noGrp="1"/>
          </p:cNvSpPr>
          <p:nvPr>
            <p:ph sz="half" idx="1"/>
          </p:nvPr>
        </p:nvSpPr>
        <p:spPr>
          <a:xfrm>
            <a:off x="609600" y="1166018"/>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6430024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Title, Text, and Content">
  <p:cSld name="1_Title, Text, and Content">
    <p:spTree>
      <p:nvGrpSpPr>
        <p:cNvPr id="1" name="Shape 18"/>
        <p:cNvGrpSpPr/>
        <p:nvPr/>
      </p:nvGrpSpPr>
      <p:grpSpPr>
        <a:xfrm>
          <a:off x="0" y="0"/>
          <a:ext cx="0" cy="0"/>
          <a:chOff x="0" y="0"/>
          <a:chExt cx="0" cy="0"/>
        </a:xfrm>
      </p:grpSpPr>
      <p:sp>
        <p:nvSpPr>
          <p:cNvPr id="19" name="Google Shape;19;p34"/>
          <p:cNvSpPr txBox="1">
            <a:spLocks noGrp="1"/>
          </p:cNvSpPr>
          <p:nvPr>
            <p:ph type="title"/>
          </p:nvPr>
        </p:nvSpPr>
        <p:spPr>
          <a:xfrm>
            <a:off x="609600" y="228600"/>
            <a:ext cx="10972800" cy="655636"/>
          </a:xfrm>
          <a:prstGeom prst="rect">
            <a:avLst/>
          </a:prstGeom>
          <a:noFill/>
          <a:ln>
            <a:noFill/>
          </a:ln>
        </p:spPr>
        <p:txBody>
          <a:bodyPr spcFirstLastPara="1" wrap="square" lIns="91425" tIns="45700" rIns="91425" bIns="45700" anchor="ctr" anchorCtr="0">
            <a:normAutofit/>
          </a:bodyPr>
          <a:lstStyle>
            <a:lvl1pPr lvl="0" algn="l">
              <a:spcBef>
                <a:spcPts val="0"/>
              </a:spcBef>
              <a:spcAft>
                <a:spcPts val="0"/>
              </a:spcAft>
              <a:buSzPts val="1400"/>
              <a:buNone/>
              <a:defRPr>
                <a:solidFill>
                  <a:srgbClr val="0074C8"/>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0" name="Google Shape;20;p34"/>
          <p:cNvSpPr txBox="1">
            <a:spLocks noGrp="1"/>
          </p:cNvSpPr>
          <p:nvPr>
            <p:ph type="body" idx="1"/>
          </p:nvPr>
        </p:nvSpPr>
        <p:spPr>
          <a:xfrm>
            <a:off x="609600" y="1041401"/>
            <a:ext cx="5384800" cy="4525963"/>
          </a:xfrm>
          <a:prstGeom prst="rect">
            <a:avLst/>
          </a:prstGeom>
          <a:noFill/>
          <a:ln>
            <a:noFill/>
          </a:ln>
        </p:spPr>
        <p:txBody>
          <a:bodyPr spcFirstLastPara="1" wrap="square" lIns="91425" tIns="45700" rIns="91425" bIns="45700" anchor="t" anchorCtr="0">
            <a:normAutofit/>
          </a:bodyPr>
          <a:lstStyle>
            <a:lvl1pPr marL="457200" lvl="0" indent="-342900" algn="l">
              <a:spcBef>
                <a:spcPts val="360"/>
              </a:spcBef>
              <a:spcAft>
                <a:spcPts val="0"/>
              </a:spcAft>
              <a:buSzPts val="1800"/>
              <a:buChar char="•"/>
              <a:defRPr/>
            </a:lvl1pPr>
            <a:lvl2pPr marL="914400" lvl="1" indent="-342900" algn="l">
              <a:spcBef>
                <a:spcPts val="360"/>
              </a:spcBef>
              <a:spcAft>
                <a:spcPts val="0"/>
              </a:spcAft>
              <a:buSzPts val="1800"/>
              <a:buChar char="•"/>
              <a:defRPr/>
            </a:lvl2pPr>
            <a:lvl3pPr marL="1371600" lvl="2" indent="-342900" algn="l">
              <a:lnSpc>
                <a:spcPct val="100000"/>
              </a:lnSpc>
              <a:spcBef>
                <a:spcPts val="360"/>
              </a:spcBef>
              <a:spcAft>
                <a:spcPts val="0"/>
              </a:spcAft>
              <a:buSzPts val="1800"/>
              <a:buChar char="•"/>
              <a:defRPr/>
            </a:lvl3pPr>
            <a:lvl4pPr marL="1828800" lvl="3" indent="-342900" algn="l">
              <a:spcBef>
                <a:spcPts val="360"/>
              </a:spcBef>
              <a:spcAft>
                <a:spcPts val="0"/>
              </a:spcAft>
              <a:buSzPts val="1800"/>
              <a:buChar char="•"/>
              <a:defRPr/>
            </a:lvl4pPr>
            <a:lvl5pPr marL="2286000" lvl="4" indent="-342900" algn="l">
              <a:spcBef>
                <a:spcPts val="360"/>
              </a:spcBef>
              <a:spcAft>
                <a:spcPts val="0"/>
              </a:spcAft>
              <a:buSzPts val="1800"/>
              <a:buChar char="•"/>
              <a:defRPr/>
            </a:lvl5pPr>
            <a:lvl6pPr marL="2743200" lvl="5" indent="-342900" algn="l">
              <a:spcBef>
                <a:spcPts val="360"/>
              </a:spcBef>
              <a:spcAft>
                <a:spcPts val="0"/>
              </a:spcAft>
              <a:buSzPts val="1800"/>
              <a:buChar char="»"/>
              <a:defRPr/>
            </a:lvl6pPr>
            <a:lvl7pPr marL="3200400" lvl="6" indent="-342900" algn="l">
              <a:spcBef>
                <a:spcPts val="360"/>
              </a:spcBef>
              <a:spcAft>
                <a:spcPts val="0"/>
              </a:spcAft>
              <a:buSzPts val="1800"/>
              <a:buChar char="»"/>
              <a:defRPr/>
            </a:lvl7pPr>
            <a:lvl8pPr marL="3657600" lvl="7" indent="-342900" algn="l">
              <a:spcBef>
                <a:spcPts val="360"/>
              </a:spcBef>
              <a:spcAft>
                <a:spcPts val="0"/>
              </a:spcAft>
              <a:buSzPts val="1800"/>
              <a:buChar char="»"/>
              <a:defRPr/>
            </a:lvl8pPr>
            <a:lvl9pPr marL="4114800" lvl="8" indent="-342900" algn="l">
              <a:spcBef>
                <a:spcPts val="360"/>
              </a:spcBef>
              <a:spcAft>
                <a:spcPts val="0"/>
              </a:spcAft>
              <a:buSzPts val="1800"/>
              <a:buChar char="»"/>
              <a:defRPr/>
            </a:lvl9pPr>
          </a:lstStyle>
          <a:p>
            <a:endParaRPr/>
          </a:p>
        </p:txBody>
      </p:sp>
      <p:sp>
        <p:nvSpPr>
          <p:cNvPr id="21" name="Google Shape;21;p34"/>
          <p:cNvSpPr txBox="1">
            <a:spLocks noGrp="1"/>
          </p:cNvSpPr>
          <p:nvPr>
            <p:ph type="body" idx="2"/>
          </p:nvPr>
        </p:nvSpPr>
        <p:spPr>
          <a:xfrm>
            <a:off x="6197600" y="1041401"/>
            <a:ext cx="5384800" cy="4525963"/>
          </a:xfrm>
          <a:prstGeom prst="rect">
            <a:avLst/>
          </a:prstGeom>
          <a:noFill/>
          <a:ln>
            <a:noFill/>
          </a:ln>
        </p:spPr>
        <p:txBody>
          <a:bodyPr spcFirstLastPara="1" wrap="square" lIns="91425" tIns="45700" rIns="91425" bIns="45700" anchor="t" anchorCtr="0">
            <a:normAutofit/>
          </a:bodyPr>
          <a:lstStyle>
            <a:lvl1pPr marL="457200" lvl="0" indent="-342900" algn="l">
              <a:spcBef>
                <a:spcPts val="360"/>
              </a:spcBef>
              <a:spcAft>
                <a:spcPts val="0"/>
              </a:spcAft>
              <a:buSzPts val="1800"/>
              <a:buChar char="•"/>
              <a:defRPr/>
            </a:lvl1pPr>
            <a:lvl2pPr marL="914400" lvl="1" indent="-342900" algn="l">
              <a:spcBef>
                <a:spcPts val="360"/>
              </a:spcBef>
              <a:spcAft>
                <a:spcPts val="0"/>
              </a:spcAft>
              <a:buSzPts val="1800"/>
              <a:buChar char="•"/>
              <a:defRPr/>
            </a:lvl2pPr>
            <a:lvl3pPr marL="1371600" lvl="2" indent="-342900" algn="l">
              <a:lnSpc>
                <a:spcPct val="100000"/>
              </a:lnSpc>
              <a:spcBef>
                <a:spcPts val="360"/>
              </a:spcBef>
              <a:spcAft>
                <a:spcPts val="0"/>
              </a:spcAft>
              <a:buSzPts val="1800"/>
              <a:buChar char="•"/>
              <a:defRPr/>
            </a:lvl3pPr>
            <a:lvl4pPr marL="1828800" lvl="3" indent="-342900" algn="l">
              <a:spcBef>
                <a:spcPts val="360"/>
              </a:spcBef>
              <a:spcAft>
                <a:spcPts val="0"/>
              </a:spcAft>
              <a:buSzPts val="1800"/>
              <a:buChar char="•"/>
              <a:defRPr/>
            </a:lvl4pPr>
            <a:lvl5pPr marL="2286000" lvl="4" indent="-342900" algn="l">
              <a:spcBef>
                <a:spcPts val="360"/>
              </a:spcBef>
              <a:spcAft>
                <a:spcPts val="0"/>
              </a:spcAft>
              <a:buSzPts val="1800"/>
              <a:buChar char="•"/>
              <a:defRPr/>
            </a:lvl5pPr>
            <a:lvl6pPr marL="2743200" lvl="5" indent="-342900" algn="l">
              <a:spcBef>
                <a:spcPts val="360"/>
              </a:spcBef>
              <a:spcAft>
                <a:spcPts val="0"/>
              </a:spcAft>
              <a:buSzPts val="1800"/>
              <a:buChar char="»"/>
              <a:defRPr/>
            </a:lvl6pPr>
            <a:lvl7pPr marL="3200400" lvl="6" indent="-342900" algn="l">
              <a:spcBef>
                <a:spcPts val="360"/>
              </a:spcBef>
              <a:spcAft>
                <a:spcPts val="0"/>
              </a:spcAft>
              <a:buSzPts val="1800"/>
              <a:buChar char="»"/>
              <a:defRPr/>
            </a:lvl7pPr>
            <a:lvl8pPr marL="3657600" lvl="7" indent="-342900" algn="l">
              <a:spcBef>
                <a:spcPts val="360"/>
              </a:spcBef>
              <a:spcAft>
                <a:spcPts val="0"/>
              </a:spcAft>
              <a:buSzPts val="1800"/>
              <a:buChar char="»"/>
              <a:defRPr/>
            </a:lvl8pPr>
            <a:lvl9pPr marL="4114800" lvl="8" indent="-342900" algn="l">
              <a:spcBef>
                <a:spcPts val="360"/>
              </a:spcBef>
              <a:spcAft>
                <a:spcPts val="0"/>
              </a:spcAft>
              <a:buSzPts val="1800"/>
              <a:buChar char="»"/>
              <a:defRPr/>
            </a:lvl9pPr>
          </a:lstStyle>
          <a:p>
            <a:endParaRPr/>
          </a:p>
        </p:txBody>
      </p:sp>
    </p:spTree>
    <p:extLst>
      <p:ext uri="{BB962C8B-B14F-4D97-AF65-F5344CB8AC3E}">
        <p14:creationId xmlns:p14="http://schemas.microsoft.com/office/powerpoint/2010/main" val="145822426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30451D85-6291-4945-8D75-8526C355C039}" type="datetime1">
              <a:rPr lang="en-US" smtClean="0"/>
              <a:t>9/21/23</a:t>
            </a:fld>
            <a:endParaRPr lang="en-US"/>
          </a:p>
        </p:txBody>
      </p:sp>
      <p:sp>
        <p:nvSpPr>
          <p:cNvPr id="5" name="Footer Placeholder 4"/>
          <p:cNvSpPr>
            <a:spLocks noGrp="1"/>
          </p:cNvSpPr>
          <p:nvPr>
            <p:ph type="ftr" sz="quarter" idx="11"/>
          </p:nvPr>
        </p:nvSpPr>
        <p:spPr/>
        <p:txBody>
          <a:bodyPr/>
          <a:lstStyle/>
          <a:p>
            <a:r>
              <a:rPr lang="en-US"/>
              <a:t>MedEd1937 Rev D</a:t>
            </a:r>
          </a:p>
        </p:txBody>
      </p:sp>
      <p:sp>
        <p:nvSpPr>
          <p:cNvPr id="6" name="Slide Number Placeholder 5"/>
          <p:cNvSpPr>
            <a:spLocks noGrp="1"/>
          </p:cNvSpPr>
          <p:nvPr>
            <p:ph type="sldNum" sz="quarter" idx="12"/>
          </p:nvPr>
        </p:nvSpPr>
        <p:spPr/>
        <p:txBody>
          <a:bodyPr/>
          <a:lstStyle/>
          <a:p>
            <a:fld id="{21D51F98-DEF0-4E23-AE94-24E7CFC19B28}" type="slidenum">
              <a:rPr lang="en-US" smtClean="0"/>
              <a:t>‹#›</a:t>
            </a:fld>
            <a:endParaRPr lang="en-US"/>
          </a:p>
        </p:txBody>
      </p:sp>
    </p:spTree>
    <p:extLst>
      <p:ext uri="{BB962C8B-B14F-4D97-AF65-F5344CB8AC3E}">
        <p14:creationId xmlns:p14="http://schemas.microsoft.com/office/powerpoint/2010/main" val="145743163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Section Header">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3175"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 name="Rectangle 7"/>
          <p:cNvSpPr/>
          <p:nvPr/>
        </p:nvSpPr>
        <p:spPr>
          <a:xfrm>
            <a:off x="15" y="633431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1097280" y="758952"/>
            <a:ext cx="10058400" cy="3566160"/>
          </a:xfrm>
        </p:spPr>
        <p:txBody>
          <a:bodyPr anchor="b" anchorCtr="0">
            <a:normAutofit/>
          </a:bodyPr>
          <a:lstStyle>
            <a:lvl1pPr>
              <a:lnSpc>
                <a:spcPct val="85000"/>
              </a:lnSpc>
              <a:defRPr sz="8000" b="0">
                <a:solidFill>
                  <a:schemeClr val="tx1">
                    <a:lumMod val="85000"/>
                    <a:lumOff val="15000"/>
                  </a:schemeClr>
                </a:solidFill>
              </a:defRPr>
            </a:lvl1pPr>
          </a:lstStyle>
          <a:p>
            <a:r>
              <a:rPr lang="en-US"/>
              <a:t>Click to edit Master title style</a:t>
            </a:r>
            <a:endParaRPr lang="en-US" dirty="0"/>
          </a:p>
        </p:txBody>
      </p:sp>
      <p:sp>
        <p:nvSpPr>
          <p:cNvPr id="3" name="Text Placeholder 2"/>
          <p:cNvSpPr>
            <a:spLocks noGrp="1"/>
          </p:cNvSpPr>
          <p:nvPr>
            <p:ph type="body" idx="1"/>
          </p:nvPr>
        </p:nvSpPr>
        <p:spPr>
          <a:xfrm>
            <a:off x="1097280" y="4453128"/>
            <a:ext cx="10058400" cy="1143000"/>
          </a:xfrm>
        </p:spPr>
        <p:txBody>
          <a:bodyPr lIns="91440" rIns="91440" anchor="t" anchorCtr="0">
            <a:normAutofit/>
          </a:bodyPr>
          <a:lstStyle>
            <a:lvl1pPr marL="0" indent="0">
              <a:buNone/>
              <a:defRPr sz="2400" cap="all" spc="200" baseline="0">
                <a:solidFill>
                  <a:schemeClr val="tx2"/>
                </a:solidFill>
                <a:latin typeface="+mj-lt"/>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279614D-2183-46E7-814F-6F3ED9EBE30E}" type="datetime1">
              <a:rPr lang="en-US" smtClean="0"/>
              <a:t>9/21/23</a:t>
            </a:fld>
            <a:endParaRPr lang="en-US"/>
          </a:p>
        </p:txBody>
      </p:sp>
      <p:sp>
        <p:nvSpPr>
          <p:cNvPr id="5" name="Footer Placeholder 4"/>
          <p:cNvSpPr>
            <a:spLocks noGrp="1"/>
          </p:cNvSpPr>
          <p:nvPr>
            <p:ph type="ftr" sz="quarter" idx="11"/>
          </p:nvPr>
        </p:nvSpPr>
        <p:spPr/>
        <p:txBody>
          <a:bodyPr/>
          <a:lstStyle/>
          <a:p>
            <a:r>
              <a:rPr lang="en-US"/>
              <a:t>MedEd1937 Rev D</a:t>
            </a:r>
          </a:p>
        </p:txBody>
      </p:sp>
      <p:sp>
        <p:nvSpPr>
          <p:cNvPr id="6" name="Slide Number Placeholder 5"/>
          <p:cNvSpPr>
            <a:spLocks noGrp="1"/>
          </p:cNvSpPr>
          <p:nvPr>
            <p:ph type="sldNum" sz="quarter" idx="12"/>
          </p:nvPr>
        </p:nvSpPr>
        <p:spPr/>
        <p:txBody>
          <a:bodyPr/>
          <a:lstStyle/>
          <a:p>
            <a:fld id="{21D51F98-DEF0-4E23-AE94-24E7CFC19B28}" type="slidenum">
              <a:rPr lang="en-US" smtClean="0"/>
              <a:t>‹#›</a:t>
            </a:fld>
            <a:endParaRPr lang="en-US"/>
          </a:p>
        </p:txBody>
      </p:sp>
      <p:cxnSp>
        <p:nvCxnSpPr>
          <p:cNvPr id="9" name="Straight Connector 8"/>
          <p:cNvCxnSpPr/>
          <p:nvPr/>
        </p:nvCxnSpPr>
        <p:spPr>
          <a:xfrm>
            <a:off x="1207658" y="4343400"/>
            <a:ext cx="987552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4529861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8" name="Title 7"/>
          <p:cNvSpPr>
            <a:spLocks noGrp="1"/>
          </p:cNvSpPr>
          <p:nvPr>
            <p:ph type="title"/>
          </p:nvPr>
        </p:nvSpPr>
        <p:spPr>
          <a:xfrm>
            <a:off x="1097280" y="286603"/>
            <a:ext cx="10058400" cy="1450757"/>
          </a:xfrm>
        </p:spPr>
        <p:txBody>
          <a:bodyPr/>
          <a:lstStyle/>
          <a:p>
            <a:r>
              <a:rPr lang="en-US"/>
              <a:t>Click to edit Master title style</a:t>
            </a:r>
            <a:endParaRPr lang="en-US" dirty="0"/>
          </a:p>
        </p:txBody>
      </p:sp>
      <p:sp>
        <p:nvSpPr>
          <p:cNvPr id="3" name="Content Placeholder 2"/>
          <p:cNvSpPr>
            <a:spLocks noGrp="1"/>
          </p:cNvSpPr>
          <p:nvPr>
            <p:ph sz="half" idx="1"/>
          </p:nvPr>
        </p:nvSpPr>
        <p:spPr>
          <a:xfrm>
            <a:off x="1097280" y="1845734"/>
            <a:ext cx="4937760" cy="402335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217920" y="1845735"/>
            <a:ext cx="4937760" cy="40233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BB976199-9202-40F2-988E-A37A5750A86C}" type="datetime1">
              <a:rPr lang="en-US" smtClean="0"/>
              <a:t>9/21/23</a:t>
            </a:fld>
            <a:endParaRPr lang="en-US"/>
          </a:p>
        </p:txBody>
      </p:sp>
      <p:sp>
        <p:nvSpPr>
          <p:cNvPr id="6" name="Footer Placeholder 5"/>
          <p:cNvSpPr>
            <a:spLocks noGrp="1"/>
          </p:cNvSpPr>
          <p:nvPr>
            <p:ph type="ftr" sz="quarter" idx="11"/>
          </p:nvPr>
        </p:nvSpPr>
        <p:spPr/>
        <p:txBody>
          <a:bodyPr/>
          <a:lstStyle/>
          <a:p>
            <a:r>
              <a:rPr lang="en-US"/>
              <a:t>MedEd1937 Rev D</a:t>
            </a:r>
          </a:p>
        </p:txBody>
      </p:sp>
      <p:sp>
        <p:nvSpPr>
          <p:cNvPr id="7" name="Slide Number Placeholder 6"/>
          <p:cNvSpPr>
            <a:spLocks noGrp="1"/>
          </p:cNvSpPr>
          <p:nvPr>
            <p:ph type="sldNum" sz="quarter" idx="12"/>
          </p:nvPr>
        </p:nvSpPr>
        <p:spPr/>
        <p:txBody>
          <a:bodyPr/>
          <a:lstStyle/>
          <a:p>
            <a:fld id="{21D51F98-DEF0-4E23-AE94-24E7CFC19B28}" type="slidenum">
              <a:rPr lang="en-US" smtClean="0"/>
              <a:t>‹#›</a:t>
            </a:fld>
            <a:endParaRPr lang="en-US"/>
          </a:p>
        </p:txBody>
      </p:sp>
    </p:spTree>
    <p:extLst>
      <p:ext uri="{BB962C8B-B14F-4D97-AF65-F5344CB8AC3E}">
        <p14:creationId xmlns:p14="http://schemas.microsoft.com/office/powerpoint/2010/main" val="6230652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10" name="Title 9"/>
          <p:cNvSpPr>
            <a:spLocks noGrp="1"/>
          </p:cNvSpPr>
          <p:nvPr>
            <p:ph type="title"/>
          </p:nvPr>
        </p:nvSpPr>
        <p:spPr>
          <a:xfrm>
            <a:off x="1097280" y="286603"/>
            <a:ext cx="10058400" cy="1450757"/>
          </a:xfrm>
        </p:spPr>
        <p:txBody>
          <a:bodyPr/>
          <a:lstStyle/>
          <a:p>
            <a:r>
              <a:rPr lang="en-US"/>
              <a:t>Click to edit Master title style</a:t>
            </a:r>
            <a:endParaRPr lang="en-US" dirty="0"/>
          </a:p>
        </p:txBody>
      </p:sp>
      <p:sp>
        <p:nvSpPr>
          <p:cNvPr id="3" name="Text Placeholder 2"/>
          <p:cNvSpPr>
            <a:spLocks noGrp="1"/>
          </p:cNvSpPr>
          <p:nvPr>
            <p:ph type="body" idx="1"/>
          </p:nvPr>
        </p:nvSpPr>
        <p:spPr>
          <a:xfrm>
            <a:off x="1097280" y="1846052"/>
            <a:ext cx="4937760" cy="736282"/>
          </a:xfrm>
        </p:spPr>
        <p:txBody>
          <a:bodyPr lIns="91440" rIns="91440" anchor="ctr">
            <a:normAutofit/>
          </a:bodyPr>
          <a:lstStyle>
            <a:lvl1pPr marL="0" indent="0">
              <a:buNone/>
              <a:defRPr sz="2000" b="0" cap="all"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1097280" y="2582335"/>
            <a:ext cx="4937760" cy="32867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217920" y="1846052"/>
            <a:ext cx="4937760" cy="736282"/>
          </a:xfrm>
        </p:spPr>
        <p:txBody>
          <a:bodyPr lIns="91440" rIns="91440" anchor="ctr">
            <a:normAutofit/>
          </a:bodyPr>
          <a:lstStyle>
            <a:lvl1pPr marL="0" indent="0">
              <a:buNone/>
              <a:defRPr sz="2000" b="0" cap="all"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217920" y="2582334"/>
            <a:ext cx="4937760" cy="32867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C6B66E4C-6E4B-43F7-9206-B71732FFA328}" type="datetime1">
              <a:rPr lang="en-US" smtClean="0"/>
              <a:t>9/21/23</a:t>
            </a:fld>
            <a:endParaRPr lang="en-US"/>
          </a:p>
        </p:txBody>
      </p:sp>
      <p:sp>
        <p:nvSpPr>
          <p:cNvPr id="8" name="Footer Placeholder 7"/>
          <p:cNvSpPr>
            <a:spLocks noGrp="1"/>
          </p:cNvSpPr>
          <p:nvPr>
            <p:ph type="ftr" sz="quarter" idx="11"/>
          </p:nvPr>
        </p:nvSpPr>
        <p:spPr/>
        <p:txBody>
          <a:bodyPr/>
          <a:lstStyle/>
          <a:p>
            <a:r>
              <a:rPr lang="en-US"/>
              <a:t>MedEd1937 Rev D</a:t>
            </a:r>
          </a:p>
        </p:txBody>
      </p:sp>
      <p:sp>
        <p:nvSpPr>
          <p:cNvPr id="9" name="Slide Number Placeholder 8"/>
          <p:cNvSpPr>
            <a:spLocks noGrp="1"/>
          </p:cNvSpPr>
          <p:nvPr>
            <p:ph type="sldNum" sz="quarter" idx="12"/>
          </p:nvPr>
        </p:nvSpPr>
        <p:spPr/>
        <p:txBody>
          <a:bodyPr/>
          <a:lstStyle/>
          <a:p>
            <a:fld id="{21D51F98-DEF0-4E23-AE94-24E7CFC19B28}" type="slidenum">
              <a:rPr lang="en-US" smtClean="0"/>
              <a:t>‹#›</a:t>
            </a:fld>
            <a:endParaRPr lang="en-US"/>
          </a:p>
        </p:txBody>
      </p:sp>
    </p:spTree>
    <p:extLst>
      <p:ext uri="{BB962C8B-B14F-4D97-AF65-F5344CB8AC3E}">
        <p14:creationId xmlns:p14="http://schemas.microsoft.com/office/powerpoint/2010/main" val="144147987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0364FA03-9689-45E6-AC14-73B598DE53D2}" type="datetime1">
              <a:rPr lang="en-US" smtClean="0"/>
              <a:t>9/21/23</a:t>
            </a:fld>
            <a:endParaRPr lang="en-US"/>
          </a:p>
        </p:txBody>
      </p:sp>
      <p:sp>
        <p:nvSpPr>
          <p:cNvPr id="4" name="Footer Placeholder 3"/>
          <p:cNvSpPr>
            <a:spLocks noGrp="1"/>
          </p:cNvSpPr>
          <p:nvPr>
            <p:ph type="ftr" sz="quarter" idx="11"/>
          </p:nvPr>
        </p:nvSpPr>
        <p:spPr/>
        <p:txBody>
          <a:bodyPr/>
          <a:lstStyle/>
          <a:p>
            <a:r>
              <a:rPr lang="en-US"/>
              <a:t>MedEd1937 Rev D</a:t>
            </a:r>
          </a:p>
        </p:txBody>
      </p:sp>
      <p:sp>
        <p:nvSpPr>
          <p:cNvPr id="5" name="Slide Number Placeholder 4"/>
          <p:cNvSpPr>
            <a:spLocks noGrp="1"/>
          </p:cNvSpPr>
          <p:nvPr>
            <p:ph type="sldNum" sz="quarter" idx="12"/>
          </p:nvPr>
        </p:nvSpPr>
        <p:spPr/>
        <p:txBody>
          <a:bodyPr/>
          <a:lstStyle/>
          <a:p>
            <a:fld id="{21D51F98-DEF0-4E23-AE94-24E7CFC19B28}" type="slidenum">
              <a:rPr lang="en-US" smtClean="0"/>
              <a:t>‹#›</a:t>
            </a:fld>
            <a:endParaRPr lang="en-US"/>
          </a:p>
        </p:txBody>
      </p:sp>
    </p:spTree>
    <p:extLst>
      <p:ext uri="{BB962C8B-B14F-4D97-AF65-F5344CB8AC3E}">
        <p14:creationId xmlns:p14="http://schemas.microsoft.com/office/powerpoint/2010/main" val="43325733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5" name="Rectangle 4"/>
          <p:cNvSpPr/>
          <p:nvPr/>
        </p:nvSpPr>
        <p:spPr>
          <a:xfrm>
            <a:off x="3175"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 name="Rectangle 5"/>
          <p:cNvSpPr/>
          <p:nvPr/>
        </p:nvSpPr>
        <p:spPr>
          <a:xfrm>
            <a:off x="15" y="633431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 name="Date Placeholder 6"/>
          <p:cNvSpPr>
            <a:spLocks noGrp="1"/>
          </p:cNvSpPr>
          <p:nvPr>
            <p:ph type="dt" sz="half" idx="10"/>
          </p:nvPr>
        </p:nvSpPr>
        <p:spPr/>
        <p:txBody>
          <a:bodyPr/>
          <a:lstStyle/>
          <a:p>
            <a:fld id="{BFBB3A8C-071D-4E46-981C-7CA16269B80A}" type="datetime1">
              <a:rPr lang="en-US" smtClean="0"/>
              <a:t>9/21/23</a:t>
            </a:fld>
            <a:endParaRPr lang="en-US"/>
          </a:p>
        </p:txBody>
      </p:sp>
      <p:sp>
        <p:nvSpPr>
          <p:cNvPr id="8" name="Footer Placeholder 7"/>
          <p:cNvSpPr>
            <a:spLocks noGrp="1"/>
          </p:cNvSpPr>
          <p:nvPr>
            <p:ph type="ftr" sz="quarter" idx="11"/>
          </p:nvPr>
        </p:nvSpPr>
        <p:spPr/>
        <p:txBody>
          <a:bodyPr/>
          <a:lstStyle>
            <a:lvl1pPr>
              <a:defRPr>
                <a:solidFill>
                  <a:srgbClr val="FFFFFF"/>
                </a:solidFill>
              </a:defRPr>
            </a:lvl1pPr>
          </a:lstStyle>
          <a:p>
            <a:r>
              <a:rPr lang="en-US"/>
              <a:t>MedEd1937 Rev D</a:t>
            </a:r>
          </a:p>
        </p:txBody>
      </p:sp>
      <p:sp>
        <p:nvSpPr>
          <p:cNvPr id="9" name="Slide Number Placeholder 8"/>
          <p:cNvSpPr>
            <a:spLocks noGrp="1"/>
          </p:cNvSpPr>
          <p:nvPr>
            <p:ph type="sldNum" sz="quarter" idx="12"/>
          </p:nvPr>
        </p:nvSpPr>
        <p:spPr/>
        <p:txBody>
          <a:bodyPr/>
          <a:lstStyle/>
          <a:p>
            <a:fld id="{21D51F98-DEF0-4E23-AE94-24E7CFC19B28}" type="slidenum">
              <a:rPr lang="en-US" smtClean="0"/>
              <a:t>‹#›</a:t>
            </a:fld>
            <a:endParaRPr lang="en-US"/>
          </a:p>
        </p:txBody>
      </p:sp>
    </p:spTree>
    <p:extLst>
      <p:ext uri="{BB962C8B-B14F-4D97-AF65-F5344CB8AC3E}">
        <p14:creationId xmlns:p14="http://schemas.microsoft.com/office/powerpoint/2010/main" val="171607515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8" name="Rectangle 7"/>
          <p:cNvSpPr/>
          <p:nvPr/>
        </p:nvSpPr>
        <p:spPr>
          <a:xfrm>
            <a:off x="16" y="0"/>
            <a:ext cx="4050791"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4040071" y="0"/>
            <a:ext cx="64008"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457200" y="594359"/>
            <a:ext cx="3200400" cy="2286000"/>
          </a:xfrm>
        </p:spPr>
        <p:txBody>
          <a:bodyPr anchor="b">
            <a:normAutofit/>
          </a:bodyPr>
          <a:lstStyle>
            <a:lvl1pPr>
              <a:defRPr sz="3600" b="0">
                <a:solidFill>
                  <a:srgbClr val="FFFFFF"/>
                </a:solidFill>
              </a:defRPr>
            </a:lvl1pPr>
          </a:lstStyle>
          <a:p>
            <a:r>
              <a:rPr lang="en-US"/>
              <a:t>Click to edit Master title style</a:t>
            </a:r>
            <a:endParaRPr lang="en-US" dirty="0"/>
          </a:p>
        </p:txBody>
      </p:sp>
      <p:sp>
        <p:nvSpPr>
          <p:cNvPr id="3" name="Content Placeholder 2"/>
          <p:cNvSpPr>
            <a:spLocks noGrp="1"/>
          </p:cNvSpPr>
          <p:nvPr>
            <p:ph idx="1"/>
          </p:nvPr>
        </p:nvSpPr>
        <p:spPr>
          <a:xfrm>
            <a:off x="4800600" y="731520"/>
            <a:ext cx="6492240" cy="5257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457200" y="2926080"/>
            <a:ext cx="3200400" cy="3379124"/>
          </a:xfrm>
        </p:spPr>
        <p:txBody>
          <a:bodyPr lIns="91440" rIns="91440">
            <a:normAutofit/>
          </a:bodyPr>
          <a:lstStyle>
            <a:lvl1pPr marL="0" indent="0">
              <a:buNone/>
              <a:defRPr sz="1500">
                <a:solidFill>
                  <a:srgbClr val="FFFFFF"/>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a:xfrm>
            <a:off x="465512" y="6459785"/>
            <a:ext cx="2618510" cy="365125"/>
          </a:xfrm>
        </p:spPr>
        <p:txBody>
          <a:bodyPr/>
          <a:lstStyle>
            <a:lvl1pPr algn="l">
              <a:defRPr/>
            </a:lvl1pPr>
          </a:lstStyle>
          <a:p>
            <a:fld id="{9A6A8CEF-8870-453A-A381-CCE2BF6AA29E}" type="datetime1">
              <a:rPr lang="en-US" smtClean="0"/>
              <a:t>9/21/23</a:t>
            </a:fld>
            <a:endParaRPr lang="en-US"/>
          </a:p>
        </p:txBody>
      </p:sp>
      <p:sp>
        <p:nvSpPr>
          <p:cNvPr id="6" name="Footer Placeholder 5"/>
          <p:cNvSpPr>
            <a:spLocks noGrp="1"/>
          </p:cNvSpPr>
          <p:nvPr>
            <p:ph type="ftr" sz="quarter" idx="11"/>
          </p:nvPr>
        </p:nvSpPr>
        <p:spPr>
          <a:xfrm>
            <a:off x="4800600" y="6459785"/>
            <a:ext cx="4648200" cy="365125"/>
          </a:xfrm>
        </p:spPr>
        <p:txBody>
          <a:bodyPr/>
          <a:lstStyle>
            <a:lvl1pPr algn="l">
              <a:defRPr>
                <a:solidFill>
                  <a:schemeClr val="tx2"/>
                </a:solidFill>
              </a:defRPr>
            </a:lvl1pPr>
          </a:lstStyle>
          <a:p>
            <a:r>
              <a:rPr lang="en-US"/>
              <a:t>MedEd1937 Rev D</a:t>
            </a:r>
          </a:p>
        </p:txBody>
      </p:sp>
      <p:sp>
        <p:nvSpPr>
          <p:cNvPr id="7" name="Slide Number Placeholder 6"/>
          <p:cNvSpPr>
            <a:spLocks noGrp="1"/>
          </p:cNvSpPr>
          <p:nvPr>
            <p:ph type="sldNum" sz="quarter" idx="12"/>
          </p:nvPr>
        </p:nvSpPr>
        <p:spPr/>
        <p:txBody>
          <a:bodyPr/>
          <a:lstStyle>
            <a:lvl1pPr>
              <a:defRPr>
                <a:solidFill>
                  <a:schemeClr val="tx2"/>
                </a:solidFill>
              </a:defRPr>
            </a:lvl1pPr>
          </a:lstStyle>
          <a:p>
            <a:fld id="{21D51F98-DEF0-4E23-AE94-24E7CFC19B28}" type="slidenum">
              <a:rPr lang="en-US" smtClean="0"/>
              <a:t>‹#›</a:t>
            </a:fld>
            <a:endParaRPr lang="en-US"/>
          </a:p>
        </p:txBody>
      </p:sp>
    </p:spTree>
    <p:extLst>
      <p:ext uri="{BB962C8B-B14F-4D97-AF65-F5344CB8AC3E}">
        <p14:creationId xmlns:p14="http://schemas.microsoft.com/office/powerpoint/2010/main" val="239394248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8" name="Rectangle 7"/>
          <p:cNvSpPr/>
          <p:nvPr/>
        </p:nvSpPr>
        <p:spPr>
          <a:xfrm>
            <a:off x="0" y="4953000"/>
            <a:ext cx="12188825" cy="1905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15" y="491507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1097280" y="5074920"/>
            <a:ext cx="10113645" cy="822960"/>
          </a:xfrm>
        </p:spPr>
        <p:txBody>
          <a:bodyPr tIns="0" bIns="0" anchor="b">
            <a:noAutofit/>
          </a:bodyPr>
          <a:lstStyle>
            <a:lvl1pPr>
              <a:defRPr sz="3600" b="0">
                <a:solidFill>
                  <a:srgbClr val="FFFFFF"/>
                </a:solidFill>
              </a:defRPr>
            </a:lvl1pPr>
          </a:lstStyle>
          <a:p>
            <a:r>
              <a:rPr lang="en-US"/>
              <a:t>Click to edit Master title style</a:t>
            </a:r>
            <a:endParaRPr lang="en-US" dirty="0"/>
          </a:p>
        </p:txBody>
      </p:sp>
      <p:sp>
        <p:nvSpPr>
          <p:cNvPr id="3" name="Picture Placeholder 2"/>
          <p:cNvSpPr>
            <a:spLocks noGrp="1" noChangeAspect="1"/>
          </p:cNvSpPr>
          <p:nvPr>
            <p:ph type="pic" idx="1"/>
          </p:nvPr>
        </p:nvSpPr>
        <p:spPr>
          <a:xfrm>
            <a:off x="15" y="0"/>
            <a:ext cx="12191985" cy="4915076"/>
          </a:xfrm>
          <a:solidFill>
            <a:schemeClr val="bg2">
              <a:lumMod val="90000"/>
            </a:schemeClr>
          </a:solidFill>
        </p:spPr>
        <p:txBody>
          <a:bodyPr lIns="457200" tIns="457200"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1097280" y="5907024"/>
            <a:ext cx="10113264" cy="594360"/>
          </a:xfrm>
        </p:spPr>
        <p:txBody>
          <a:bodyPr lIns="91440" tIns="0" rIns="91440" bIns="0">
            <a:normAutofit/>
          </a:bodyPr>
          <a:lstStyle>
            <a:lvl1pPr marL="0" indent="0">
              <a:spcBef>
                <a:spcPts val="0"/>
              </a:spcBef>
              <a:spcAft>
                <a:spcPts val="600"/>
              </a:spcAft>
              <a:buNone/>
              <a:defRPr sz="1500">
                <a:solidFill>
                  <a:srgbClr val="FFFFFF"/>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5F41A171-1E9C-4C52-8B7D-4D34F963F6EF}" type="datetime1">
              <a:rPr lang="en-US" smtClean="0"/>
              <a:t>9/21/23</a:t>
            </a:fld>
            <a:endParaRPr lang="en-US"/>
          </a:p>
        </p:txBody>
      </p:sp>
      <p:sp>
        <p:nvSpPr>
          <p:cNvPr id="6" name="Footer Placeholder 5"/>
          <p:cNvSpPr>
            <a:spLocks noGrp="1"/>
          </p:cNvSpPr>
          <p:nvPr>
            <p:ph type="ftr" sz="quarter" idx="11"/>
          </p:nvPr>
        </p:nvSpPr>
        <p:spPr/>
        <p:txBody>
          <a:bodyPr/>
          <a:lstStyle/>
          <a:p>
            <a:r>
              <a:rPr lang="en-US"/>
              <a:t>MedEd1937 Rev D</a:t>
            </a:r>
          </a:p>
        </p:txBody>
      </p:sp>
      <p:sp>
        <p:nvSpPr>
          <p:cNvPr id="7" name="Slide Number Placeholder 6"/>
          <p:cNvSpPr>
            <a:spLocks noGrp="1"/>
          </p:cNvSpPr>
          <p:nvPr>
            <p:ph type="sldNum" sz="quarter" idx="12"/>
          </p:nvPr>
        </p:nvSpPr>
        <p:spPr/>
        <p:txBody>
          <a:bodyPr/>
          <a:lstStyle/>
          <a:p>
            <a:fld id="{21D51F98-DEF0-4E23-AE94-24E7CFC19B28}" type="slidenum">
              <a:rPr lang="en-US" smtClean="0"/>
              <a:t>‹#›</a:t>
            </a:fld>
            <a:endParaRPr lang="en-US"/>
          </a:p>
        </p:txBody>
      </p:sp>
    </p:spTree>
    <p:extLst>
      <p:ext uri="{BB962C8B-B14F-4D97-AF65-F5344CB8AC3E}">
        <p14:creationId xmlns:p14="http://schemas.microsoft.com/office/powerpoint/2010/main" val="205114112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Rectangle 6"/>
          <p:cNvSpPr/>
          <p:nvPr/>
        </p:nvSpPr>
        <p:spPr>
          <a:xfrm>
            <a:off x="3175"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15" y="633431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Placeholder 1"/>
          <p:cNvSpPr>
            <a:spLocks noGrp="1"/>
          </p:cNvSpPr>
          <p:nvPr>
            <p:ph type="title"/>
          </p:nvPr>
        </p:nvSpPr>
        <p:spPr>
          <a:xfrm>
            <a:off x="1097280" y="286603"/>
            <a:ext cx="10058400" cy="1450757"/>
          </a:xfrm>
          <a:prstGeom prst="rect">
            <a:avLst/>
          </a:prstGeom>
        </p:spPr>
        <p:txBody>
          <a:bodyPr vert="horz" lIns="91440" tIns="45720" rIns="91440" bIns="45720" rtlCol="0" anchor="b">
            <a:normAutofit/>
          </a:bodyPr>
          <a:lstStyle/>
          <a:p>
            <a:r>
              <a:rPr lang="en-US"/>
              <a:t>Click to edit Master title style</a:t>
            </a:r>
            <a:endParaRPr lang="en-US" dirty="0"/>
          </a:p>
        </p:txBody>
      </p:sp>
      <p:sp>
        <p:nvSpPr>
          <p:cNvPr id="3" name="Text Placeholder 2"/>
          <p:cNvSpPr>
            <a:spLocks noGrp="1"/>
          </p:cNvSpPr>
          <p:nvPr>
            <p:ph type="body" idx="1"/>
          </p:nvPr>
        </p:nvSpPr>
        <p:spPr>
          <a:xfrm>
            <a:off x="1097280" y="1845734"/>
            <a:ext cx="10058400" cy="4023360"/>
          </a:xfrm>
          <a:prstGeom prst="rect">
            <a:avLst/>
          </a:prstGeom>
        </p:spPr>
        <p:txBody>
          <a:bodyPr vert="horz" lIns="0" tIns="45720" rIns="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1097280" y="6459785"/>
            <a:ext cx="2472271" cy="365125"/>
          </a:xfrm>
          <a:prstGeom prst="rect">
            <a:avLst/>
          </a:prstGeom>
        </p:spPr>
        <p:txBody>
          <a:bodyPr vert="horz" lIns="91440" tIns="45720" rIns="91440" bIns="45720" rtlCol="0" anchor="ctr"/>
          <a:lstStyle>
            <a:lvl1pPr algn="l">
              <a:defRPr sz="900">
                <a:solidFill>
                  <a:srgbClr val="FFFFFF"/>
                </a:solidFill>
              </a:defRPr>
            </a:lvl1pPr>
          </a:lstStyle>
          <a:p>
            <a:fld id="{8C1BAB06-3508-4869-B9BF-EB4055BBE393}" type="datetime1">
              <a:rPr lang="en-US" smtClean="0"/>
              <a:t>9/21/23</a:t>
            </a:fld>
            <a:endParaRPr lang="en-US"/>
          </a:p>
        </p:txBody>
      </p:sp>
      <p:sp>
        <p:nvSpPr>
          <p:cNvPr id="5" name="Footer Placeholder 4"/>
          <p:cNvSpPr>
            <a:spLocks noGrp="1"/>
          </p:cNvSpPr>
          <p:nvPr>
            <p:ph type="ftr" sz="quarter" idx="3"/>
          </p:nvPr>
        </p:nvSpPr>
        <p:spPr>
          <a:xfrm>
            <a:off x="3686185" y="6459785"/>
            <a:ext cx="4822804" cy="365125"/>
          </a:xfrm>
          <a:prstGeom prst="rect">
            <a:avLst/>
          </a:prstGeom>
        </p:spPr>
        <p:txBody>
          <a:bodyPr vert="horz" lIns="91440" tIns="45720" rIns="91440" bIns="45720" rtlCol="0" anchor="ctr"/>
          <a:lstStyle>
            <a:lvl1pPr algn="ctr">
              <a:defRPr sz="900" cap="all" baseline="0">
                <a:solidFill>
                  <a:srgbClr val="FFFFFF"/>
                </a:solidFill>
              </a:defRPr>
            </a:lvl1pPr>
          </a:lstStyle>
          <a:p>
            <a:r>
              <a:rPr lang="en-US"/>
              <a:t>MedEd1937 Rev D</a:t>
            </a:r>
          </a:p>
        </p:txBody>
      </p:sp>
      <p:sp>
        <p:nvSpPr>
          <p:cNvPr id="6" name="Slide Number Placeholder 5"/>
          <p:cNvSpPr>
            <a:spLocks noGrp="1"/>
          </p:cNvSpPr>
          <p:nvPr>
            <p:ph type="sldNum" sz="quarter" idx="4"/>
          </p:nvPr>
        </p:nvSpPr>
        <p:spPr>
          <a:xfrm>
            <a:off x="9900458" y="6459785"/>
            <a:ext cx="1312025" cy="365125"/>
          </a:xfrm>
          <a:prstGeom prst="rect">
            <a:avLst/>
          </a:prstGeom>
        </p:spPr>
        <p:txBody>
          <a:bodyPr vert="horz" lIns="91440" tIns="45720" rIns="91440" bIns="45720" rtlCol="0" anchor="ctr"/>
          <a:lstStyle>
            <a:lvl1pPr algn="r">
              <a:defRPr sz="1050">
                <a:solidFill>
                  <a:srgbClr val="FFFFFF"/>
                </a:solidFill>
              </a:defRPr>
            </a:lvl1pPr>
          </a:lstStyle>
          <a:p>
            <a:fld id="{21D51F98-DEF0-4E23-AE94-24E7CFC19B28}" type="slidenum">
              <a:rPr lang="en-US" smtClean="0"/>
              <a:t>‹#›</a:t>
            </a:fld>
            <a:endParaRPr lang="en-US"/>
          </a:p>
        </p:txBody>
      </p:sp>
      <p:cxnSp>
        <p:nvCxnSpPr>
          <p:cNvPr id="10" name="Straight Connector 9"/>
          <p:cNvCxnSpPr/>
          <p:nvPr/>
        </p:nvCxnSpPr>
        <p:spPr>
          <a:xfrm>
            <a:off x="1193532" y="1737845"/>
            <a:ext cx="996696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33145679"/>
      </p:ext>
    </p:extLst>
  </p:cSld>
  <p:clrMap bg1="lt1" tx1="dk1" bg2="lt2" tx2="dk2" accent1="accent1" accent2="accent2" accent3="accent3" accent4="accent4" accent5="accent5" accent6="accent6" hlink="hlink" folHlink="folHlink"/>
  <p:sldLayoutIdLst>
    <p:sldLayoutId id="2147483709" r:id="rId1"/>
    <p:sldLayoutId id="2147483710" r:id="rId2"/>
    <p:sldLayoutId id="2147483711" r:id="rId3"/>
    <p:sldLayoutId id="2147483712" r:id="rId4"/>
    <p:sldLayoutId id="2147483713" r:id="rId5"/>
    <p:sldLayoutId id="2147483714" r:id="rId6"/>
    <p:sldLayoutId id="2147483715" r:id="rId7"/>
    <p:sldLayoutId id="2147483716" r:id="rId8"/>
    <p:sldLayoutId id="2147483717" r:id="rId9"/>
    <p:sldLayoutId id="2147483718" r:id="rId10"/>
    <p:sldLayoutId id="2147483719" r:id="rId11"/>
    <p:sldLayoutId id="2147483720" r:id="rId12"/>
    <p:sldLayoutId id="2147483722" r:id="rId13"/>
    <p:sldLayoutId id="2147483723" r:id="rId14"/>
    <p:sldLayoutId id="2147483724" r:id="rId15"/>
  </p:sldLayoutIdLst>
  <p:hf hdr="0" dt="0"/>
  <p:txStyles>
    <p:title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p:titleStyle>
    <p:bodyStyle>
      <a:lvl1pPr marL="91440" indent="-91440" algn="l" defTabSz="914400" rtl="0" eaLnBrk="1" latinLnBrk="0" hangingPunct="1">
        <a:lnSpc>
          <a:spcPct val="90000"/>
        </a:lnSpc>
        <a:spcBef>
          <a:spcPts val="1200"/>
        </a:spcBef>
        <a:spcAft>
          <a:spcPts val="200"/>
        </a:spcAft>
        <a:buClr>
          <a:schemeClr val="accent1"/>
        </a:buClr>
        <a:buSzPct val="100000"/>
        <a:buFont typeface="Calibri" panose="020F0502020204030204" pitchFamily="34" charset="0"/>
        <a:buChar char=" "/>
        <a:defRPr sz="2000" kern="1200">
          <a:solidFill>
            <a:schemeClr val="tx1">
              <a:lumMod val="75000"/>
              <a:lumOff val="25000"/>
            </a:schemeClr>
          </a:solidFill>
          <a:latin typeface="+mn-lt"/>
          <a:ea typeface="+mn-ea"/>
          <a:cs typeface="+mn-cs"/>
        </a:defRPr>
      </a:lvl1pPr>
      <a:lvl2pPr marL="384048" indent="-182880" algn="l" defTabSz="914400" rtl="0" eaLnBrk="1" latinLnBrk="0" hangingPunct="1">
        <a:lnSpc>
          <a:spcPct val="90000"/>
        </a:lnSpc>
        <a:spcBef>
          <a:spcPts val="200"/>
        </a:spcBef>
        <a:spcAft>
          <a:spcPts val="400"/>
        </a:spcAft>
        <a:buClr>
          <a:schemeClr val="accent1"/>
        </a:buClr>
        <a:buFont typeface="Calibri" pitchFamily="34" charset="0"/>
        <a:buChar char="◦"/>
        <a:defRPr sz="1800" kern="1200">
          <a:solidFill>
            <a:schemeClr val="tx1">
              <a:lumMod val="75000"/>
              <a:lumOff val="25000"/>
            </a:schemeClr>
          </a:solidFill>
          <a:latin typeface="+mn-lt"/>
          <a:ea typeface="+mn-ea"/>
          <a:cs typeface="+mn-cs"/>
        </a:defRPr>
      </a:lvl2pPr>
      <a:lvl3pPr marL="56692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3pPr>
      <a:lvl4pPr marL="74980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4pPr>
      <a:lvl5pPr marL="93268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5pPr>
      <a:lvl6pPr marL="11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6pPr>
      <a:lvl7pPr marL="13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7pPr>
      <a:lvl8pPr marL="15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8pPr>
      <a:lvl9pPr marL="17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6.xml"/><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7.xml"/><Relationship Id="rId7" Type="http://schemas.openxmlformats.org/officeDocument/2006/relationships/image" Target="../media/image9.pn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1.bin"/></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chart" Target="../charts/chart3.xml"/><Relationship Id="rId5" Type="http://schemas.openxmlformats.org/officeDocument/2006/relationships/image" Target="../media/image7.emf"/><Relationship Id="rId4" Type="http://schemas.openxmlformats.org/officeDocument/2006/relationships/oleObject" Target="../embeddings/oleObject2.bin"/></Relationships>
</file>

<file path=ppt/slides/_rels/slide16.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7.xml"/><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7.xml"/><Relationship Id="rId7" Type="http://schemas.openxmlformats.org/officeDocument/2006/relationships/image" Target="../media/image10.jpeg"/><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image" Target="../media/image7.emf"/><Relationship Id="rId5" Type="http://schemas.openxmlformats.org/officeDocument/2006/relationships/oleObject" Target="../embeddings/oleObject3.bin"/><Relationship Id="rId4" Type="http://schemas.openxmlformats.org/officeDocument/2006/relationships/notesSlide" Target="../notesSlides/notesSlide9.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7.xml"/><Relationship Id="rId7" Type="http://schemas.openxmlformats.org/officeDocument/2006/relationships/image" Target="../media/image12.png"/><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image" Target="../media/image11.png"/><Relationship Id="rId5" Type="http://schemas.openxmlformats.org/officeDocument/2006/relationships/image" Target="../media/image7.emf"/><Relationship Id="rId4" Type="http://schemas.openxmlformats.org/officeDocument/2006/relationships/oleObject" Target="../embeddings/oleObject4.bin"/></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slideLayout" Target="../slideLayouts/slideLayout7.xml"/><Relationship Id="rId7" Type="http://schemas.openxmlformats.org/officeDocument/2006/relationships/image" Target="../media/image14.png"/><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image" Target="../media/image13.png"/><Relationship Id="rId5" Type="http://schemas.openxmlformats.org/officeDocument/2006/relationships/image" Target="../media/image7.emf"/><Relationship Id="rId4" Type="http://schemas.openxmlformats.org/officeDocument/2006/relationships/oleObject" Target="../embeddings/oleObject5.bin"/></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5.png"/><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12.xml"/><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3" Type="http://schemas.openxmlformats.org/officeDocument/2006/relationships/image" Target="../media/image18.jpg"/><Relationship Id="rId2" Type="http://schemas.openxmlformats.org/officeDocument/2006/relationships/notesSlide" Target="../notesSlides/notesSlide13.xml"/><Relationship Id="rId1" Type="http://schemas.openxmlformats.org/officeDocument/2006/relationships/slideLayout" Target="../slideLayouts/slideLayout7.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Layout" Target="../slideLayouts/slideLayout7.xml"/><Relationship Id="rId4" Type="http://schemas.openxmlformats.org/officeDocument/2006/relationships/image" Target="../media/image21.png"/></Relationships>
</file>

<file path=ppt/slides/_rels/slide29.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image" Target="../media/image22.png"/><Relationship Id="rId5" Type="http://schemas.openxmlformats.org/officeDocument/2006/relationships/image" Target="../media/image7.emf"/><Relationship Id="rId4" Type="http://schemas.openxmlformats.org/officeDocument/2006/relationships/oleObject" Target="../embeddings/oleObject6.bin"/></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7.xml"/></Relationships>
</file>

<file path=ppt/slides/_rels/slide31.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6.xml"/><Relationship Id="rId1" Type="http://schemas.openxmlformats.org/officeDocument/2006/relationships/slideLayout" Target="../slideLayouts/slideLayout7.xml"/><Relationship Id="rId5" Type="http://schemas.openxmlformats.org/officeDocument/2006/relationships/image" Target="../media/image25.png"/><Relationship Id="rId4" Type="http://schemas.openxmlformats.org/officeDocument/2006/relationships/image" Target="../media/image24.png"/></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7.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7.xml"/></Relationships>
</file>

<file path=ppt/slides/_rels/slide34.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image" Target="../media/image7.emf"/><Relationship Id="rId5" Type="http://schemas.openxmlformats.org/officeDocument/2006/relationships/oleObject" Target="../embeddings/oleObject7.bin"/><Relationship Id="rId4" Type="http://schemas.openxmlformats.org/officeDocument/2006/relationships/notesSlide" Target="../notesSlides/notesSlide19.xml"/></Relationships>
</file>

<file path=ppt/slides/_rels/slide35.xml.rels><?xml version="1.0" encoding="UTF-8" standalone="yes"?>
<Relationships xmlns="http://schemas.openxmlformats.org/package/2006/relationships"><Relationship Id="rId8" Type="http://schemas.openxmlformats.org/officeDocument/2006/relationships/tags" Target="../tags/tag22.xml"/><Relationship Id="rId13" Type="http://schemas.openxmlformats.org/officeDocument/2006/relationships/tags" Target="../tags/tag27.xml"/><Relationship Id="rId18" Type="http://schemas.openxmlformats.org/officeDocument/2006/relationships/tags" Target="../tags/tag32.xml"/><Relationship Id="rId3" Type="http://schemas.openxmlformats.org/officeDocument/2006/relationships/tags" Target="../tags/tag17.xml"/><Relationship Id="rId21" Type="http://schemas.openxmlformats.org/officeDocument/2006/relationships/oleObject" Target="../embeddings/oleObject8.bin"/><Relationship Id="rId7" Type="http://schemas.openxmlformats.org/officeDocument/2006/relationships/tags" Target="../tags/tag21.xml"/><Relationship Id="rId12" Type="http://schemas.openxmlformats.org/officeDocument/2006/relationships/tags" Target="../tags/tag26.xml"/><Relationship Id="rId17" Type="http://schemas.openxmlformats.org/officeDocument/2006/relationships/tags" Target="../tags/tag31.xml"/><Relationship Id="rId2" Type="http://schemas.openxmlformats.org/officeDocument/2006/relationships/tags" Target="../tags/tag16.xml"/><Relationship Id="rId16" Type="http://schemas.openxmlformats.org/officeDocument/2006/relationships/tags" Target="../tags/tag30.xml"/><Relationship Id="rId20" Type="http://schemas.openxmlformats.org/officeDocument/2006/relationships/notesSlide" Target="../notesSlides/notesSlide20.xml"/><Relationship Id="rId1" Type="http://schemas.openxmlformats.org/officeDocument/2006/relationships/tags" Target="../tags/tag15.xml"/><Relationship Id="rId6" Type="http://schemas.openxmlformats.org/officeDocument/2006/relationships/tags" Target="../tags/tag20.xml"/><Relationship Id="rId11" Type="http://schemas.openxmlformats.org/officeDocument/2006/relationships/tags" Target="../tags/tag25.xml"/><Relationship Id="rId5" Type="http://schemas.openxmlformats.org/officeDocument/2006/relationships/tags" Target="../tags/tag19.xml"/><Relationship Id="rId15" Type="http://schemas.openxmlformats.org/officeDocument/2006/relationships/tags" Target="../tags/tag29.xml"/><Relationship Id="rId23" Type="http://schemas.openxmlformats.org/officeDocument/2006/relationships/chart" Target="../charts/chart5.xml"/><Relationship Id="rId10" Type="http://schemas.openxmlformats.org/officeDocument/2006/relationships/tags" Target="../tags/tag24.xml"/><Relationship Id="rId19" Type="http://schemas.openxmlformats.org/officeDocument/2006/relationships/slideLayout" Target="../slideLayouts/slideLayout7.xml"/><Relationship Id="rId4" Type="http://schemas.openxmlformats.org/officeDocument/2006/relationships/tags" Target="../tags/tag18.xml"/><Relationship Id="rId9" Type="http://schemas.openxmlformats.org/officeDocument/2006/relationships/tags" Target="../tags/tag23.xml"/><Relationship Id="rId14" Type="http://schemas.openxmlformats.org/officeDocument/2006/relationships/tags" Target="../tags/tag28.xml"/><Relationship Id="rId22" Type="http://schemas.openxmlformats.org/officeDocument/2006/relationships/image" Target="../media/image7.emf"/></Relationships>
</file>

<file path=ppt/slides/_rels/slide36.xml.rels><?xml version="1.0" encoding="UTF-8" standalone="yes"?>
<Relationships xmlns="http://schemas.openxmlformats.org/package/2006/relationships"><Relationship Id="rId3" Type="http://schemas.openxmlformats.org/officeDocument/2006/relationships/image" Target="../media/image26.tif"/><Relationship Id="rId2" Type="http://schemas.openxmlformats.org/officeDocument/2006/relationships/notesSlide" Target="../notesSlides/notesSlide21.xml"/><Relationship Id="rId1" Type="http://schemas.openxmlformats.org/officeDocument/2006/relationships/slideLayout" Target="../slideLayouts/slideLayout7.xml"/><Relationship Id="rId4" Type="http://schemas.openxmlformats.org/officeDocument/2006/relationships/image" Target="../media/image27.tif"/></Relationships>
</file>

<file path=ppt/slides/_rels/slide37.xml.rels><?xml version="1.0" encoding="UTF-8" standalone="yes"?>
<Relationships xmlns="http://schemas.openxmlformats.org/package/2006/relationships"><Relationship Id="rId3" Type="http://schemas.openxmlformats.org/officeDocument/2006/relationships/image" Target="../media/image29.tif"/><Relationship Id="rId2" Type="http://schemas.openxmlformats.org/officeDocument/2006/relationships/image" Target="../media/image28.tif"/><Relationship Id="rId1" Type="http://schemas.openxmlformats.org/officeDocument/2006/relationships/slideLayout" Target="../slideLayouts/slideLayout13.xml"/><Relationship Id="rId4" Type="http://schemas.openxmlformats.org/officeDocument/2006/relationships/image" Target="../media/image30.png"/></Relationships>
</file>

<file path=ppt/slides/_rels/slide38.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slideLayout" Target="../slideLayouts/slideLayout7.xml"/><Relationship Id="rId7" Type="http://schemas.openxmlformats.org/officeDocument/2006/relationships/chart" Target="../charts/chart7.xml"/><Relationship Id="rId2" Type="http://schemas.openxmlformats.org/officeDocument/2006/relationships/tags" Target="../tags/tag34.xml"/><Relationship Id="rId1" Type="http://schemas.openxmlformats.org/officeDocument/2006/relationships/tags" Target="../tags/tag33.xml"/><Relationship Id="rId6" Type="http://schemas.openxmlformats.org/officeDocument/2006/relationships/chart" Target="../charts/chart6.xml"/><Relationship Id="rId5" Type="http://schemas.openxmlformats.org/officeDocument/2006/relationships/image" Target="../media/image31.emf"/><Relationship Id="rId4" Type="http://schemas.openxmlformats.org/officeDocument/2006/relationships/oleObject" Target="../embeddings/oleObject9.bin"/></Relationships>
</file>

<file path=ppt/slides/_rels/slide39.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image" Target="../media/image7.emf"/><Relationship Id="rId5" Type="http://schemas.openxmlformats.org/officeDocument/2006/relationships/oleObject" Target="../embeddings/oleObject10.bin"/><Relationship Id="rId4" Type="http://schemas.openxmlformats.org/officeDocument/2006/relationships/notesSlide" Target="../notesSlides/notesSlide22.xml"/></Relationships>
</file>

<file path=ppt/slides/_rels/slide4.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7.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3.xml.rels><?xml version="1.0" encoding="UTF-8" standalone="yes"?>
<Relationships xmlns="http://schemas.openxmlformats.org/package/2006/relationships"><Relationship Id="rId3" Type="http://schemas.openxmlformats.org/officeDocument/2006/relationships/image" Target="../media/image33.tiff"/><Relationship Id="rId2" Type="http://schemas.openxmlformats.org/officeDocument/2006/relationships/notesSlide" Target="../notesSlides/notesSlide24.xml"/><Relationship Id="rId1" Type="http://schemas.openxmlformats.org/officeDocument/2006/relationships/slideLayout" Target="../slideLayouts/slideLayout7.xml"/></Relationships>
</file>

<file path=ppt/slides/_rels/slide44.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25.xml"/><Relationship Id="rId1" Type="http://schemas.openxmlformats.org/officeDocument/2006/relationships/slideLayout" Target="../slideLayouts/slideLayout7.xml"/><Relationship Id="rId4" Type="http://schemas.openxmlformats.org/officeDocument/2006/relationships/image" Target="../media/image35.jpeg"/></Relationships>
</file>

<file path=ppt/slides/_rels/slide45.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notesSlide" Target="../notesSlides/notesSlide26.xml"/><Relationship Id="rId1" Type="http://schemas.openxmlformats.org/officeDocument/2006/relationships/slideLayout" Target="../slideLayouts/slideLayout7.xml"/><Relationship Id="rId4" Type="http://schemas.openxmlformats.org/officeDocument/2006/relationships/image" Target="../media/image36.png"/></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7.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38.xml"/><Relationship Id="rId1" Type="http://schemas.openxmlformats.org/officeDocument/2006/relationships/tags" Target="../tags/tag37.xml"/><Relationship Id="rId6" Type="http://schemas.openxmlformats.org/officeDocument/2006/relationships/image" Target="../media/image37.png"/><Relationship Id="rId5" Type="http://schemas.openxmlformats.org/officeDocument/2006/relationships/image" Target="../media/image7.emf"/><Relationship Id="rId4" Type="http://schemas.openxmlformats.org/officeDocument/2006/relationships/oleObject" Target="../embeddings/oleObject11.bin"/></Relationships>
</file>

<file path=ppt/slides/_rels/slide48.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7.xml"/><Relationship Id="rId1" Type="http://schemas.openxmlformats.org/officeDocument/2006/relationships/tags" Target="../tags/tag39.xml"/><Relationship Id="rId4" Type="http://schemas.openxmlformats.org/officeDocument/2006/relationships/image" Target="../media/image7.emf"/></Relationships>
</file>

<file path=ppt/slides/_rels/slide49.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41.xml"/><Relationship Id="rId1" Type="http://schemas.openxmlformats.org/officeDocument/2006/relationships/tags" Target="../tags/tag40.xml"/><Relationship Id="rId6" Type="http://schemas.openxmlformats.org/officeDocument/2006/relationships/image" Target="../media/image7.emf"/><Relationship Id="rId5" Type="http://schemas.openxmlformats.org/officeDocument/2006/relationships/oleObject" Target="../embeddings/oleObject13.bin"/><Relationship Id="rId4" Type="http://schemas.openxmlformats.org/officeDocument/2006/relationships/notesSlide" Target="../notesSlides/notesSlide27.xml"/></Relationships>
</file>

<file path=ppt/slides/_rels/slide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7.xml"/></Relationships>
</file>

<file path=ppt/slides/_rels/slide50.xml.rels><?xml version="1.0" encoding="UTF-8" standalone="yes"?>
<Relationships xmlns="http://schemas.openxmlformats.org/package/2006/relationships"><Relationship Id="rId3" Type="http://schemas.openxmlformats.org/officeDocument/2006/relationships/slideLayout" Target="../slideLayouts/slideLayout7.xml"/><Relationship Id="rId7" Type="http://schemas.openxmlformats.org/officeDocument/2006/relationships/image" Target="../media/image39.png"/><Relationship Id="rId2" Type="http://schemas.openxmlformats.org/officeDocument/2006/relationships/tags" Target="../tags/tag43.xml"/><Relationship Id="rId1" Type="http://schemas.openxmlformats.org/officeDocument/2006/relationships/tags" Target="../tags/tag42.xml"/><Relationship Id="rId6" Type="http://schemas.openxmlformats.org/officeDocument/2006/relationships/image" Target="../media/image38.png"/><Relationship Id="rId5" Type="http://schemas.openxmlformats.org/officeDocument/2006/relationships/image" Target="../media/image31.emf"/><Relationship Id="rId4" Type="http://schemas.openxmlformats.org/officeDocument/2006/relationships/oleObject" Target="../embeddings/oleObject14.bin"/></Relationships>
</file>

<file path=ppt/slides/_rels/slide51.xml.rels><?xml version="1.0" encoding="UTF-8" standalone="yes"?>
<Relationships xmlns="http://schemas.openxmlformats.org/package/2006/relationships"><Relationship Id="rId2" Type="http://schemas.openxmlformats.org/officeDocument/2006/relationships/chart" Target="../charts/chart8.xml"/><Relationship Id="rId1" Type="http://schemas.openxmlformats.org/officeDocument/2006/relationships/slideLayout" Target="../slideLayouts/slideLayout7.xml"/></Relationships>
</file>

<file path=ppt/slides/_rels/slide52.xml.rels><?xml version="1.0" encoding="UTF-8" standalone="yes"?>
<Relationships xmlns="http://schemas.openxmlformats.org/package/2006/relationships"><Relationship Id="rId8" Type="http://schemas.openxmlformats.org/officeDocument/2006/relationships/hyperlink" Target="https://doi.org/10.1002/ejhf.1312" TargetMode="External"/><Relationship Id="rId3" Type="http://schemas.openxmlformats.org/officeDocument/2006/relationships/slideLayout" Target="../slideLayouts/slideLayout7.xml"/><Relationship Id="rId7" Type="http://schemas.openxmlformats.org/officeDocument/2006/relationships/image" Target="../media/image40.png"/><Relationship Id="rId2" Type="http://schemas.openxmlformats.org/officeDocument/2006/relationships/tags" Target="../tags/tag45.xml"/><Relationship Id="rId1" Type="http://schemas.openxmlformats.org/officeDocument/2006/relationships/tags" Target="../tags/tag44.xml"/><Relationship Id="rId6" Type="http://schemas.openxmlformats.org/officeDocument/2006/relationships/chart" Target="../charts/chart9.xml"/><Relationship Id="rId5" Type="http://schemas.openxmlformats.org/officeDocument/2006/relationships/image" Target="../media/image7.emf"/><Relationship Id="rId4" Type="http://schemas.openxmlformats.org/officeDocument/2006/relationships/oleObject" Target="../embeddings/oleObject15.bin"/><Relationship Id="rId9" Type="http://schemas.openxmlformats.org/officeDocument/2006/relationships/image" Target="../media/image41.png"/></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7.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97A201-19D3-4A49-B1F7-A49EC53C920B}"/>
              </a:ext>
            </a:extLst>
          </p:cNvPr>
          <p:cNvSpPr>
            <a:spLocks noGrp="1"/>
          </p:cNvSpPr>
          <p:nvPr>
            <p:ph type="ctrTitle"/>
          </p:nvPr>
        </p:nvSpPr>
        <p:spPr>
          <a:xfrm>
            <a:off x="1066800" y="398479"/>
            <a:ext cx="10058400" cy="3566160"/>
          </a:xfrm>
        </p:spPr>
        <p:txBody>
          <a:bodyPr>
            <a:normAutofit/>
          </a:bodyPr>
          <a:lstStyle/>
          <a:p>
            <a:pPr algn="ctr"/>
            <a:r>
              <a:rPr lang="en-US" sz="6600" b="1" dirty="0">
                <a:solidFill>
                  <a:schemeClr val="accent2"/>
                </a:solidFill>
              </a:rPr>
              <a:t>Central Sleep Apnea and Cardiovascular Disease</a:t>
            </a:r>
          </a:p>
        </p:txBody>
      </p:sp>
      <p:sp>
        <p:nvSpPr>
          <p:cNvPr id="3" name="Subtitle 2">
            <a:extLst>
              <a:ext uri="{FF2B5EF4-FFF2-40B4-BE49-F238E27FC236}">
                <a16:creationId xmlns:a16="http://schemas.microsoft.com/office/drawing/2014/main" id="{2594532D-1032-4F94-B207-EE0E4675788F}"/>
              </a:ext>
            </a:extLst>
          </p:cNvPr>
          <p:cNvSpPr>
            <a:spLocks noGrp="1"/>
          </p:cNvSpPr>
          <p:nvPr>
            <p:ph type="subTitle" idx="1"/>
          </p:nvPr>
        </p:nvSpPr>
        <p:spPr>
          <a:xfrm>
            <a:off x="1524000" y="4487368"/>
            <a:ext cx="9144000" cy="1655762"/>
          </a:xfrm>
        </p:spPr>
        <p:txBody>
          <a:bodyPr/>
          <a:lstStyle/>
          <a:p>
            <a:r>
              <a:rPr lang="en-US" dirty="0"/>
              <a:t>Speaker</a:t>
            </a:r>
          </a:p>
          <a:p>
            <a:r>
              <a:rPr lang="en-US" dirty="0"/>
              <a:t>Institution</a:t>
            </a:r>
          </a:p>
          <a:p>
            <a:r>
              <a:rPr lang="en-US" dirty="0"/>
              <a:t>Date</a:t>
            </a:r>
          </a:p>
        </p:txBody>
      </p:sp>
      <p:sp>
        <p:nvSpPr>
          <p:cNvPr id="5" name="Slide Number Placeholder 4">
            <a:extLst>
              <a:ext uri="{FF2B5EF4-FFF2-40B4-BE49-F238E27FC236}">
                <a16:creationId xmlns:a16="http://schemas.microsoft.com/office/drawing/2014/main" id="{F81FD1ED-7AD0-EC7D-A27E-145823DCB6B3}"/>
              </a:ext>
            </a:extLst>
          </p:cNvPr>
          <p:cNvSpPr>
            <a:spLocks noGrp="1"/>
          </p:cNvSpPr>
          <p:nvPr>
            <p:ph type="sldNum" sz="quarter" idx="12"/>
          </p:nvPr>
        </p:nvSpPr>
        <p:spPr/>
        <p:txBody>
          <a:bodyPr/>
          <a:lstStyle/>
          <a:p>
            <a:fld id="{21D51F98-DEF0-4E23-AE94-24E7CFC19B28}" type="slidenum">
              <a:rPr lang="en-US" smtClean="0"/>
              <a:t>1</a:t>
            </a:fld>
            <a:endParaRPr lang="en-US" dirty="0"/>
          </a:p>
        </p:txBody>
      </p:sp>
      <p:sp>
        <p:nvSpPr>
          <p:cNvPr id="4" name="Footer Placeholder 5">
            <a:extLst>
              <a:ext uri="{FF2B5EF4-FFF2-40B4-BE49-F238E27FC236}">
                <a16:creationId xmlns:a16="http://schemas.microsoft.com/office/drawing/2014/main" id="{D38B5AF5-14C7-03F2-DC4E-F468AEEAC854}"/>
              </a:ext>
            </a:extLst>
          </p:cNvPr>
          <p:cNvSpPr>
            <a:spLocks noGrp="1"/>
          </p:cNvSpPr>
          <p:nvPr>
            <p:ph type="ftr" sz="quarter" idx="11"/>
          </p:nvPr>
        </p:nvSpPr>
        <p:spPr>
          <a:xfrm>
            <a:off x="3684598" y="6459785"/>
            <a:ext cx="4822804" cy="365125"/>
          </a:xfrm>
        </p:spPr>
        <p:txBody>
          <a:bodyPr/>
          <a:lstStyle/>
          <a:p>
            <a:r>
              <a:rPr lang="en-US" dirty="0"/>
              <a:t>MAF1937 Rev E</a:t>
            </a:r>
          </a:p>
        </p:txBody>
      </p:sp>
    </p:spTree>
    <p:extLst>
      <p:ext uri="{BB962C8B-B14F-4D97-AF65-F5344CB8AC3E}">
        <p14:creationId xmlns:p14="http://schemas.microsoft.com/office/powerpoint/2010/main" val="315245719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A1944F-8456-62BC-2355-26F813049EC3}"/>
              </a:ext>
            </a:extLst>
          </p:cNvPr>
          <p:cNvSpPr>
            <a:spLocks noGrp="1"/>
          </p:cNvSpPr>
          <p:nvPr>
            <p:ph type="title"/>
          </p:nvPr>
        </p:nvSpPr>
        <p:spPr>
          <a:xfrm>
            <a:off x="435912" y="188485"/>
            <a:ext cx="10776571" cy="698818"/>
          </a:xfrm>
        </p:spPr>
        <p:txBody>
          <a:bodyPr>
            <a:normAutofit fontScale="90000"/>
          </a:bodyPr>
          <a:lstStyle/>
          <a:p>
            <a:r>
              <a:rPr lang="en-US" sz="3600" b="1" dirty="0">
                <a:solidFill>
                  <a:schemeClr val="accent2"/>
                </a:solidFill>
                <a:latin typeface="+mn-lt"/>
              </a:rPr>
              <a:t>Recommendations for Screening for Obstructive Sleep Apnea</a:t>
            </a:r>
          </a:p>
        </p:txBody>
      </p:sp>
      <p:graphicFrame>
        <p:nvGraphicFramePr>
          <p:cNvPr id="4" name="Table 4">
            <a:extLst>
              <a:ext uri="{FF2B5EF4-FFF2-40B4-BE49-F238E27FC236}">
                <a16:creationId xmlns:a16="http://schemas.microsoft.com/office/drawing/2014/main" id="{955AFB34-B9F1-4011-05A6-438BE22E76AC}"/>
              </a:ext>
            </a:extLst>
          </p:cNvPr>
          <p:cNvGraphicFramePr>
            <a:graphicFrameLocks noGrp="1"/>
          </p:cNvGraphicFramePr>
          <p:nvPr>
            <p:ph idx="1"/>
            <p:extLst>
              <p:ext uri="{D42A27DB-BD31-4B8C-83A1-F6EECF244321}">
                <p14:modId xmlns:p14="http://schemas.microsoft.com/office/powerpoint/2010/main" val="890762542"/>
              </p:ext>
            </p:extLst>
          </p:nvPr>
        </p:nvGraphicFramePr>
        <p:xfrm>
          <a:off x="589837" y="1358786"/>
          <a:ext cx="10776572" cy="4472767"/>
        </p:xfrm>
        <a:graphic>
          <a:graphicData uri="http://schemas.openxmlformats.org/drawingml/2006/table">
            <a:tbl>
              <a:tblPr firstRow="1" bandRow="1">
                <a:tableStyleId>{21E4AEA4-8DFA-4A89-87EB-49C32662AFE0}</a:tableStyleId>
              </a:tblPr>
              <a:tblGrid>
                <a:gridCol w="5388286">
                  <a:extLst>
                    <a:ext uri="{9D8B030D-6E8A-4147-A177-3AD203B41FA5}">
                      <a16:colId xmlns:a16="http://schemas.microsoft.com/office/drawing/2014/main" val="3811344461"/>
                    </a:ext>
                  </a:extLst>
                </a:gridCol>
                <a:gridCol w="5388286">
                  <a:extLst>
                    <a:ext uri="{9D8B030D-6E8A-4147-A177-3AD203B41FA5}">
                      <a16:colId xmlns:a16="http://schemas.microsoft.com/office/drawing/2014/main" val="1131177129"/>
                    </a:ext>
                  </a:extLst>
                </a:gridCol>
              </a:tblGrid>
              <a:tr h="940531">
                <a:tc>
                  <a:txBody>
                    <a:bodyPr/>
                    <a:lstStyle/>
                    <a:p>
                      <a:pPr algn="ctr"/>
                      <a:r>
                        <a:rPr lang="en-US" sz="2200" dirty="0"/>
                        <a:t>Screen for OSA</a:t>
                      </a:r>
                    </a:p>
                  </a:txBody>
                  <a:tcPr/>
                </a:tc>
                <a:tc>
                  <a:txBody>
                    <a:bodyPr/>
                    <a:lstStyle/>
                    <a:p>
                      <a:pPr algn="ctr"/>
                      <a:r>
                        <a:rPr lang="en-US" sz="2200" dirty="0"/>
                        <a:t>Consider sleep study if concerning signs/symptoms of sleep apnea are present</a:t>
                      </a:r>
                    </a:p>
                  </a:txBody>
                  <a:tcPr/>
                </a:tc>
                <a:extLst>
                  <a:ext uri="{0D108BD9-81ED-4DB2-BD59-A6C34878D82A}">
                    <a16:rowId xmlns:a16="http://schemas.microsoft.com/office/drawing/2014/main" val="1638457400"/>
                  </a:ext>
                </a:extLst>
              </a:tr>
              <a:tr h="550216">
                <a:tc>
                  <a:txBody>
                    <a:bodyPr/>
                    <a:lstStyle/>
                    <a:p>
                      <a:r>
                        <a:rPr lang="en-US" sz="2200" dirty="0"/>
                        <a:t>Resistant/poorly controlled hypertension</a:t>
                      </a:r>
                    </a:p>
                  </a:txBody>
                  <a:tcPr/>
                </a:tc>
                <a:tc>
                  <a:txBody>
                    <a:bodyPr/>
                    <a:lstStyle/>
                    <a:p>
                      <a:r>
                        <a:rPr lang="en-US" sz="2200" dirty="0"/>
                        <a:t>NYHA class II – IV HF symptoms</a:t>
                      </a:r>
                    </a:p>
                  </a:txBody>
                  <a:tcPr/>
                </a:tc>
                <a:extLst>
                  <a:ext uri="{0D108BD9-81ED-4DB2-BD59-A6C34878D82A}">
                    <a16:rowId xmlns:a16="http://schemas.microsoft.com/office/drawing/2014/main" val="2637602151"/>
                  </a:ext>
                </a:extLst>
              </a:tr>
              <a:tr h="805452">
                <a:tc>
                  <a:txBody>
                    <a:bodyPr/>
                    <a:lstStyle/>
                    <a:p>
                      <a:r>
                        <a:rPr lang="en-US" sz="2200" dirty="0"/>
                        <a:t>Pulmonary hypertension</a:t>
                      </a:r>
                    </a:p>
                  </a:txBody>
                  <a:tcPr/>
                </a:tc>
                <a:tc>
                  <a:txBody>
                    <a:bodyPr/>
                    <a:lstStyle/>
                    <a:p>
                      <a:r>
                        <a:rPr lang="en-US" sz="2200" dirty="0"/>
                        <a:t>Tachy-brady syndrome</a:t>
                      </a:r>
                    </a:p>
                  </a:txBody>
                  <a:tcPr/>
                </a:tc>
                <a:extLst>
                  <a:ext uri="{0D108BD9-81ED-4DB2-BD59-A6C34878D82A}">
                    <a16:rowId xmlns:a16="http://schemas.microsoft.com/office/drawing/2014/main" val="469005096"/>
                  </a:ext>
                </a:extLst>
              </a:tr>
              <a:tr h="896408">
                <a:tc>
                  <a:txBody>
                    <a:bodyPr/>
                    <a:lstStyle/>
                    <a:p>
                      <a:r>
                        <a:rPr lang="en-US" sz="2200" dirty="0"/>
                        <a:t>Recurrent atrial fibrillation </a:t>
                      </a:r>
                    </a:p>
                    <a:p>
                      <a:r>
                        <a:rPr lang="en-US" sz="2200" dirty="0"/>
                        <a:t>(after either cardioversion or ablation)</a:t>
                      </a:r>
                    </a:p>
                  </a:txBody>
                  <a:tcPr/>
                </a:tc>
                <a:tc>
                  <a:txBody>
                    <a:bodyPr/>
                    <a:lstStyle/>
                    <a:p>
                      <a:r>
                        <a:rPr lang="en-US" sz="2200" dirty="0"/>
                        <a:t>Sick sinus syndrome</a:t>
                      </a:r>
                    </a:p>
                  </a:txBody>
                  <a:tcPr/>
                </a:tc>
                <a:extLst>
                  <a:ext uri="{0D108BD9-81ED-4DB2-BD59-A6C34878D82A}">
                    <a16:rowId xmlns:a16="http://schemas.microsoft.com/office/drawing/2014/main" val="1958035485"/>
                  </a:ext>
                </a:extLst>
              </a:tr>
              <a:tr h="424340">
                <a:tc rowSpan="3">
                  <a:txBody>
                    <a:bodyPr/>
                    <a:lstStyle/>
                    <a:p>
                      <a:endParaRPr lang="en-US" sz="2200" dirty="0"/>
                    </a:p>
                  </a:txBody>
                  <a:tcPr/>
                </a:tc>
                <a:tc>
                  <a:txBody>
                    <a:bodyPr/>
                    <a:lstStyle/>
                    <a:p>
                      <a:r>
                        <a:rPr lang="en-US" sz="2200" dirty="0"/>
                        <a:t>Ventricular tachycardia</a:t>
                      </a:r>
                    </a:p>
                  </a:txBody>
                  <a:tcPr/>
                </a:tc>
                <a:extLst>
                  <a:ext uri="{0D108BD9-81ED-4DB2-BD59-A6C34878D82A}">
                    <a16:rowId xmlns:a16="http://schemas.microsoft.com/office/drawing/2014/main" val="1610023872"/>
                  </a:ext>
                </a:extLst>
              </a:tr>
              <a:tr h="424340">
                <a:tc vMerge="1">
                  <a:txBody>
                    <a:bodyPr/>
                    <a:lstStyle/>
                    <a:p>
                      <a:endParaRPr lang="en-US"/>
                    </a:p>
                  </a:txBody>
                  <a:tcPr/>
                </a:tc>
                <a:tc>
                  <a:txBody>
                    <a:bodyPr/>
                    <a:lstStyle/>
                    <a:p>
                      <a:r>
                        <a:rPr lang="en-US" sz="2200" dirty="0"/>
                        <a:t>Survivors of sudden cardiac death</a:t>
                      </a:r>
                    </a:p>
                  </a:txBody>
                  <a:tcPr/>
                </a:tc>
                <a:extLst>
                  <a:ext uri="{0D108BD9-81ED-4DB2-BD59-A6C34878D82A}">
                    <a16:rowId xmlns:a16="http://schemas.microsoft.com/office/drawing/2014/main" val="4152535370"/>
                  </a:ext>
                </a:extLst>
              </a:tr>
              <a:tr h="424340">
                <a:tc vMerge="1">
                  <a:txBody>
                    <a:bodyPr/>
                    <a:lstStyle/>
                    <a:p>
                      <a:endParaRPr lang="en-US"/>
                    </a:p>
                  </a:txBody>
                  <a:tcPr/>
                </a:tc>
                <a:tc>
                  <a:txBody>
                    <a:bodyPr/>
                    <a:lstStyle/>
                    <a:p>
                      <a:r>
                        <a:rPr lang="en-US" sz="2200" dirty="0"/>
                        <a:t>Stroke</a:t>
                      </a:r>
                    </a:p>
                  </a:txBody>
                  <a:tcPr/>
                </a:tc>
                <a:extLst>
                  <a:ext uri="{0D108BD9-81ED-4DB2-BD59-A6C34878D82A}">
                    <a16:rowId xmlns:a16="http://schemas.microsoft.com/office/drawing/2014/main" val="2107194007"/>
                  </a:ext>
                </a:extLst>
              </a:tr>
            </a:tbl>
          </a:graphicData>
        </a:graphic>
      </p:graphicFrame>
      <p:sp>
        <p:nvSpPr>
          <p:cNvPr id="5" name="Slide Number Placeholder 4">
            <a:extLst>
              <a:ext uri="{FF2B5EF4-FFF2-40B4-BE49-F238E27FC236}">
                <a16:creationId xmlns:a16="http://schemas.microsoft.com/office/drawing/2014/main" id="{F78D02A5-1920-E71B-34BA-C392E9FFB89F}"/>
              </a:ext>
            </a:extLst>
          </p:cNvPr>
          <p:cNvSpPr>
            <a:spLocks noGrp="1"/>
          </p:cNvSpPr>
          <p:nvPr>
            <p:ph type="sldNum" sz="quarter" idx="12"/>
          </p:nvPr>
        </p:nvSpPr>
        <p:spPr/>
        <p:txBody>
          <a:bodyPr/>
          <a:lstStyle/>
          <a:p>
            <a:fld id="{21D51F98-DEF0-4E23-AE94-24E7CFC19B28}" type="slidenum">
              <a:rPr lang="en-US" smtClean="0"/>
              <a:t>10</a:t>
            </a:fld>
            <a:endParaRPr lang="en-US"/>
          </a:p>
        </p:txBody>
      </p:sp>
      <p:sp>
        <p:nvSpPr>
          <p:cNvPr id="7" name="TextBox 6">
            <a:extLst>
              <a:ext uri="{FF2B5EF4-FFF2-40B4-BE49-F238E27FC236}">
                <a16:creationId xmlns:a16="http://schemas.microsoft.com/office/drawing/2014/main" id="{06DB7C57-0FF4-66B9-B3C6-A1FBC352DC5C}"/>
              </a:ext>
            </a:extLst>
          </p:cNvPr>
          <p:cNvSpPr txBox="1"/>
          <p:nvPr/>
        </p:nvSpPr>
        <p:spPr>
          <a:xfrm>
            <a:off x="191758" y="6053130"/>
            <a:ext cx="7239000" cy="276999"/>
          </a:xfrm>
          <a:prstGeom prst="rect">
            <a:avLst/>
          </a:prstGeom>
          <a:noFill/>
        </p:spPr>
        <p:txBody>
          <a:bodyPr wrap="square" rtlCol="0">
            <a:spAutoFit/>
          </a:bodyPr>
          <a:lstStyle/>
          <a:p>
            <a:pPr algn="l"/>
            <a:r>
              <a:rPr lang="en-US" sz="1200" dirty="0">
                <a:latin typeface="+mj-lt"/>
              </a:rPr>
              <a:t>Adapted from AHA Scientific Statement OSA and CVD 2021</a:t>
            </a:r>
          </a:p>
        </p:txBody>
      </p:sp>
      <p:sp>
        <p:nvSpPr>
          <p:cNvPr id="8" name="Footer Placeholder 5">
            <a:extLst>
              <a:ext uri="{FF2B5EF4-FFF2-40B4-BE49-F238E27FC236}">
                <a16:creationId xmlns:a16="http://schemas.microsoft.com/office/drawing/2014/main" id="{BD9C0234-B4DB-B33D-3852-2CB97D92A361}"/>
              </a:ext>
            </a:extLst>
          </p:cNvPr>
          <p:cNvSpPr>
            <a:spLocks noGrp="1"/>
          </p:cNvSpPr>
          <p:nvPr>
            <p:ph type="ftr" sz="quarter" idx="11"/>
          </p:nvPr>
        </p:nvSpPr>
        <p:spPr>
          <a:xfrm>
            <a:off x="3684598" y="6459785"/>
            <a:ext cx="4822804" cy="365125"/>
          </a:xfrm>
        </p:spPr>
        <p:txBody>
          <a:bodyPr/>
          <a:lstStyle/>
          <a:p>
            <a:r>
              <a:rPr lang="en-US" dirty="0"/>
              <a:t>MAF1937 Rev E</a:t>
            </a:r>
          </a:p>
        </p:txBody>
      </p:sp>
    </p:spTree>
    <p:extLst>
      <p:ext uri="{BB962C8B-B14F-4D97-AF65-F5344CB8AC3E}">
        <p14:creationId xmlns:p14="http://schemas.microsoft.com/office/powerpoint/2010/main" val="208871246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idx="4294967295"/>
          </p:nvPr>
        </p:nvSpPr>
        <p:spPr>
          <a:xfrm>
            <a:off x="573088" y="244475"/>
            <a:ext cx="11618912" cy="828675"/>
          </a:xfrm>
        </p:spPr>
        <p:txBody>
          <a:bodyPr>
            <a:normAutofit/>
          </a:bodyPr>
          <a:lstStyle/>
          <a:p>
            <a:r>
              <a:rPr lang="en-US" sz="4000" b="1" dirty="0">
                <a:solidFill>
                  <a:schemeClr val="accent2"/>
                </a:solidFill>
                <a:latin typeface="+mn-lt"/>
              </a:rPr>
              <a:t>Agenda</a:t>
            </a:r>
          </a:p>
        </p:txBody>
      </p:sp>
      <p:sp>
        <p:nvSpPr>
          <p:cNvPr id="6" name="Content Placeholder 5"/>
          <p:cNvSpPr>
            <a:spLocks noGrp="1"/>
          </p:cNvSpPr>
          <p:nvPr>
            <p:ph sz="quarter" idx="4294967295"/>
          </p:nvPr>
        </p:nvSpPr>
        <p:spPr>
          <a:xfrm>
            <a:off x="573088" y="1822450"/>
            <a:ext cx="11618912" cy="3911600"/>
          </a:xfrm>
        </p:spPr>
        <p:txBody>
          <a:bodyPr/>
          <a:lstStyle/>
          <a:p>
            <a:pPr>
              <a:spcBef>
                <a:spcPts val="3600"/>
              </a:spcBef>
            </a:pPr>
            <a:r>
              <a:rPr lang="en-US" dirty="0"/>
              <a:t>Sleep Apnea and Cardiovascular Disease</a:t>
            </a:r>
          </a:p>
          <a:p>
            <a:pPr>
              <a:spcBef>
                <a:spcPts val="3600"/>
              </a:spcBef>
            </a:pPr>
            <a:r>
              <a:rPr lang="en-US" b="1" dirty="0"/>
              <a:t>Central Sleep Apnea Background</a:t>
            </a:r>
          </a:p>
          <a:p>
            <a:pPr>
              <a:spcBef>
                <a:spcPts val="3600"/>
              </a:spcBef>
            </a:pPr>
            <a:r>
              <a:rPr lang="en-US" dirty="0"/>
              <a:t>The </a:t>
            </a:r>
            <a:r>
              <a:rPr lang="en-US" b="1" dirty="0" err="1"/>
              <a:t>rem</a:t>
            </a:r>
            <a:r>
              <a:rPr lang="en-US" dirty="0" err="1"/>
              <a:t>edē</a:t>
            </a:r>
            <a:r>
              <a:rPr lang="en-US" dirty="0"/>
              <a:t>® System Therapy</a:t>
            </a:r>
          </a:p>
          <a:p>
            <a:pPr>
              <a:spcBef>
                <a:spcPts val="3600"/>
              </a:spcBef>
            </a:pPr>
            <a:r>
              <a:rPr lang="en-US" dirty="0"/>
              <a:t>Clinical Results</a:t>
            </a:r>
          </a:p>
          <a:p>
            <a:pPr marL="0" indent="0">
              <a:spcBef>
                <a:spcPts val="3600"/>
              </a:spcBef>
              <a:buNone/>
            </a:pPr>
            <a:endParaRPr lang="en-US" dirty="0"/>
          </a:p>
        </p:txBody>
      </p:sp>
      <p:sp>
        <p:nvSpPr>
          <p:cNvPr id="8" name="Rounded Rectangle 7"/>
          <p:cNvSpPr/>
          <p:nvPr/>
        </p:nvSpPr>
        <p:spPr>
          <a:xfrm>
            <a:off x="468313" y="2390008"/>
            <a:ext cx="5212627" cy="731520"/>
          </a:xfrm>
          <a:prstGeom prst="roundRect">
            <a:avLst/>
          </a:prstGeom>
          <a:solidFill>
            <a:schemeClr val="tx2">
              <a:lumMod val="20000"/>
              <a:lumOff val="80000"/>
              <a:alpha val="3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3" name="Slide Number Placeholder 2">
            <a:extLst>
              <a:ext uri="{FF2B5EF4-FFF2-40B4-BE49-F238E27FC236}">
                <a16:creationId xmlns:a16="http://schemas.microsoft.com/office/drawing/2014/main" id="{2A7B4322-3294-A13C-FFDB-755DDEABA599}"/>
              </a:ext>
            </a:extLst>
          </p:cNvPr>
          <p:cNvSpPr>
            <a:spLocks noGrp="1"/>
          </p:cNvSpPr>
          <p:nvPr>
            <p:ph type="sldNum" sz="quarter" idx="12"/>
          </p:nvPr>
        </p:nvSpPr>
        <p:spPr/>
        <p:txBody>
          <a:bodyPr/>
          <a:lstStyle/>
          <a:p>
            <a:fld id="{21D51F98-DEF0-4E23-AE94-24E7CFC19B28}" type="slidenum">
              <a:rPr lang="en-US" smtClean="0"/>
              <a:t>11</a:t>
            </a:fld>
            <a:endParaRPr lang="en-US"/>
          </a:p>
        </p:txBody>
      </p:sp>
      <p:sp>
        <p:nvSpPr>
          <p:cNvPr id="7" name="Footer Placeholder 5">
            <a:extLst>
              <a:ext uri="{FF2B5EF4-FFF2-40B4-BE49-F238E27FC236}">
                <a16:creationId xmlns:a16="http://schemas.microsoft.com/office/drawing/2014/main" id="{140AFFF1-DDAA-7FF1-228F-B38B702D3A6D}"/>
              </a:ext>
            </a:extLst>
          </p:cNvPr>
          <p:cNvSpPr>
            <a:spLocks noGrp="1"/>
          </p:cNvSpPr>
          <p:nvPr>
            <p:ph type="ftr" sz="quarter" idx="11"/>
          </p:nvPr>
        </p:nvSpPr>
        <p:spPr>
          <a:xfrm>
            <a:off x="3684598" y="6459785"/>
            <a:ext cx="4822804" cy="365125"/>
          </a:xfrm>
        </p:spPr>
        <p:txBody>
          <a:bodyPr/>
          <a:lstStyle/>
          <a:p>
            <a:r>
              <a:rPr lang="en-US" dirty="0"/>
              <a:t>MAF1937 Rev E</a:t>
            </a:r>
          </a:p>
        </p:txBody>
      </p:sp>
    </p:spTree>
    <p:extLst>
      <p:ext uri="{BB962C8B-B14F-4D97-AF65-F5344CB8AC3E}">
        <p14:creationId xmlns:p14="http://schemas.microsoft.com/office/powerpoint/2010/main" val="214599729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idx="4294967295"/>
          </p:nvPr>
        </p:nvSpPr>
        <p:spPr>
          <a:xfrm>
            <a:off x="417250" y="941615"/>
            <a:ext cx="10871200" cy="4724400"/>
          </a:xfrm>
        </p:spPr>
        <p:txBody>
          <a:bodyPr>
            <a:normAutofit/>
          </a:bodyPr>
          <a:lstStyle/>
          <a:p>
            <a:pPr marL="342900" indent="-342900">
              <a:buClr>
                <a:srgbClr val="003F4C"/>
              </a:buClr>
              <a:buFont typeface="Arial" panose="020B0604020202020204" pitchFamily="34" charset="0"/>
              <a:buChar char="•"/>
            </a:pPr>
            <a:r>
              <a:rPr lang="en-US" sz="2400" dirty="0">
                <a:solidFill>
                  <a:schemeClr val="tx1"/>
                </a:solidFill>
              </a:rPr>
              <a:t>Central sleep apnea results from an </a:t>
            </a:r>
            <a:r>
              <a:rPr lang="en-US" sz="2400" b="1" i="1" dirty="0">
                <a:solidFill>
                  <a:schemeClr val="accent2"/>
                </a:solidFill>
              </a:rPr>
              <a:t>intermittent neural drive </a:t>
            </a:r>
            <a:r>
              <a:rPr lang="en-US" sz="2400" dirty="0">
                <a:solidFill>
                  <a:schemeClr val="tx1"/>
                </a:solidFill>
              </a:rPr>
              <a:t>to breathe</a:t>
            </a:r>
          </a:p>
          <a:p>
            <a:pPr marL="342900" indent="-342900">
              <a:buClr>
                <a:srgbClr val="003F4C"/>
              </a:buClr>
              <a:buFont typeface="Arial" panose="020B0604020202020204" pitchFamily="34" charset="0"/>
              <a:buChar char="•"/>
            </a:pPr>
            <a:r>
              <a:rPr lang="en-US" sz="2400" dirty="0">
                <a:solidFill>
                  <a:schemeClr val="tx1">
                    <a:lumMod val="75000"/>
                  </a:schemeClr>
                </a:solidFill>
              </a:rPr>
              <a:t>Patients with co-morbidities </a:t>
            </a:r>
            <a:r>
              <a:rPr lang="en-US" sz="2400" dirty="0">
                <a:solidFill>
                  <a:schemeClr val="tx1"/>
                </a:solidFill>
              </a:rPr>
              <a:t>such as heart failure, atrial fibrillation and renal disease are at </a:t>
            </a:r>
            <a:r>
              <a:rPr lang="en-US" sz="2400" b="1" i="1" dirty="0">
                <a:solidFill>
                  <a:schemeClr val="accent2"/>
                </a:solidFill>
              </a:rPr>
              <a:t>increased risk </a:t>
            </a:r>
            <a:r>
              <a:rPr lang="en-US" sz="2400" dirty="0">
                <a:solidFill>
                  <a:schemeClr val="tx1"/>
                </a:solidFill>
              </a:rPr>
              <a:t>for CSA</a:t>
            </a:r>
          </a:p>
        </p:txBody>
      </p:sp>
      <p:sp>
        <p:nvSpPr>
          <p:cNvPr id="3" name="Title 2"/>
          <p:cNvSpPr>
            <a:spLocks noGrp="1"/>
          </p:cNvSpPr>
          <p:nvPr>
            <p:ph type="title" idx="4294967295"/>
          </p:nvPr>
        </p:nvSpPr>
        <p:spPr>
          <a:xfrm>
            <a:off x="315650" y="78794"/>
            <a:ext cx="10972800" cy="762000"/>
          </a:xfrm>
        </p:spPr>
        <p:txBody>
          <a:bodyPr>
            <a:normAutofit/>
          </a:bodyPr>
          <a:lstStyle/>
          <a:p>
            <a:r>
              <a:rPr lang="en-US" sz="3600" b="1" dirty="0">
                <a:solidFill>
                  <a:schemeClr val="accent2"/>
                </a:solidFill>
                <a:latin typeface="+mn-lt"/>
              </a:rPr>
              <a:t>Central Sleep Apnea </a:t>
            </a:r>
          </a:p>
        </p:txBody>
      </p:sp>
      <p:pic>
        <p:nvPicPr>
          <p:cNvPr id="8" name="Picture 7">
            <a:extLst>
              <a:ext uri="{FF2B5EF4-FFF2-40B4-BE49-F238E27FC236}">
                <a16:creationId xmlns:a16="http://schemas.microsoft.com/office/drawing/2014/main" id="{310C9A22-768E-408C-AF0F-954BF255CE39}"/>
              </a:ext>
            </a:extLst>
          </p:cNvPr>
          <p:cNvPicPr>
            <a:picLocks noChangeAspect="1"/>
          </p:cNvPicPr>
          <p:nvPr/>
        </p:nvPicPr>
        <p:blipFill rotWithShape="1">
          <a:blip r:embed="rId3"/>
          <a:srcRect t="1410"/>
          <a:stretch/>
        </p:blipFill>
        <p:spPr>
          <a:xfrm>
            <a:off x="1251004" y="2263806"/>
            <a:ext cx="9689991" cy="3878927"/>
          </a:xfrm>
          <a:prstGeom prst="rect">
            <a:avLst/>
          </a:prstGeom>
        </p:spPr>
      </p:pic>
      <p:sp>
        <p:nvSpPr>
          <p:cNvPr id="22" name="Rectangle 21"/>
          <p:cNvSpPr/>
          <p:nvPr/>
        </p:nvSpPr>
        <p:spPr>
          <a:xfrm>
            <a:off x="129886" y="6085815"/>
            <a:ext cx="4119777" cy="246221"/>
          </a:xfrm>
          <a:prstGeom prst="rect">
            <a:avLst/>
          </a:prstGeom>
        </p:spPr>
        <p:txBody>
          <a:bodyPr wrap="square">
            <a:spAutoFit/>
          </a:bodyPr>
          <a:lstStyle/>
          <a:p>
            <a:pPr lvl="0"/>
            <a:r>
              <a:rPr lang="en-US" sz="1000" dirty="0"/>
              <a:t>Costanzo, et al. J Am Coll </a:t>
            </a:r>
            <a:r>
              <a:rPr lang="en-US" sz="1000" dirty="0" err="1"/>
              <a:t>Cardiol</a:t>
            </a:r>
            <a:r>
              <a:rPr lang="en-US" sz="1000" dirty="0"/>
              <a:t> 2015;65:72–84.</a:t>
            </a:r>
          </a:p>
        </p:txBody>
      </p:sp>
      <p:sp>
        <p:nvSpPr>
          <p:cNvPr id="4" name="Slide Number Placeholder 3">
            <a:extLst>
              <a:ext uri="{FF2B5EF4-FFF2-40B4-BE49-F238E27FC236}">
                <a16:creationId xmlns:a16="http://schemas.microsoft.com/office/drawing/2014/main" id="{933280FC-A1C4-F90E-C870-EACEDDFF8E73}"/>
              </a:ext>
            </a:extLst>
          </p:cNvPr>
          <p:cNvSpPr>
            <a:spLocks noGrp="1"/>
          </p:cNvSpPr>
          <p:nvPr>
            <p:ph type="sldNum" sz="quarter" idx="12"/>
          </p:nvPr>
        </p:nvSpPr>
        <p:spPr/>
        <p:txBody>
          <a:bodyPr/>
          <a:lstStyle/>
          <a:p>
            <a:fld id="{21D51F98-DEF0-4E23-AE94-24E7CFC19B28}" type="slidenum">
              <a:rPr lang="en-US" smtClean="0"/>
              <a:t>12</a:t>
            </a:fld>
            <a:endParaRPr lang="en-US"/>
          </a:p>
        </p:txBody>
      </p:sp>
      <p:sp>
        <p:nvSpPr>
          <p:cNvPr id="6" name="Footer Placeholder 5">
            <a:extLst>
              <a:ext uri="{FF2B5EF4-FFF2-40B4-BE49-F238E27FC236}">
                <a16:creationId xmlns:a16="http://schemas.microsoft.com/office/drawing/2014/main" id="{FDDA2898-53EB-7C3C-F51E-7D8C7B3100FB}"/>
              </a:ext>
            </a:extLst>
          </p:cNvPr>
          <p:cNvSpPr>
            <a:spLocks noGrp="1"/>
          </p:cNvSpPr>
          <p:nvPr>
            <p:ph type="ftr" sz="quarter" idx="11"/>
          </p:nvPr>
        </p:nvSpPr>
        <p:spPr>
          <a:xfrm>
            <a:off x="3684598" y="6459785"/>
            <a:ext cx="4822804" cy="365125"/>
          </a:xfrm>
        </p:spPr>
        <p:txBody>
          <a:bodyPr/>
          <a:lstStyle/>
          <a:p>
            <a:r>
              <a:rPr lang="en-US" dirty="0"/>
              <a:t>MAF1937 Rev E</a:t>
            </a:r>
          </a:p>
        </p:txBody>
      </p:sp>
    </p:spTree>
    <p:extLst>
      <p:ext uri="{BB962C8B-B14F-4D97-AF65-F5344CB8AC3E}">
        <p14:creationId xmlns:p14="http://schemas.microsoft.com/office/powerpoint/2010/main" val="390860921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p:cNvSpPr>
            <a:spLocks noGrp="1"/>
          </p:cNvSpPr>
          <p:nvPr>
            <p:ph type="body" sz="quarter" idx="4294967295"/>
          </p:nvPr>
        </p:nvSpPr>
        <p:spPr>
          <a:xfrm>
            <a:off x="415315" y="1442672"/>
            <a:ext cx="5711825" cy="4155796"/>
          </a:xfrm>
        </p:spPr>
        <p:txBody>
          <a:bodyPr>
            <a:normAutofit/>
          </a:bodyPr>
          <a:lstStyle/>
          <a:p>
            <a:r>
              <a:rPr lang="en-US" sz="2400" b="0" i="0" dirty="0">
                <a:solidFill>
                  <a:schemeClr val="tx1"/>
                </a:solidFill>
              </a:rPr>
              <a:t>During sleep, respiration is regulated by the brain whose goal is to maintain a constant blood CO₂ </a:t>
            </a:r>
          </a:p>
          <a:p>
            <a:r>
              <a:rPr lang="en-US" sz="2400" b="0" i="0" dirty="0">
                <a:solidFill>
                  <a:schemeClr val="tx1"/>
                </a:solidFill>
              </a:rPr>
              <a:t>To keep CO₂ regulated, the brain sends signals to the diaphragm via phrenic nerves.  These signals control the pattern of breathing</a:t>
            </a:r>
          </a:p>
          <a:p>
            <a:r>
              <a:rPr lang="en-US" sz="2400" b="0" i="0" dirty="0">
                <a:solidFill>
                  <a:schemeClr val="tx1"/>
                </a:solidFill>
              </a:rPr>
              <a:t>In patients with central sleep apnea, the brain develops a respiratory arrhythmia that manifests as an oscillating pattern between hyperventilation and apnea</a:t>
            </a:r>
          </a:p>
        </p:txBody>
      </p:sp>
      <p:sp>
        <p:nvSpPr>
          <p:cNvPr id="8" name="Title 7"/>
          <p:cNvSpPr>
            <a:spLocks noGrp="1"/>
          </p:cNvSpPr>
          <p:nvPr>
            <p:ph type="title" idx="4294967295"/>
          </p:nvPr>
        </p:nvSpPr>
        <p:spPr>
          <a:xfrm>
            <a:off x="399495" y="93300"/>
            <a:ext cx="10972800" cy="762000"/>
          </a:xfrm>
        </p:spPr>
        <p:txBody>
          <a:bodyPr>
            <a:normAutofit/>
          </a:bodyPr>
          <a:lstStyle/>
          <a:p>
            <a:r>
              <a:rPr lang="en-US" sz="3600" b="1" dirty="0">
                <a:solidFill>
                  <a:schemeClr val="accent2"/>
                </a:solidFill>
                <a:latin typeface="+mn-lt"/>
              </a:rPr>
              <a:t>Pathophysiology of Central Sleep Apnea	</a:t>
            </a:r>
          </a:p>
        </p:txBody>
      </p:sp>
      <p:sp>
        <p:nvSpPr>
          <p:cNvPr id="19" name="Rectangle 18"/>
          <p:cNvSpPr/>
          <p:nvPr/>
        </p:nvSpPr>
        <p:spPr>
          <a:xfrm>
            <a:off x="158745" y="5934690"/>
            <a:ext cx="4119777" cy="553998"/>
          </a:xfrm>
          <a:prstGeom prst="rect">
            <a:avLst/>
          </a:prstGeom>
        </p:spPr>
        <p:txBody>
          <a:bodyPr wrap="square">
            <a:spAutoFit/>
          </a:bodyPr>
          <a:lstStyle/>
          <a:p>
            <a:r>
              <a:rPr lang="en-US" sz="1000" dirty="0">
                <a:solidFill>
                  <a:srgbClr val="003F4C"/>
                </a:solidFill>
              </a:rPr>
              <a:t>Dempsey et al. </a:t>
            </a:r>
            <a:r>
              <a:rPr lang="en-US" sz="1000" dirty="0" err="1">
                <a:solidFill>
                  <a:srgbClr val="003F4C"/>
                </a:solidFill>
              </a:rPr>
              <a:t>Physiol</a:t>
            </a:r>
            <a:r>
              <a:rPr lang="en-US" sz="1000" dirty="0">
                <a:solidFill>
                  <a:srgbClr val="003F4C"/>
                </a:solidFill>
              </a:rPr>
              <a:t> Rev 2010; 90:47-112</a:t>
            </a:r>
          </a:p>
          <a:p>
            <a:r>
              <a:rPr lang="en-US" sz="1000" dirty="0">
                <a:solidFill>
                  <a:srgbClr val="003F4C"/>
                </a:solidFill>
              </a:rPr>
              <a:t>Orr et al. </a:t>
            </a:r>
            <a:r>
              <a:rPr lang="en-US" sz="1000" dirty="0" err="1">
                <a:solidFill>
                  <a:srgbClr val="003F4C"/>
                </a:solidFill>
              </a:rPr>
              <a:t>Respirology</a:t>
            </a:r>
            <a:r>
              <a:rPr lang="en-US" sz="1000" dirty="0">
                <a:solidFill>
                  <a:srgbClr val="003F4C"/>
                </a:solidFill>
              </a:rPr>
              <a:t>  2017; 22, 43–52</a:t>
            </a:r>
          </a:p>
          <a:p>
            <a:endParaRPr lang="en-US" sz="1000" dirty="0">
              <a:solidFill>
                <a:srgbClr val="003F4C"/>
              </a:solidFill>
            </a:endParaRPr>
          </a:p>
        </p:txBody>
      </p:sp>
      <p:pic>
        <p:nvPicPr>
          <p:cNvPr id="1027" name="Picture 3"/>
          <p:cNvPicPr>
            <a:picLocks noChangeAspect="1" noChangeArrowheads="1"/>
          </p:cNvPicPr>
          <p:nvPr/>
        </p:nvPicPr>
        <p:blipFill rotWithShape="1">
          <a:blip r:embed="rId3">
            <a:extLst>
              <a:ext uri="{28A0092B-C50C-407E-A947-70E740481C1C}">
                <a14:useLocalDpi xmlns:a14="http://schemas.microsoft.com/office/drawing/2010/main" val="0"/>
              </a:ext>
            </a:extLst>
          </a:blip>
          <a:srcRect t="7399" b="3333"/>
          <a:stretch/>
        </p:blipFill>
        <p:spPr bwMode="auto">
          <a:xfrm>
            <a:off x="6621220" y="1081855"/>
            <a:ext cx="5287748" cy="488882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cxnSp>
        <p:nvCxnSpPr>
          <p:cNvPr id="4" name="Straight Arrow Connector 3"/>
          <p:cNvCxnSpPr>
            <a:cxnSpLocks/>
          </p:cNvCxnSpPr>
          <p:nvPr/>
        </p:nvCxnSpPr>
        <p:spPr>
          <a:xfrm flipV="1">
            <a:off x="7049687" y="4469405"/>
            <a:ext cx="984604" cy="980951"/>
          </a:xfrm>
          <a:prstGeom prst="straightConnector1">
            <a:avLst/>
          </a:prstGeom>
          <a:ln w="38100">
            <a:solidFill>
              <a:srgbClr val="0070C0"/>
            </a:solidFill>
            <a:tailEnd type="arrow"/>
          </a:ln>
        </p:spPr>
        <p:style>
          <a:lnRef idx="1">
            <a:schemeClr val="accent1"/>
          </a:lnRef>
          <a:fillRef idx="0">
            <a:schemeClr val="accent1"/>
          </a:fillRef>
          <a:effectRef idx="0">
            <a:schemeClr val="accent1"/>
          </a:effectRef>
          <a:fontRef idx="minor">
            <a:schemeClr val="tx1"/>
          </a:fontRef>
        </p:style>
      </p:cxnSp>
      <p:sp>
        <p:nvSpPr>
          <p:cNvPr id="5" name="TextBox 4"/>
          <p:cNvSpPr txBox="1"/>
          <p:nvPr/>
        </p:nvSpPr>
        <p:spPr>
          <a:xfrm>
            <a:off x="5633061" y="5386734"/>
            <a:ext cx="1669583" cy="276999"/>
          </a:xfrm>
          <a:prstGeom prst="rect">
            <a:avLst/>
          </a:prstGeom>
          <a:noFill/>
          <a:ln>
            <a:noFill/>
          </a:ln>
        </p:spPr>
        <p:txBody>
          <a:bodyPr wrap="square" rtlCol="0">
            <a:spAutoFit/>
          </a:bodyPr>
          <a:lstStyle/>
          <a:p>
            <a:pPr algn="ctr"/>
            <a:r>
              <a:rPr lang="en-US" sz="1200" b="1" dirty="0"/>
              <a:t>Phrenic Nerves</a:t>
            </a:r>
          </a:p>
        </p:txBody>
      </p:sp>
      <p:sp>
        <p:nvSpPr>
          <p:cNvPr id="3" name="Slide Number Placeholder 2">
            <a:extLst>
              <a:ext uri="{FF2B5EF4-FFF2-40B4-BE49-F238E27FC236}">
                <a16:creationId xmlns:a16="http://schemas.microsoft.com/office/drawing/2014/main" id="{5C862326-8C1D-A365-A834-96B5350DA4C2}"/>
              </a:ext>
            </a:extLst>
          </p:cNvPr>
          <p:cNvSpPr>
            <a:spLocks noGrp="1"/>
          </p:cNvSpPr>
          <p:nvPr>
            <p:ph type="sldNum" sz="quarter" idx="12"/>
          </p:nvPr>
        </p:nvSpPr>
        <p:spPr/>
        <p:txBody>
          <a:bodyPr/>
          <a:lstStyle/>
          <a:p>
            <a:fld id="{21D51F98-DEF0-4E23-AE94-24E7CFC19B28}" type="slidenum">
              <a:rPr lang="en-US" smtClean="0"/>
              <a:t>13</a:t>
            </a:fld>
            <a:endParaRPr lang="en-US"/>
          </a:p>
        </p:txBody>
      </p:sp>
      <p:sp>
        <p:nvSpPr>
          <p:cNvPr id="7" name="Footer Placeholder 5">
            <a:extLst>
              <a:ext uri="{FF2B5EF4-FFF2-40B4-BE49-F238E27FC236}">
                <a16:creationId xmlns:a16="http://schemas.microsoft.com/office/drawing/2014/main" id="{DD5E2086-E6CF-12AB-B575-9EF10B90370D}"/>
              </a:ext>
            </a:extLst>
          </p:cNvPr>
          <p:cNvSpPr>
            <a:spLocks noGrp="1"/>
          </p:cNvSpPr>
          <p:nvPr>
            <p:ph type="ftr" sz="quarter" idx="11"/>
          </p:nvPr>
        </p:nvSpPr>
        <p:spPr>
          <a:xfrm>
            <a:off x="3684598" y="6459785"/>
            <a:ext cx="4822804" cy="365125"/>
          </a:xfrm>
        </p:spPr>
        <p:txBody>
          <a:bodyPr/>
          <a:lstStyle/>
          <a:p>
            <a:r>
              <a:rPr lang="en-US" dirty="0"/>
              <a:t>MAF1937 Rev E</a:t>
            </a:r>
          </a:p>
        </p:txBody>
      </p:sp>
    </p:spTree>
    <p:extLst>
      <p:ext uri="{BB962C8B-B14F-4D97-AF65-F5344CB8AC3E}">
        <p14:creationId xmlns:p14="http://schemas.microsoft.com/office/powerpoint/2010/main" val="185312773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6" imgH="396" progId="TCLayout.ActiveDocument.1">
                  <p:embed/>
                </p:oleObj>
              </mc:Choice>
              <mc:Fallback>
                <p:oleObj name="think-cell Slide" r:id="rId4" imgW="396" imgH="396" progId="TCLayout.ActiveDocument.1">
                  <p:embed/>
                  <p:pic>
                    <p:nvPicPr>
                      <p:cNvPr id="13" name="Object 1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endParaRPr kumimoji="0" lang="en-US" sz="2800" b="1" i="0" u="none" strike="noStrike" kern="1200" cap="none" spc="0" normalizeH="0" baseline="0" noProof="0" dirty="0">
              <a:ln>
                <a:noFill/>
              </a:ln>
              <a:solidFill>
                <a:srgbClr val="FFFFFF"/>
              </a:solidFill>
              <a:effectLst/>
              <a:uLnTx/>
              <a:uFillTx/>
              <a:latin typeface="Calibri Light" panose="020F0302020204030204" pitchFamily="34" charset="0"/>
              <a:ea typeface="+mn-ea"/>
              <a:cs typeface="+mn-cs"/>
              <a:sym typeface="Calibri Light" panose="020F0302020204030204" pitchFamily="34" charset="0"/>
            </a:endParaRPr>
          </a:p>
        </p:txBody>
      </p:sp>
      <p:sp>
        <p:nvSpPr>
          <p:cNvPr id="6" name="Title 5"/>
          <p:cNvSpPr>
            <a:spLocks noGrp="1"/>
          </p:cNvSpPr>
          <p:nvPr>
            <p:ph type="title" idx="4294967295"/>
          </p:nvPr>
        </p:nvSpPr>
        <p:spPr>
          <a:xfrm>
            <a:off x="228949" y="167926"/>
            <a:ext cx="11618912" cy="641350"/>
          </a:xfrm>
        </p:spPr>
        <p:txBody>
          <a:bodyPr>
            <a:noAutofit/>
          </a:bodyPr>
          <a:lstStyle/>
          <a:p>
            <a:pPr>
              <a:buClr>
                <a:srgbClr val="003F4C"/>
              </a:buClr>
            </a:pPr>
            <a:r>
              <a:rPr lang="en-US" sz="3200" b="1" dirty="0">
                <a:solidFill>
                  <a:schemeClr val="accent2"/>
                </a:solidFill>
                <a:latin typeface="+mn-lt"/>
              </a:rPr>
              <a:t>The Difference Between OSA and CSA is Evident in Sleep Studies</a:t>
            </a:r>
          </a:p>
        </p:txBody>
      </p:sp>
      <p:sp>
        <p:nvSpPr>
          <p:cNvPr id="3" name="TextBox 2"/>
          <p:cNvSpPr txBox="1"/>
          <p:nvPr/>
        </p:nvSpPr>
        <p:spPr>
          <a:xfrm>
            <a:off x="2092115" y="913476"/>
            <a:ext cx="4087342"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33363E"/>
                </a:solidFill>
                <a:effectLst/>
                <a:uLnTx/>
                <a:uFillTx/>
                <a:latin typeface="Calibri" panose="020F0502020204030204"/>
                <a:ea typeface="+mn-ea"/>
                <a:cs typeface="+mn-cs"/>
              </a:rPr>
              <a:t>Obstructive Sleep Apnea</a:t>
            </a:r>
          </a:p>
        </p:txBody>
      </p:sp>
      <p:sp>
        <p:nvSpPr>
          <p:cNvPr id="11" name="TextBox 10"/>
          <p:cNvSpPr txBox="1"/>
          <p:nvPr/>
        </p:nvSpPr>
        <p:spPr>
          <a:xfrm>
            <a:off x="7146570" y="920153"/>
            <a:ext cx="4126115"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33363E"/>
                </a:solidFill>
                <a:effectLst/>
                <a:uLnTx/>
                <a:uFillTx/>
                <a:latin typeface="Calibri" panose="020F0502020204030204"/>
                <a:ea typeface="+mn-ea"/>
                <a:cs typeface="+mn-cs"/>
              </a:rPr>
              <a:t>Central Sleep Apnea</a:t>
            </a:r>
          </a:p>
        </p:txBody>
      </p:sp>
      <p:sp>
        <p:nvSpPr>
          <p:cNvPr id="20" name="TextBox 19"/>
          <p:cNvSpPr txBox="1"/>
          <p:nvPr/>
        </p:nvSpPr>
        <p:spPr>
          <a:xfrm>
            <a:off x="126477" y="4339552"/>
            <a:ext cx="987759"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33363E"/>
                </a:solidFill>
                <a:effectLst/>
                <a:uLnTx/>
                <a:uFillTx/>
                <a:latin typeface="Calibri" panose="020F0502020204030204"/>
                <a:ea typeface="+mn-ea"/>
                <a:cs typeface="+mn-cs"/>
              </a:rPr>
              <a:t>SpO</a:t>
            </a:r>
            <a:r>
              <a:rPr kumimoji="0" lang="en-US" sz="2000" b="1" i="0" u="none" strike="noStrike" kern="1200" cap="none" spc="0" normalizeH="0" baseline="-25000" noProof="0" dirty="0">
                <a:ln>
                  <a:noFill/>
                </a:ln>
                <a:solidFill>
                  <a:srgbClr val="33363E"/>
                </a:solidFill>
                <a:effectLst/>
                <a:uLnTx/>
                <a:uFillTx/>
                <a:latin typeface="Calibri" panose="020F0502020204030204"/>
                <a:ea typeface="+mn-ea"/>
                <a:cs typeface="+mn-cs"/>
              </a:rPr>
              <a:t>2 (%)</a:t>
            </a:r>
          </a:p>
        </p:txBody>
      </p:sp>
      <p:sp>
        <p:nvSpPr>
          <p:cNvPr id="21" name="TextBox 20"/>
          <p:cNvSpPr txBox="1"/>
          <p:nvPr/>
        </p:nvSpPr>
        <p:spPr>
          <a:xfrm>
            <a:off x="126477" y="1679809"/>
            <a:ext cx="987759"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33363E"/>
                </a:solidFill>
                <a:effectLst/>
                <a:uLnTx/>
                <a:uFillTx/>
                <a:latin typeface="Calibri" panose="020F0502020204030204"/>
                <a:ea typeface="+mn-ea"/>
                <a:cs typeface="+mn-cs"/>
              </a:rPr>
              <a:t>Nasal Flow</a:t>
            </a:r>
            <a:endParaRPr kumimoji="0" lang="en-US" sz="2000" b="1" i="0" u="none" strike="noStrike" kern="1200" cap="none" spc="0" normalizeH="0" baseline="-25000" noProof="0" dirty="0">
              <a:ln>
                <a:noFill/>
              </a:ln>
              <a:solidFill>
                <a:srgbClr val="33363E"/>
              </a:solidFill>
              <a:effectLst/>
              <a:uLnTx/>
              <a:uFillTx/>
              <a:latin typeface="Calibri" panose="020F0502020204030204"/>
              <a:ea typeface="+mn-ea"/>
              <a:cs typeface="+mn-cs"/>
            </a:endParaRPr>
          </a:p>
        </p:txBody>
      </p:sp>
      <p:sp>
        <p:nvSpPr>
          <p:cNvPr id="23" name="TextBox 22"/>
          <p:cNvSpPr txBox="1"/>
          <p:nvPr/>
        </p:nvSpPr>
        <p:spPr>
          <a:xfrm>
            <a:off x="126477" y="3115350"/>
            <a:ext cx="987759"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33363E"/>
                </a:solidFill>
                <a:effectLst/>
                <a:uLnTx/>
                <a:uFillTx/>
                <a:latin typeface="Calibri" panose="020F0502020204030204"/>
                <a:ea typeface="+mn-ea"/>
                <a:cs typeface="+mn-cs"/>
              </a:rPr>
              <a:t>Effort</a:t>
            </a:r>
            <a:endParaRPr kumimoji="0" lang="en-US" sz="2000" b="1" i="0" u="none" strike="noStrike" kern="1200" cap="none" spc="0" normalizeH="0" baseline="-25000" noProof="0" dirty="0">
              <a:ln>
                <a:noFill/>
              </a:ln>
              <a:solidFill>
                <a:srgbClr val="33363E"/>
              </a:solidFill>
              <a:effectLst/>
              <a:uLnTx/>
              <a:uFillTx/>
              <a:latin typeface="Calibri" panose="020F0502020204030204"/>
              <a:ea typeface="+mn-ea"/>
              <a:cs typeface="+mn-cs"/>
            </a:endParaRPr>
          </a:p>
        </p:txBody>
      </p:sp>
      <p:grpSp>
        <p:nvGrpSpPr>
          <p:cNvPr id="9" name="Group 8"/>
          <p:cNvGrpSpPr/>
          <p:nvPr/>
        </p:nvGrpSpPr>
        <p:grpSpPr>
          <a:xfrm>
            <a:off x="1201150" y="4032877"/>
            <a:ext cx="348774" cy="1137703"/>
            <a:chOff x="1162451" y="1883119"/>
            <a:chExt cx="348774" cy="1137703"/>
          </a:xfrm>
        </p:grpSpPr>
        <p:sp>
          <p:nvSpPr>
            <p:cNvPr id="8" name="Rectangle 7"/>
            <p:cNvSpPr/>
            <p:nvPr/>
          </p:nvSpPr>
          <p:spPr>
            <a:xfrm>
              <a:off x="1259848" y="1883119"/>
              <a:ext cx="156551" cy="143012"/>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0" name="Rectangle 29"/>
            <p:cNvSpPr/>
            <p:nvPr/>
          </p:nvSpPr>
          <p:spPr>
            <a:xfrm>
              <a:off x="1259848" y="2378001"/>
              <a:ext cx="156551" cy="143012"/>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1" name="Rectangle 30"/>
            <p:cNvSpPr/>
            <p:nvPr/>
          </p:nvSpPr>
          <p:spPr>
            <a:xfrm>
              <a:off x="1259848" y="2877810"/>
              <a:ext cx="156551" cy="143012"/>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5" name="TextBox 24"/>
            <p:cNvSpPr txBox="1"/>
            <p:nvPr/>
          </p:nvSpPr>
          <p:spPr>
            <a:xfrm>
              <a:off x="1165021" y="2695997"/>
              <a:ext cx="346204"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33363E"/>
                  </a:solidFill>
                  <a:effectLst/>
                  <a:uLnTx/>
                  <a:uFillTx/>
                  <a:latin typeface="Calibri" panose="020F0502020204030204"/>
                  <a:ea typeface="+mn-ea"/>
                  <a:cs typeface="+mn-cs"/>
                </a:rPr>
                <a:t>70</a:t>
              </a:r>
              <a:endParaRPr kumimoji="0" lang="en-US" sz="1200" b="1" i="0" u="none" strike="noStrike" kern="1200" cap="none" spc="0" normalizeH="0" baseline="-25000" noProof="0" dirty="0">
                <a:ln>
                  <a:noFill/>
                </a:ln>
                <a:solidFill>
                  <a:srgbClr val="33363E"/>
                </a:solidFill>
                <a:effectLst/>
                <a:uLnTx/>
                <a:uFillTx/>
                <a:latin typeface="Calibri" panose="020F0502020204030204"/>
                <a:ea typeface="+mn-ea"/>
                <a:cs typeface="+mn-cs"/>
              </a:endParaRPr>
            </a:p>
          </p:txBody>
        </p:sp>
        <p:sp>
          <p:nvSpPr>
            <p:cNvPr id="26" name="TextBox 25"/>
            <p:cNvSpPr txBox="1"/>
            <p:nvPr/>
          </p:nvSpPr>
          <p:spPr>
            <a:xfrm>
              <a:off x="1162451" y="2354753"/>
              <a:ext cx="346204"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33363E"/>
                  </a:solidFill>
                  <a:effectLst/>
                  <a:uLnTx/>
                  <a:uFillTx/>
                  <a:latin typeface="Calibri" panose="020F0502020204030204"/>
                  <a:ea typeface="+mn-ea"/>
                  <a:cs typeface="+mn-cs"/>
                </a:rPr>
                <a:t>80</a:t>
              </a:r>
              <a:endParaRPr kumimoji="0" lang="en-US" sz="1200" b="1" i="0" u="none" strike="noStrike" kern="1200" cap="none" spc="0" normalizeH="0" baseline="-25000" noProof="0" dirty="0">
                <a:ln>
                  <a:noFill/>
                </a:ln>
                <a:solidFill>
                  <a:srgbClr val="33363E"/>
                </a:solidFill>
                <a:effectLst/>
                <a:uLnTx/>
                <a:uFillTx/>
                <a:latin typeface="Calibri" panose="020F0502020204030204"/>
                <a:ea typeface="+mn-ea"/>
                <a:cs typeface="+mn-cs"/>
              </a:endParaRPr>
            </a:p>
          </p:txBody>
        </p:sp>
        <p:sp>
          <p:nvSpPr>
            <p:cNvPr id="29" name="TextBox 28"/>
            <p:cNvSpPr txBox="1"/>
            <p:nvPr/>
          </p:nvSpPr>
          <p:spPr>
            <a:xfrm>
              <a:off x="1165021" y="2013510"/>
              <a:ext cx="346204"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33363E"/>
                  </a:solidFill>
                  <a:effectLst/>
                  <a:uLnTx/>
                  <a:uFillTx/>
                  <a:latin typeface="Calibri" panose="020F0502020204030204"/>
                  <a:ea typeface="+mn-ea"/>
                  <a:cs typeface="+mn-cs"/>
                </a:rPr>
                <a:t>90</a:t>
              </a:r>
              <a:endParaRPr kumimoji="0" lang="en-US" sz="1200" b="1" i="0" u="none" strike="noStrike" kern="1200" cap="none" spc="0" normalizeH="0" baseline="-25000" noProof="0" dirty="0">
                <a:ln>
                  <a:noFill/>
                </a:ln>
                <a:solidFill>
                  <a:srgbClr val="33363E"/>
                </a:solidFill>
                <a:effectLst/>
                <a:uLnTx/>
                <a:uFillTx/>
                <a:latin typeface="Calibri" panose="020F0502020204030204"/>
                <a:ea typeface="+mn-ea"/>
                <a:cs typeface="+mn-cs"/>
              </a:endParaRPr>
            </a:p>
          </p:txBody>
        </p:sp>
      </p:grpSp>
      <p:sp>
        <p:nvSpPr>
          <p:cNvPr id="32" name="TextBox 31"/>
          <p:cNvSpPr txBox="1"/>
          <p:nvPr/>
        </p:nvSpPr>
        <p:spPr>
          <a:xfrm>
            <a:off x="126477" y="6056729"/>
            <a:ext cx="5370475"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33363E"/>
                </a:solidFill>
                <a:effectLst/>
                <a:uLnTx/>
                <a:uFillTx/>
                <a:latin typeface="Calibri" panose="020F0502020204030204"/>
                <a:ea typeface="+mn-ea"/>
                <a:cs typeface="+mn-cs"/>
              </a:rPr>
              <a:t>Pham, et al High Alt Med Biol 2017; 18: 11-19</a:t>
            </a:r>
          </a:p>
        </p:txBody>
      </p:sp>
      <p:sp>
        <p:nvSpPr>
          <p:cNvPr id="38" name="Content Placeholder 17"/>
          <p:cNvSpPr txBox="1">
            <a:spLocks/>
          </p:cNvSpPr>
          <p:nvPr/>
        </p:nvSpPr>
        <p:spPr>
          <a:xfrm>
            <a:off x="7165957" y="5193201"/>
            <a:ext cx="4447592" cy="799327"/>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Clr>
                <a:schemeClr val="accent1"/>
              </a:buClr>
              <a:buSzPct val="90000"/>
              <a:buFont typeface="Wingdings" charset="2"/>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Clr>
                <a:schemeClr val="accent6">
                  <a:lumMod val="75000"/>
                </a:schemeClr>
              </a:buClr>
              <a:buSzPct val="80000"/>
              <a:buFont typeface="Arial" charset="0"/>
              <a:buChar char="•"/>
              <a:defRPr sz="22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accent1"/>
              </a:buClr>
              <a:buSzPct val="70000"/>
              <a:buFont typeface="Wingdings" charset="2"/>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accent6">
                  <a:lumMod val="75000"/>
                </a:schemeClr>
              </a:buClr>
              <a:buSzPct val="70000"/>
              <a:buFont typeface="Arial"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accent5"/>
              </a:buClr>
              <a:buSzPct val="60000"/>
              <a:buFont typeface="Wingdings" charset="2"/>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1450" marR="0" lvl="0" indent="-171450" algn="l" defTabSz="914400" rtl="0" eaLnBrk="1" fontAlgn="auto" latinLnBrk="0" hangingPunct="1">
              <a:lnSpc>
                <a:spcPct val="90000"/>
              </a:lnSpc>
              <a:spcBef>
                <a:spcPts val="600"/>
              </a:spcBef>
              <a:spcAft>
                <a:spcPts val="0"/>
              </a:spcAft>
              <a:buClr>
                <a:srgbClr val="003F4C"/>
              </a:buClr>
              <a:buSzPct val="90000"/>
              <a:buFont typeface="Arial" panose="020B0604020202020204" pitchFamily="34" charset="0"/>
              <a:buChar char="•"/>
              <a:tabLst/>
              <a:defRPr/>
            </a:pPr>
            <a:r>
              <a:rPr kumimoji="0" lang="en-US" sz="1600" b="0" i="0" u="none" strike="noStrike" kern="1200" cap="none" spc="0" normalizeH="0" baseline="0" noProof="0" dirty="0">
                <a:ln>
                  <a:noFill/>
                </a:ln>
                <a:solidFill>
                  <a:srgbClr val="33363E"/>
                </a:solidFill>
                <a:effectLst/>
                <a:uLnTx/>
                <a:uFillTx/>
                <a:latin typeface="Calibri" panose="020F0502020204030204"/>
                <a:ea typeface="+mn-ea"/>
                <a:cs typeface="+mn-cs"/>
              </a:rPr>
              <a:t>Abdomen does not move; no breath attempted</a:t>
            </a:r>
          </a:p>
          <a:p>
            <a:pPr marL="171450" marR="0" lvl="0" indent="-171450" algn="l" defTabSz="914400" rtl="0" eaLnBrk="1" fontAlgn="auto" latinLnBrk="0" hangingPunct="1">
              <a:lnSpc>
                <a:spcPct val="90000"/>
              </a:lnSpc>
              <a:spcBef>
                <a:spcPts val="600"/>
              </a:spcBef>
              <a:spcAft>
                <a:spcPts val="0"/>
              </a:spcAft>
              <a:buClr>
                <a:srgbClr val="003F4C"/>
              </a:buClr>
              <a:buSzPct val="90000"/>
              <a:buFont typeface="Arial" panose="020B0604020202020204" pitchFamily="34" charset="0"/>
              <a:buChar char="•"/>
              <a:tabLst/>
              <a:defRPr/>
            </a:pPr>
            <a:r>
              <a:rPr kumimoji="0" lang="en-US" sz="1600" b="0" i="0" u="none" strike="noStrike" kern="1200" cap="none" spc="0" normalizeH="0" baseline="0" noProof="0" dirty="0">
                <a:ln>
                  <a:noFill/>
                </a:ln>
                <a:solidFill>
                  <a:srgbClr val="33363E"/>
                </a:solidFill>
                <a:effectLst/>
                <a:uLnTx/>
                <a:uFillTx/>
                <a:latin typeface="Calibri" panose="020F0502020204030204"/>
                <a:ea typeface="+mn-ea"/>
                <a:cs typeface="+mn-cs"/>
              </a:rPr>
              <a:t>Limited or no airflow due to lack of attempted breath, resulting in oxygen desaturation</a:t>
            </a:r>
          </a:p>
        </p:txBody>
      </p:sp>
      <p:sp>
        <p:nvSpPr>
          <p:cNvPr id="39" name="Content Placeholder 17"/>
          <p:cNvSpPr txBox="1">
            <a:spLocks/>
          </p:cNvSpPr>
          <p:nvPr/>
        </p:nvSpPr>
        <p:spPr>
          <a:xfrm>
            <a:off x="2154845" y="5193201"/>
            <a:ext cx="4051167" cy="799327"/>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Clr>
                <a:schemeClr val="accent1"/>
              </a:buClr>
              <a:buSzPct val="90000"/>
              <a:buFont typeface="Wingdings" charset="2"/>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Clr>
                <a:schemeClr val="accent6">
                  <a:lumMod val="75000"/>
                </a:schemeClr>
              </a:buClr>
              <a:buSzPct val="80000"/>
              <a:buFont typeface="Arial" charset="0"/>
              <a:buChar char="•"/>
              <a:defRPr sz="22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accent1"/>
              </a:buClr>
              <a:buSzPct val="70000"/>
              <a:buFont typeface="Wingdings" charset="2"/>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accent6">
                  <a:lumMod val="75000"/>
                </a:schemeClr>
              </a:buClr>
              <a:buSzPct val="70000"/>
              <a:buFont typeface="Arial"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accent5"/>
              </a:buClr>
              <a:buSzPct val="60000"/>
              <a:buFont typeface="Wingdings" charset="2"/>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1450" marR="0" lvl="0" indent="-171450" algn="l" defTabSz="914400" rtl="0" eaLnBrk="1" fontAlgn="auto" latinLnBrk="0" hangingPunct="1">
              <a:lnSpc>
                <a:spcPct val="90000"/>
              </a:lnSpc>
              <a:spcBef>
                <a:spcPts val="600"/>
              </a:spcBef>
              <a:spcAft>
                <a:spcPts val="0"/>
              </a:spcAft>
              <a:buClr>
                <a:srgbClr val="003F4C"/>
              </a:buClr>
              <a:buSzPct val="90000"/>
              <a:buFont typeface="Arial" panose="020B0604020202020204" pitchFamily="34" charset="0"/>
              <a:buChar char="•"/>
              <a:tabLst/>
              <a:defRPr/>
            </a:pPr>
            <a:r>
              <a:rPr kumimoji="0" lang="en-US" sz="1600" b="0" i="0" u="none" strike="noStrike" kern="1200" cap="none" spc="0" normalizeH="0" baseline="0" noProof="0" dirty="0">
                <a:ln>
                  <a:noFill/>
                </a:ln>
                <a:solidFill>
                  <a:srgbClr val="33363E"/>
                </a:solidFill>
                <a:effectLst/>
                <a:uLnTx/>
                <a:uFillTx/>
                <a:latin typeface="Calibri" panose="020F0502020204030204"/>
                <a:ea typeface="+mn-ea"/>
                <a:cs typeface="+mn-cs"/>
              </a:rPr>
              <a:t>Abdomen moves as a breath is attempted</a:t>
            </a:r>
          </a:p>
          <a:p>
            <a:pPr marL="171450" marR="0" lvl="0" indent="-171450" algn="l" defTabSz="914400" rtl="0" eaLnBrk="1" fontAlgn="auto" latinLnBrk="0" hangingPunct="1">
              <a:lnSpc>
                <a:spcPct val="90000"/>
              </a:lnSpc>
              <a:spcBef>
                <a:spcPts val="600"/>
              </a:spcBef>
              <a:spcAft>
                <a:spcPts val="0"/>
              </a:spcAft>
              <a:buClr>
                <a:srgbClr val="003F4C"/>
              </a:buClr>
              <a:buSzPct val="90000"/>
              <a:buFont typeface="Arial" panose="020B0604020202020204" pitchFamily="34" charset="0"/>
              <a:buChar char="•"/>
              <a:tabLst/>
              <a:defRPr/>
            </a:pPr>
            <a:r>
              <a:rPr kumimoji="0" lang="en-US" sz="1600" b="0" i="0" u="none" strike="noStrike" kern="1200" cap="none" spc="0" normalizeH="0" baseline="0" noProof="0" dirty="0">
                <a:ln>
                  <a:noFill/>
                </a:ln>
                <a:solidFill>
                  <a:srgbClr val="33363E"/>
                </a:solidFill>
                <a:effectLst/>
                <a:uLnTx/>
                <a:uFillTx/>
                <a:latin typeface="Calibri" panose="020F0502020204030204"/>
                <a:ea typeface="+mn-ea"/>
                <a:cs typeface="+mn-cs"/>
              </a:rPr>
              <a:t>Airflow blocked or reduced due to obstruction, resulting in oxygen desaturation</a:t>
            </a:r>
          </a:p>
        </p:txBody>
      </p:sp>
      <p:pic>
        <p:nvPicPr>
          <p:cNvPr id="40" name="Picture 39"/>
          <p:cNvPicPr>
            <a:picLocks noChangeAspect="1"/>
          </p:cNvPicPr>
          <p:nvPr/>
        </p:nvPicPr>
        <p:blipFill rotWithShape="1">
          <a:blip r:embed="rId6" cstate="hqprint">
            <a:extLst>
              <a:ext uri="{28A0092B-C50C-407E-A947-70E740481C1C}">
                <a14:useLocalDpi xmlns:a14="http://schemas.microsoft.com/office/drawing/2010/main"/>
              </a:ext>
            </a:extLst>
          </a:blip>
          <a:srcRect l="17116" r="9029"/>
          <a:stretch/>
        </p:blipFill>
        <p:spPr>
          <a:xfrm>
            <a:off x="1715114" y="1580359"/>
            <a:ext cx="4587038" cy="3425530"/>
          </a:xfrm>
          <a:prstGeom prst="rect">
            <a:avLst/>
          </a:prstGeom>
        </p:spPr>
      </p:pic>
      <p:pic>
        <p:nvPicPr>
          <p:cNvPr id="41" name="Picture 40"/>
          <p:cNvPicPr>
            <a:picLocks noChangeAspect="1"/>
          </p:cNvPicPr>
          <p:nvPr/>
        </p:nvPicPr>
        <p:blipFill rotWithShape="1">
          <a:blip r:embed="rId7" cstate="hqprint">
            <a:extLst>
              <a:ext uri="{28A0092B-C50C-407E-A947-70E740481C1C}">
                <a14:useLocalDpi xmlns:a14="http://schemas.microsoft.com/office/drawing/2010/main"/>
              </a:ext>
            </a:extLst>
          </a:blip>
          <a:srcRect l="19304" r="11467"/>
          <a:stretch/>
        </p:blipFill>
        <p:spPr>
          <a:xfrm>
            <a:off x="6899134" y="1510954"/>
            <a:ext cx="4620988" cy="3429000"/>
          </a:xfrm>
          <a:prstGeom prst="rect">
            <a:avLst/>
          </a:prstGeom>
        </p:spPr>
      </p:pic>
      <p:sp>
        <p:nvSpPr>
          <p:cNvPr id="42" name="TextBox 41"/>
          <p:cNvSpPr txBox="1"/>
          <p:nvPr/>
        </p:nvSpPr>
        <p:spPr>
          <a:xfrm>
            <a:off x="838479" y="2786222"/>
            <a:ext cx="987759"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33363E"/>
                </a:solidFill>
                <a:effectLst/>
                <a:uLnTx/>
                <a:uFillTx/>
                <a:latin typeface="Calibri" panose="020F0502020204030204"/>
                <a:ea typeface="+mn-ea"/>
                <a:cs typeface="+mn-cs"/>
              </a:rPr>
              <a:t>Abdomen</a:t>
            </a:r>
            <a:endParaRPr kumimoji="0" lang="en-US" sz="1200" b="1" i="0" u="none" strike="noStrike" kern="1200" cap="none" spc="0" normalizeH="0" baseline="-25000" noProof="0" dirty="0">
              <a:ln>
                <a:noFill/>
              </a:ln>
              <a:solidFill>
                <a:srgbClr val="33363E"/>
              </a:solidFill>
              <a:effectLst/>
              <a:uLnTx/>
              <a:uFillTx/>
              <a:latin typeface="Calibri" panose="020F0502020204030204"/>
              <a:ea typeface="+mn-ea"/>
              <a:cs typeface="+mn-cs"/>
            </a:endParaRPr>
          </a:p>
        </p:txBody>
      </p:sp>
      <p:sp>
        <p:nvSpPr>
          <p:cNvPr id="43" name="TextBox 42"/>
          <p:cNvSpPr txBox="1"/>
          <p:nvPr/>
        </p:nvSpPr>
        <p:spPr>
          <a:xfrm>
            <a:off x="838479" y="3534124"/>
            <a:ext cx="987759"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33363E"/>
                </a:solidFill>
                <a:effectLst/>
                <a:uLnTx/>
                <a:uFillTx/>
                <a:latin typeface="Calibri" panose="020F0502020204030204"/>
                <a:ea typeface="+mn-ea"/>
                <a:cs typeface="+mn-cs"/>
              </a:rPr>
              <a:t>Thorax</a:t>
            </a:r>
            <a:endParaRPr kumimoji="0" lang="en-US" sz="1200" b="1" i="0" u="none" strike="noStrike" kern="1200" cap="none" spc="0" normalizeH="0" baseline="-25000" noProof="0" dirty="0">
              <a:ln>
                <a:noFill/>
              </a:ln>
              <a:solidFill>
                <a:srgbClr val="33363E"/>
              </a:solidFill>
              <a:effectLst/>
              <a:uLnTx/>
              <a:uFillTx/>
              <a:latin typeface="Calibri" panose="020F0502020204030204"/>
              <a:ea typeface="+mn-ea"/>
              <a:cs typeface="+mn-cs"/>
            </a:endParaRPr>
          </a:p>
        </p:txBody>
      </p:sp>
      <p:grpSp>
        <p:nvGrpSpPr>
          <p:cNvPr id="44" name="Group 43"/>
          <p:cNvGrpSpPr/>
          <p:nvPr/>
        </p:nvGrpSpPr>
        <p:grpSpPr>
          <a:xfrm>
            <a:off x="6426256" y="4032877"/>
            <a:ext cx="348774" cy="1137703"/>
            <a:chOff x="1162451" y="1883119"/>
            <a:chExt cx="348774" cy="1137703"/>
          </a:xfrm>
        </p:grpSpPr>
        <p:sp>
          <p:nvSpPr>
            <p:cNvPr id="45" name="Rectangle 44"/>
            <p:cNvSpPr/>
            <p:nvPr/>
          </p:nvSpPr>
          <p:spPr>
            <a:xfrm>
              <a:off x="1259848" y="1883119"/>
              <a:ext cx="156551" cy="143012"/>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6" name="Rectangle 45"/>
            <p:cNvSpPr/>
            <p:nvPr/>
          </p:nvSpPr>
          <p:spPr>
            <a:xfrm>
              <a:off x="1259848" y="2378001"/>
              <a:ext cx="156551" cy="143012"/>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7" name="Rectangle 46"/>
            <p:cNvSpPr/>
            <p:nvPr/>
          </p:nvSpPr>
          <p:spPr>
            <a:xfrm>
              <a:off x="1259848" y="2877810"/>
              <a:ext cx="156551" cy="143012"/>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8" name="TextBox 47"/>
            <p:cNvSpPr txBox="1"/>
            <p:nvPr/>
          </p:nvSpPr>
          <p:spPr>
            <a:xfrm>
              <a:off x="1165021" y="2695997"/>
              <a:ext cx="346204"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33363E"/>
                  </a:solidFill>
                  <a:effectLst/>
                  <a:uLnTx/>
                  <a:uFillTx/>
                  <a:latin typeface="Calibri" panose="020F0502020204030204"/>
                  <a:ea typeface="+mn-ea"/>
                  <a:cs typeface="+mn-cs"/>
                </a:rPr>
                <a:t>70</a:t>
              </a:r>
              <a:endParaRPr kumimoji="0" lang="en-US" sz="1200" b="1" i="0" u="none" strike="noStrike" kern="1200" cap="none" spc="0" normalizeH="0" baseline="-25000" noProof="0" dirty="0">
                <a:ln>
                  <a:noFill/>
                </a:ln>
                <a:solidFill>
                  <a:srgbClr val="33363E"/>
                </a:solidFill>
                <a:effectLst/>
                <a:uLnTx/>
                <a:uFillTx/>
                <a:latin typeface="Calibri" panose="020F0502020204030204"/>
                <a:ea typeface="+mn-ea"/>
                <a:cs typeface="+mn-cs"/>
              </a:endParaRPr>
            </a:p>
          </p:txBody>
        </p:sp>
        <p:sp>
          <p:nvSpPr>
            <p:cNvPr id="49" name="TextBox 48"/>
            <p:cNvSpPr txBox="1"/>
            <p:nvPr/>
          </p:nvSpPr>
          <p:spPr>
            <a:xfrm>
              <a:off x="1162451" y="2354753"/>
              <a:ext cx="346204"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33363E"/>
                  </a:solidFill>
                  <a:effectLst/>
                  <a:uLnTx/>
                  <a:uFillTx/>
                  <a:latin typeface="Calibri" panose="020F0502020204030204"/>
                  <a:ea typeface="+mn-ea"/>
                  <a:cs typeface="+mn-cs"/>
                </a:rPr>
                <a:t>80</a:t>
              </a:r>
              <a:endParaRPr kumimoji="0" lang="en-US" sz="1200" b="1" i="0" u="none" strike="noStrike" kern="1200" cap="none" spc="0" normalizeH="0" baseline="-25000" noProof="0" dirty="0">
                <a:ln>
                  <a:noFill/>
                </a:ln>
                <a:solidFill>
                  <a:srgbClr val="33363E"/>
                </a:solidFill>
                <a:effectLst/>
                <a:uLnTx/>
                <a:uFillTx/>
                <a:latin typeface="Calibri" panose="020F0502020204030204"/>
                <a:ea typeface="+mn-ea"/>
                <a:cs typeface="+mn-cs"/>
              </a:endParaRPr>
            </a:p>
          </p:txBody>
        </p:sp>
        <p:sp>
          <p:nvSpPr>
            <p:cNvPr id="50" name="TextBox 49"/>
            <p:cNvSpPr txBox="1"/>
            <p:nvPr/>
          </p:nvSpPr>
          <p:spPr>
            <a:xfrm>
              <a:off x="1165021" y="2013510"/>
              <a:ext cx="346204"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33363E"/>
                  </a:solidFill>
                  <a:effectLst/>
                  <a:uLnTx/>
                  <a:uFillTx/>
                  <a:latin typeface="Calibri" panose="020F0502020204030204"/>
                  <a:ea typeface="+mn-ea"/>
                  <a:cs typeface="+mn-cs"/>
                </a:rPr>
                <a:t>90</a:t>
              </a:r>
              <a:endParaRPr kumimoji="0" lang="en-US" sz="1200" b="1" i="0" u="none" strike="noStrike" kern="1200" cap="none" spc="0" normalizeH="0" baseline="-25000" noProof="0" dirty="0">
                <a:ln>
                  <a:noFill/>
                </a:ln>
                <a:solidFill>
                  <a:srgbClr val="33363E"/>
                </a:solidFill>
                <a:effectLst/>
                <a:uLnTx/>
                <a:uFillTx/>
                <a:latin typeface="Calibri" panose="020F0502020204030204"/>
                <a:ea typeface="+mn-ea"/>
                <a:cs typeface="+mn-cs"/>
              </a:endParaRPr>
            </a:p>
          </p:txBody>
        </p:sp>
      </p:grpSp>
      <p:sp>
        <p:nvSpPr>
          <p:cNvPr id="2" name="Rectangle 1"/>
          <p:cNvSpPr/>
          <p:nvPr/>
        </p:nvSpPr>
        <p:spPr>
          <a:xfrm>
            <a:off x="6444721" y="913476"/>
            <a:ext cx="5403140" cy="5180191"/>
          </a:xfrm>
          <a:prstGeom prst="rect">
            <a:avLst/>
          </a:prstGeom>
          <a:no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7" name="Slide Number Placeholder 6">
            <a:extLst>
              <a:ext uri="{FF2B5EF4-FFF2-40B4-BE49-F238E27FC236}">
                <a16:creationId xmlns:a16="http://schemas.microsoft.com/office/drawing/2014/main" id="{120786DD-53D2-CD14-E062-117C4670DF2B}"/>
              </a:ext>
            </a:extLst>
          </p:cNvPr>
          <p:cNvSpPr>
            <a:spLocks noGrp="1"/>
          </p:cNvSpPr>
          <p:nvPr>
            <p:ph type="sldNum" sz="quarter" idx="12"/>
          </p:nvPr>
        </p:nvSpPr>
        <p:spPr/>
        <p:txBody>
          <a:bodyPr/>
          <a:lstStyle/>
          <a:p>
            <a:fld id="{21D51F98-DEF0-4E23-AE94-24E7CFC19B28}" type="slidenum">
              <a:rPr lang="en-US" smtClean="0"/>
              <a:t>14</a:t>
            </a:fld>
            <a:endParaRPr lang="en-US"/>
          </a:p>
        </p:txBody>
      </p:sp>
      <p:sp>
        <p:nvSpPr>
          <p:cNvPr id="12" name="Footer Placeholder 5">
            <a:extLst>
              <a:ext uri="{FF2B5EF4-FFF2-40B4-BE49-F238E27FC236}">
                <a16:creationId xmlns:a16="http://schemas.microsoft.com/office/drawing/2014/main" id="{1345B587-E0C8-F596-1FE0-DB972E08D9C2}"/>
              </a:ext>
            </a:extLst>
          </p:cNvPr>
          <p:cNvSpPr>
            <a:spLocks noGrp="1"/>
          </p:cNvSpPr>
          <p:nvPr>
            <p:ph type="ftr" sz="quarter" idx="11"/>
          </p:nvPr>
        </p:nvSpPr>
        <p:spPr>
          <a:xfrm>
            <a:off x="3684598" y="6459785"/>
            <a:ext cx="4822804" cy="365125"/>
          </a:xfrm>
        </p:spPr>
        <p:txBody>
          <a:bodyPr/>
          <a:lstStyle/>
          <a:p>
            <a:r>
              <a:rPr lang="en-US" dirty="0"/>
              <a:t>MAF1937 Rev E</a:t>
            </a:r>
          </a:p>
        </p:txBody>
      </p:sp>
    </p:spTree>
    <p:extLst>
      <p:ext uri="{BB962C8B-B14F-4D97-AF65-F5344CB8AC3E}">
        <p14:creationId xmlns:p14="http://schemas.microsoft.com/office/powerpoint/2010/main" val="305381556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p:cNvSpPr txBox="1"/>
          <p:nvPr/>
        </p:nvSpPr>
        <p:spPr>
          <a:xfrm>
            <a:off x="5536456" y="5524303"/>
            <a:ext cx="6377851" cy="861774"/>
          </a:xfrm>
          <a:prstGeom prst="rect">
            <a:avLst/>
          </a:prstGeom>
          <a:noFill/>
        </p:spPr>
        <p:txBody>
          <a:bodyPr wrap="square" rtlCol="0">
            <a:spAutoFit/>
          </a:bodyPr>
          <a:lstStyle/>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kumimoji="0" lang="en-US" sz="1000" b="0" i="0" u="none" strike="noStrike" kern="1200" cap="none" spc="0" normalizeH="0" baseline="0" noProof="0" dirty="0" err="1">
                <a:ln>
                  <a:noFill/>
                </a:ln>
                <a:solidFill>
                  <a:srgbClr val="33363E"/>
                </a:solidFill>
                <a:effectLst/>
                <a:uLnTx/>
                <a:uFillTx/>
                <a:latin typeface="Calibri" panose="020F0502020204030204"/>
                <a:ea typeface="+mn-ea"/>
                <a:cs typeface="+mn-cs"/>
              </a:rPr>
              <a:t>Javaheri</a:t>
            </a:r>
            <a:r>
              <a:rPr kumimoji="0" lang="en-US" sz="1000" b="0" i="0" u="none" strike="noStrike" kern="1200" cap="none" spc="0" normalizeH="0" baseline="0" noProof="0" dirty="0">
                <a:ln>
                  <a:noFill/>
                </a:ln>
                <a:solidFill>
                  <a:srgbClr val="33363E"/>
                </a:solidFill>
                <a:effectLst/>
                <a:uLnTx/>
                <a:uFillTx/>
                <a:latin typeface="Calibri" panose="020F0502020204030204"/>
                <a:ea typeface="+mn-ea"/>
                <a:cs typeface="+mn-cs"/>
              </a:rPr>
              <a:t> and Dempsey, Comprehensive Physiology 2013;3:141-163; </a:t>
            </a:r>
            <a:endParaRPr lang="en-US" sz="1000" dirty="0">
              <a:solidFill>
                <a:srgbClr val="33363E"/>
              </a:solidFill>
              <a:latin typeface="Calibri" panose="020F0502020204030204"/>
            </a:endParaRP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kumimoji="0" lang="en-US" sz="1000" b="0" i="0" u="none" strike="noStrike" kern="1200" cap="none" spc="0" normalizeH="0" baseline="0" noProof="0" dirty="0" err="1">
                <a:ln>
                  <a:noFill/>
                </a:ln>
                <a:solidFill>
                  <a:srgbClr val="33363E"/>
                </a:solidFill>
                <a:effectLst/>
                <a:uLnTx/>
                <a:uFillTx/>
                <a:latin typeface="Calibri" panose="020F0502020204030204"/>
                <a:ea typeface="+mn-ea"/>
                <a:cs typeface="+mn-cs"/>
              </a:rPr>
              <a:t>Dymedex</a:t>
            </a:r>
            <a:r>
              <a:rPr kumimoji="0" lang="en-US" sz="1000" b="0" i="0" u="none" strike="noStrike" kern="1200" cap="none" spc="0" normalizeH="0" baseline="0" noProof="0" dirty="0">
                <a:ln>
                  <a:noFill/>
                </a:ln>
                <a:solidFill>
                  <a:srgbClr val="33363E"/>
                </a:solidFill>
                <a:effectLst/>
                <a:uLnTx/>
                <a:uFillTx/>
                <a:latin typeface="Calibri" panose="020F0502020204030204"/>
                <a:ea typeface="+mn-ea"/>
                <a:cs typeface="+mn-cs"/>
              </a:rPr>
              <a:t> data on file, 2014.; </a:t>
            </a:r>
            <a:endParaRPr lang="en-US" sz="1000" dirty="0">
              <a:solidFill>
                <a:srgbClr val="33363E"/>
              </a:solidFill>
              <a:latin typeface="Calibri" panose="020F0502020204030204"/>
            </a:endParaRP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kumimoji="0" lang="en-US" sz="1000" b="0" i="0" u="none" strike="noStrike" kern="1200" cap="none" spc="0" normalizeH="0" baseline="0" noProof="0" dirty="0" err="1">
                <a:ln>
                  <a:noFill/>
                </a:ln>
                <a:solidFill>
                  <a:srgbClr val="33363E"/>
                </a:solidFill>
                <a:effectLst/>
                <a:uLnTx/>
                <a:uFillTx/>
                <a:latin typeface="Calibri" panose="020F0502020204030204"/>
                <a:ea typeface="+mn-ea"/>
                <a:cs typeface="+mn-cs"/>
              </a:rPr>
              <a:t>Bekfani</a:t>
            </a:r>
            <a:r>
              <a:rPr kumimoji="0" lang="en-US" sz="1000" b="0" i="0" u="none" strike="noStrike" kern="1200" cap="none" spc="0" normalizeH="0" baseline="0" noProof="0" dirty="0">
                <a:ln>
                  <a:noFill/>
                </a:ln>
                <a:solidFill>
                  <a:srgbClr val="33363E"/>
                </a:solidFill>
                <a:effectLst/>
                <a:uLnTx/>
                <a:uFillTx/>
                <a:latin typeface="Calibri" panose="020F0502020204030204"/>
                <a:ea typeface="+mn-ea"/>
                <a:cs typeface="+mn-cs"/>
              </a:rPr>
              <a:t> and Abraham, </a:t>
            </a:r>
            <a:r>
              <a:rPr kumimoji="0" lang="en-US" sz="1000" b="0" i="0" u="none" strike="noStrike" kern="1200" cap="none" spc="0" normalizeH="0" baseline="0" noProof="0" dirty="0" err="1">
                <a:ln>
                  <a:noFill/>
                </a:ln>
                <a:solidFill>
                  <a:srgbClr val="33363E"/>
                </a:solidFill>
                <a:effectLst/>
                <a:uLnTx/>
                <a:uFillTx/>
                <a:latin typeface="Calibri" panose="020F0502020204030204"/>
                <a:ea typeface="+mn-ea"/>
                <a:cs typeface="+mn-cs"/>
              </a:rPr>
              <a:t>Europace</a:t>
            </a:r>
            <a:r>
              <a:rPr kumimoji="0" lang="en-US" sz="1000" b="0" i="0" u="none" strike="noStrike" kern="1200" cap="none" spc="0" normalizeH="0" baseline="0" noProof="0" dirty="0">
                <a:ln>
                  <a:noFill/>
                </a:ln>
                <a:solidFill>
                  <a:srgbClr val="33363E"/>
                </a:solidFill>
                <a:effectLst/>
                <a:uLnTx/>
                <a:uFillTx/>
                <a:latin typeface="Calibri" panose="020F0502020204030204"/>
                <a:ea typeface="+mn-ea"/>
                <a:cs typeface="+mn-cs"/>
              </a:rPr>
              <a:t> 2016; 18:1123-24; </a:t>
            </a:r>
            <a:endParaRPr lang="en-US" sz="1000" dirty="0">
              <a:solidFill>
                <a:srgbClr val="33363E"/>
              </a:solidFill>
              <a:latin typeface="Calibri" panose="020F0502020204030204"/>
            </a:endParaRP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kumimoji="0" lang="en-US" sz="1000" b="0" i="0" u="none" strike="noStrike" kern="1200" cap="none" spc="0" normalizeH="0" baseline="0" noProof="0" dirty="0">
                <a:ln>
                  <a:noFill/>
                </a:ln>
                <a:solidFill>
                  <a:srgbClr val="33363E"/>
                </a:solidFill>
                <a:effectLst/>
                <a:uLnTx/>
                <a:uFillTx/>
                <a:latin typeface="Calibri" panose="020F0502020204030204"/>
                <a:ea typeface="+mn-ea"/>
                <a:cs typeface="+mn-cs"/>
              </a:rPr>
              <a:t>Tung et al. J Am Heart Assoc. 2017;6:e004500. DOI: 10.1161/JAHA.116.004500 </a:t>
            </a:r>
            <a:endParaRPr lang="en-US" sz="1000" dirty="0">
              <a:solidFill>
                <a:srgbClr val="33363E"/>
              </a:solidFill>
              <a:latin typeface="Calibri" panose="020F0502020204030204"/>
            </a:endParaRP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kumimoji="0" lang="en-US" sz="1000" b="0" i="0" u="none" strike="noStrike" kern="1200" cap="none" spc="0" normalizeH="0" baseline="0" noProof="0" dirty="0">
                <a:ln>
                  <a:noFill/>
                </a:ln>
                <a:solidFill>
                  <a:srgbClr val="33363E"/>
                </a:solidFill>
                <a:effectLst/>
                <a:uLnTx/>
                <a:uFillTx/>
                <a:latin typeface="Calibri" panose="020F0502020204030204"/>
                <a:ea typeface="+mn-ea"/>
                <a:cs typeface="+mn-cs"/>
              </a:rPr>
              <a:t>Bitter T, et. al. </a:t>
            </a:r>
            <a:r>
              <a:rPr kumimoji="0" lang="en-US" sz="1000" b="0" i="0" u="none" strike="noStrike" kern="1200" cap="none" spc="0" normalizeH="0" baseline="0" noProof="0" dirty="0" err="1">
                <a:ln>
                  <a:noFill/>
                </a:ln>
                <a:solidFill>
                  <a:srgbClr val="33363E"/>
                </a:solidFill>
                <a:effectLst/>
                <a:uLnTx/>
                <a:uFillTx/>
                <a:latin typeface="Calibri" panose="020F0502020204030204"/>
                <a:ea typeface="+mn-ea"/>
                <a:cs typeface="+mn-cs"/>
              </a:rPr>
              <a:t>Dtsch</a:t>
            </a:r>
            <a:r>
              <a:rPr kumimoji="0" lang="en-US" sz="1000" b="0" i="0" u="none" strike="noStrike" kern="1200" cap="none" spc="0" normalizeH="0" baseline="0" noProof="0" dirty="0">
                <a:ln>
                  <a:noFill/>
                </a:ln>
                <a:solidFill>
                  <a:srgbClr val="33363E"/>
                </a:solidFill>
                <a:effectLst/>
                <a:uLnTx/>
                <a:uFillTx/>
                <a:latin typeface="Calibri" panose="020F0502020204030204"/>
                <a:ea typeface="+mn-ea"/>
                <a:cs typeface="+mn-cs"/>
              </a:rPr>
              <a:t> </a:t>
            </a:r>
            <a:r>
              <a:rPr kumimoji="0" lang="en-US" sz="1000" b="0" i="0" u="none" strike="noStrike" kern="1200" cap="none" spc="0" normalizeH="0" baseline="0" noProof="0" dirty="0" err="1">
                <a:ln>
                  <a:noFill/>
                </a:ln>
                <a:solidFill>
                  <a:srgbClr val="33363E"/>
                </a:solidFill>
                <a:effectLst/>
                <a:uLnTx/>
                <a:uFillTx/>
                <a:latin typeface="Calibri" panose="020F0502020204030204"/>
                <a:ea typeface="+mn-ea"/>
                <a:cs typeface="+mn-cs"/>
              </a:rPr>
              <a:t>Arztebl</a:t>
            </a:r>
            <a:r>
              <a:rPr kumimoji="0" lang="en-US" sz="1000" b="0" i="0" u="none" strike="noStrike" kern="1200" cap="none" spc="0" normalizeH="0" baseline="0" noProof="0" dirty="0">
                <a:ln>
                  <a:noFill/>
                </a:ln>
                <a:solidFill>
                  <a:srgbClr val="33363E"/>
                </a:solidFill>
                <a:effectLst/>
                <a:uLnTx/>
                <a:uFillTx/>
                <a:latin typeface="Calibri" panose="020F0502020204030204"/>
                <a:ea typeface="+mn-ea"/>
                <a:cs typeface="+mn-cs"/>
              </a:rPr>
              <a:t> Int. 2009;106(10):164–170.</a:t>
            </a:r>
          </a:p>
        </p:txBody>
      </p:sp>
      <p:graphicFrame>
        <p:nvGraphicFramePr>
          <p:cNvPr id="4" name="Object 3" hidden="1"/>
          <p:cNvGraphicFramePr>
            <a:graphicFrameLocks noChangeAspect="1"/>
          </p:cNvGraphicFramePr>
          <p:nvPr>
            <p:custDataLst>
              <p:tags r:id="rId1"/>
            </p:custData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4" imgW="396" imgH="396" progId="TCLayout.ActiveDocument.1">
                  <p:embed/>
                </p:oleObj>
              </mc:Choice>
              <mc:Fallback>
                <p:oleObj name="think-cell Slide" r:id="rId4" imgW="396" imgH="396" progId="TCLayout.ActiveDocument.1">
                  <p:embed/>
                  <p:pic>
                    <p:nvPicPr>
                      <p:cNvPr id="4" name="Object 3" hidden="1"/>
                      <p:cNvPicPr/>
                      <p:nvPr/>
                    </p:nvPicPr>
                    <p:blipFill>
                      <a:blip r:embed="rId5"/>
                      <a:stretch>
                        <a:fillRect/>
                      </a:stretch>
                    </p:blipFill>
                    <p:spPr>
                      <a:xfrm>
                        <a:off x="1589" y="1588"/>
                        <a:ext cx="1588" cy="1588"/>
                      </a:xfrm>
                      <a:prstGeom prst="rect">
                        <a:avLst/>
                      </a:prstGeom>
                    </p:spPr>
                  </p:pic>
                </p:oleObj>
              </mc:Fallback>
            </mc:AlternateContent>
          </a:graphicData>
        </a:graphic>
      </p:graphicFrame>
      <p:sp>
        <p:nvSpPr>
          <p:cNvPr id="3" name="Rectangle 2" hidden="1"/>
          <p:cNvSpPr/>
          <p:nvPr>
            <p:custDataLst>
              <p:tags r:id="rId2"/>
            </p:custDataLst>
          </p:nvPr>
        </p:nvSpPr>
        <p:spPr>
          <a:xfrm>
            <a:off x="1" y="0"/>
            <a:ext cx="15875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endParaRPr kumimoji="0" lang="en-US" sz="2800" b="1" i="0" u="none" strike="noStrike" kern="1200" cap="none" spc="0" normalizeH="0" baseline="0" noProof="0" dirty="0">
              <a:ln>
                <a:noFill/>
              </a:ln>
              <a:solidFill>
                <a:srgbClr val="FFFFFF"/>
              </a:solidFill>
              <a:effectLst/>
              <a:uLnTx/>
              <a:uFillTx/>
              <a:latin typeface="Calibri Light" panose="020F0302020204030204" pitchFamily="34" charset="0"/>
              <a:ea typeface="+mn-ea"/>
              <a:cs typeface="+mn-cs"/>
              <a:sym typeface="Calibri Light" panose="020F0302020204030204" pitchFamily="34" charset="0"/>
            </a:endParaRPr>
          </a:p>
        </p:txBody>
      </p:sp>
      <p:sp>
        <p:nvSpPr>
          <p:cNvPr id="2" name="Title 1"/>
          <p:cNvSpPr>
            <a:spLocks noGrp="1"/>
          </p:cNvSpPr>
          <p:nvPr>
            <p:ph type="title" idx="4294967295"/>
          </p:nvPr>
        </p:nvSpPr>
        <p:spPr>
          <a:xfrm>
            <a:off x="431800" y="344488"/>
            <a:ext cx="11760200" cy="660400"/>
          </a:xfrm>
        </p:spPr>
        <p:txBody>
          <a:bodyPr>
            <a:noAutofit/>
          </a:bodyPr>
          <a:lstStyle/>
          <a:p>
            <a:pPr>
              <a:defRPr/>
            </a:pPr>
            <a:r>
              <a:rPr lang="en-US" sz="3200" b="1" dirty="0">
                <a:solidFill>
                  <a:schemeClr val="accent2"/>
                </a:solidFill>
                <a:latin typeface="+mn-lt"/>
              </a:rPr>
              <a:t>Most Patients with CSA also have Concomitant Cardiovascular Conditions</a:t>
            </a:r>
          </a:p>
        </p:txBody>
      </p:sp>
      <p:graphicFrame>
        <p:nvGraphicFramePr>
          <p:cNvPr id="15" name="Chart 14"/>
          <p:cNvGraphicFramePr/>
          <p:nvPr/>
        </p:nvGraphicFramePr>
        <p:xfrm>
          <a:off x="-1211679" y="1198512"/>
          <a:ext cx="7649131" cy="5315171"/>
        </p:xfrm>
        <a:graphic>
          <a:graphicData uri="http://schemas.openxmlformats.org/drawingml/2006/chart">
            <c:chart xmlns:c="http://schemas.openxmlformats.org/drawingml/2006/chart" xmlns:r="http://schemas.openxmlformats.org/officeDocument/2006/relationships" r:id="rId6"/>
          </a:graphicData>
        </a:graphic>
      </p:graphicFrame>
      <p:sp>
        <p:nvSpPr>
          <p:cNvPr id="11" name="Content Placeholder 5"/>
          <p:cNvSpPr txBox="1">
            <a:spLocks/>
          </p:cNvSpPr>
          <p:nvPr/>
        </p:nvSpPr>
        <p:spPr>
          <a:xfrm>
            <a:off x="547979" y="1198512"/>
            <a:ext cx="4762850" cy="387915"/>
          </a:xfrm>
          <a:prstGeom prst="rect">
            <a:avLst/>
          </a:prstGeom>
          <a:solidFill>
            <a:schemeClr val="bg1"/>
          </a:solidFill>
        </p:spPr>
        <p:txBody>
          <a:bodyPr vert="horz" lIns="91440" tIns="45720" rIns="91440" bIns="45720" rtlCol="0" anchor="t">
            <a:noAutofit/>
          </a:bodyPr>
          <a:lstStyle>
            <a:defPPr>
              <a:defRPr lang="en-US"/>
            </a:defPPr>
            <a:lvl1pPr marL="342900" indent="-342900">
              <a:lnSpc>
                <a:spcPct val="100000"/>
              </a:lnSpc>
              <a:spcBef>
                <a:spcPts val="0"/>
              </a:spcBef>
              <a:spcAft>
                <a:spcPts val="2000"/>
              </a:spcAft>
              <a:buClr>
                <a:schemeClr val="accent1"/>
              </a:buClr>
              <a:buSzPct val="90000"/>
              <a:buFont typeface="Arial" panose="020B0604020202020204" pitchFamily="34" charset="0"/>
              <a:buChar char="•"/>
              <a:defRPr sz="2200">
                <a:solidFill>
                  <a:schemeClr val="tx1">
                    <a:lumMod val="75000"/>
                    <a:lumOff val="25000"/>
                  </a:schemeClr>
                </a:solidFill>
              </a:defRPr>
            </a:lvl1pPr>
            <a:lvl2pPr marL="685800" indent="-228600">
              <a:lnSpc>
                <a:spcPct val="90000"/>
              </a:lnSpc>
              <a:spcBef>
                <a:spcPts val="500"/>
              </a:spcBef>
              <a:buClr>
                <a:schemeClr val="accent6">
                  <a:lumMod val="75000"/>
                </a:schemeClr>
              </a:buClr>
              <a:buSzPct val="80000"/>
              <a:buFont typeface="Arial" charset="0"/>
              <a:buChar char="•"/>
              <a:defRPr sz="2200"/>
            </a:lvl2pPr>
            <a:lvl3pPr marL="1143000" indent="-228600">
              <a:lnSpc>
                <a:spcPct val="90000"/>
              </a:lnSpc>
              <a:spcBef>
                <a:spcPts val="500"/>
              </a:spcBef>
              <a:buClr>
                <a:schemeClr val="accent1"/>
              </a:buClr>
              <a:buSzPct val="70000"/>
              <a:buFont typeface="Wingdings" charset="2"/>
              <a:buChar char="§"/>
              <a:defRPr sz="2000"/>
            </a:lvl3pPr>
            <a:lvl4pPr marL="1600200" indent="-228600">
              <a:lnSpc>
                <a:spcPct val="90000"/>
              </a:lnSpc>
              <a:spcBef>
                <a:spcPts val="500"/>
              </a:spcBef>
              <a:buClr>
                <a:schemeClr val="accent6">
                  <a:lumMod val="75000"/>
                </a:schemeClr>
              </a:buClr>
              <a:buSzPct val="70000"/>
              <a:buFont typeface="Arial" charset="0"/>
              <a:buChar char="•"/>
            </a:lvl4pPr>
            <a:lvl5pPr marL="2057400" indent="-228600">
              <a:lnSpc>
                <a:spcPct val="90000"/>
              </a:lnSpc>
              <a:spcBef>
                <a:spcPts val="500"/>
              </a:spcBef>
              <a:buClr>
                <a:schemeClr val="accent5"/>
              </a:buClr>
              <a:buSzPct val="60000"/>
              <a:buFont typeface="Wingdings" charset="2"/>
              <a:buChar char="§"/>
              <a:defRPr sz="16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914400" rtl="0" eaLnBrk="1" fontAlgn="auto" latinLnBrk="0" hangingPunct="1">
              <a:lnSpc>
                <a:spcPct val="100000"/>
              </a:lnSpc>
              <a:spcBef>
                <a:spcPts val="0"/>
              </a:spcBef>
              <a:spcAft>
                <a:spcPts val="0"/>
              </a:spcAft>
              <a:buClr>
                <a:srgbClr val="00AEB5"/>
              </a:buClr>
              <a:buSzPct val="90000"/>
              <a:buFont typeface="Arial" panose="020B0604020202020204" pitchFamily="34" charset="0"/>
              <a:buNone/>
              <a:tabLst/>
              <a:defRPr/>
            </a:pPr>
            <a:r>
              <a:rPr kumimoji="0" lang="en-US" sz="2100" b="1" i="0" u="none" strike="noStrike" kern="1200" cap="none" spc="0" normalizeH="0" baseline="0" noProof="0" dirty="0">
                <a:ln>
                  <a:noFill/>
                </a:ln>
                <a:solidFill>
                  <a:srgbClr val="33363E">
                    <a:lumMod val="50000"/>
                  </a:srgbClr>
                </a:solidFill>
                <a:effectLst/>
                <a:uLnTx/>
                <a:uFillTx/>
                <a:latin typeface="Calibri" panose="020F0502020204030204"/>
                <a:ea typeface="+mn-ea"/>
                <a:cs typeface="+mn-cs"/>
              </a:rPr>
              <a:t>Etiology of Central Sleep Apnea</a:t>
            </a:r>
            <a:r>
              <a:rPr kumimoji="0" lang="en-US" sz="2100" b="1" i="0" u="none" strike="noStrike" kern="1200" cap="none" spc="0" normalizeH="0" baseline="30000" noProof="0" dirty="0">
                <a:ln>
                  <a:noFill/>
                </a:ln>
                <a:solidFill>
                  <a:srgbClr val="33363E">
                    <a:lumMod val="50000"/>
                  </a:srgbClr>
                </a:solidFill>
                <a:effectLst/>
                <a:uLnTx/>
                <a:uFillTx/>
                <a:latin typeface="Calibri" panose="020F0502020204030204"/>
                <a:ea typeface="+mn-ea"/>
                <a:cs typeface="+mn-cs"/>
              </a:rPr>
              <a:t>1,2</a:t>
            </a:r>
          </a:p>
          <a:p>
            <a:pPr marL="0" marR="0" lvl="0" indent="0" algn="l" defTabSz="914400" rtl="0" eaLnBrk="1" fontAlgn="auto" latinLnBrk="0" hangingPunct="1">
              <a:lnSpc>
                <a:spcPct val="100000"/>
              </a:lnSpc>
              <a:spcBef>
                <a:spcPts val="0"/>
              </a:spcBef>
              <a:spcAft>
                <a:spcPts val="0"/>
              </a:spcAft>
              <a:buClr>
                <a:srgbClr val="00AEB5"/>
              </a:buClr>
              <a:buSzPct val="90000"/>
              <a:buFont typeface="Arial" panose="020B0604020202020204" pitchFamily="34" charset="0"/>
              <a:buNone/>
              <a:tabLst/>
              <a:defRPr/>
            </a:pPr>
            <a:endParaRPr kumimoji="0" lang="en-US" sz="2100" b="1" i="0" u="none" strike="noStrike" kern="1200" cap="none" spc="0" normalizeH="0" baseline="0" noProof="0" dirty="0">
              <a:ln>
                <a:noFill/>
              </a:ln>
              <a:solidFill>
                <a:srgbClr val="33363E">
                  <a:lumMod val="50000"/>
                </a:srgbClr>
              </a:solidFill>
              <a:effectLst/>
              <a:uLnTx/>
              <a:uFillTx/>
              <a:latin typeface="Calibri" panose="020F0502020204030204"/>
              <a:ea typeface="+mn-ea"/>
              <a:cs typeface="+mn-cs"/>
            </a:endParaRPr>
          </a:p>
        </p:txBody>
      </p:sp>
      <p:sp>
        <p:nvSpPr>
          <p:cNvPr id="12" name="Content Placeholder 5"/>
          <p:cNvSpPr txBox="1">
            <a:spLocks/>
          </p:cNvSpPr>
          <p:nvPr/>
        </p:nvSpPr>
        <p:spPr>
          <a:xfrm>
            <a:off x="5430209" y="1004888"/>
            <a:ext cx="6484098" cy="5048413"/>
          </a:xfrm>
          <a:prstGeom prst="rect">
            <a:avLst/>
          </a:prstGeom>
          <a:noFill/>
        </p:spPr>
        <p:txBody>
          <a:bodyPr vert="horz" lIns="91440" tIns="45720" rIns="91440" bIns="45720" rtlCol="0" anchor="t">
            <a:noAutofit/>
          </a:bodyPr>
          <a:lstStyle>
            <a:defPPr>
              <a:defRPr lang="en-US"/>
            </a:defPPr>
            <a:lvl1pPr marL="342900" indent="-342900">
              <a:lnSpc>
                <a:spcPct val="100000"/>
              </a:lnSpc>
              <a:spcBef>
                <a:spcPts val="0"/>
              </a:spcBef>
              <a:spcAft>
                <a:spcPts val="2000"/>
              </a:spcAft>
              <a:buClr>
                <a:schemeClr val="accent1"/>
              </a:buClr>
              <a:buSzPct val="90000"/>
              <a:buFont typeface="Arial" panose="020B0604020202020204" pitchFamily="34" charset="0"/>
              <a:buChar char="•"/>
              <a:defRPr sz="2200">
                <a:solidFill>
                  <a:schemeClr val="tx1">
                    <a:lumMod val="75000"/>
                    <a:lumOff val="25000"/>
                  </a:schemeClr>
                </a:solidFill>
              </a:defRPr>
            </a:lvl1pPr>
            <a:lvl2pPr marL="685800" indent="-228600">
              <a:lnSpc>
                <a:spcPct val="90000"/>
              </a:lnSpc>
              <a:spcBef>
                <a:spcPts val="500"/>
              </a:spcBef>
              <a:buClr>
                <a:schemeClr val="accent6">
                  <a:lumMod val="75000"/>
                </a:schemeClr>
              </a:buClr>
              <a:buSzPct val="80000"/>
              <a:buFont typeface="Arial" charset="0"/>
              <a:buChar char="•"/>
              <a:defRPr sz="2200"/>
            </a:lvl2pPr>
            <a:lvl3pPr marL="1143000" indent="-228600">
              <a:lnSpc>
                <a:spcPct val="90000"/>
              </a:lnSpc>
              <a:spcBef>
                <a:spcPts val="500"/>
              </a:spcBef>
              <a:buClr>
                <a:schemeClr val="accent1"/>
              </a:buClr>
              <a:buSzPct val="70000"/>
              <a:buFont typeface="Wingdings" charset="2"/>
              <a:buChar char="§"/>
              <a:defRPr sz="2000"/>
            </a:lvl3pPr>
            <a:lvl4pPr marL="1600200" indent="-228600">
              <a:lnSpc>
                <a:spcPct val="90000"/>
              </a:lnSpc>
              <a:spcBef>
                <a:spcPts val="500"/>
              </a:spcBef>
              <a:buClr>
                <a:schemeClr val="accent6">
                  <a:lumMod val="75000"/>
                </a:schemeClr>
              </a:buClr>
              <a:buSzPct val="70000"/>
              <a:buFont typeface="Arial" charset="0"/>
              <a:buChar char="•"/>
            </a:lvl4pPr>
            <a:lvl5pPr marL="2057400" indent="-228600">
              <a:lnSpc>
                <a:spcPct val="90000"/>
              </a:lnSpc>
              <a:spcBef>
                <a:spcPts val="500"/>
              </a:spcBef>
              <a:buClr>
                <a:schemeClr val="accent5"/>
              </a:buClr>
              <a:buSzPct val="60000"/>
              <a:buFont typeface="Wingdings" charset="2"/>
              <a:buChar char="§"/>
              <a:defRPr sz="16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914400" rtl="0" eaLnBrk="1" fontAlgn="auto" latinLnBrk="0" hangingPunct="1">
              <a:lnSpc>
                <a:spcPct val="100000"/>
              </a:lnSpc>
              <a:spcBef>
                <a:spcPts val="0"/>
              </a:spcBef>
              <a:spcAft>
                <a:spcPts val="1200"/>
              </a:spcAft>
              <a:buSzPct val="90000"/>
              <a:buNone/>
              <a:tabLst/>
              <a:defRPr/>
            </a:pPr>
            <a:r>
              <a:rPr kumimoji="0" lang="en-US" b="1" i="0" u="none" strike="noStrike" kern="1200" cap="none" spc="0" normalizeH="0" baseline="0" noProof="0" dirty="0">
                <a:ln>
                  <a:noFill/>
                </a:ln>
                <a:solidFill>
                  <a:srgbClr val="33363E">
                    <a:lumMod val="50000"/>
                  </a:srgbClr>
                </a:solidFill>
                <a:effectLst/>
                <a:uLnTx/>
                <a:uFillTx/>
                <a:latin typeface="Calibri" panose="020F0502020204030204"/>
                <a:ea typeface="+mn-ea"/>
                <a:cs typeface="+mn-cs"/>
              </a:rPr>
              <a:t>Heart Failure</a:t>
            </a:r>
            <a:r>
              <a:rPr kumimoji="0" lang="en-US" b="1" i="0" u="none" strike="noStrike" kern="1200" cap="none" spc="0" normalizeH="0" baseline="30000" noProof="0" dirty="0">
                <a:ln>
                  <a:noFill/>
                </a:ln>
                <a:solidFill>
                  <a:srgbClr val="33363E">
                    <a:lumMod val="50000"/>
                  </a:srgbClr>
                </a:solidFill>
                <a:effectLst/>
                <a:uLnTx/>
                <a:uFillTx/>
                <a:latin typeface="Calibri" panose="020F0502020204030204"/>
                <a:ea typeface="+mn-ea"/>
                <a:cs typeface="+mn-cs"/>
              </a:rPr>
              <a:t>2,3</a:t>
            </a:r>
            <a:endParaRPr kumimoji="0" lang="en-US" b="1" i="0" u="none" strike="noStrike" kern="1200" cap="none" spc="0" normalizeH="0" baseline="0" noProof="0" dirty="0">
              <a:ln>
                <a:noFill/>
              </a:ln>
              <a:solidFill>
                <a:srgbClr val="33363E">
                  <a:lumMod val="50000"/>
                </a:srgbClr>
              </a:solidFill>
              <a:effectLst/>
              <a:uLnTx/>
              <a:uFillTx/>
              <a:latin typeface="Calibri" panose="020F0502020204030204"/>
              <a:ea typeface="+mn-ea"/>
              <a:cs typeface="+mn-cs"/>
            </a:endParaRPr>
          </a:p>
          <a:p>
            <a:pPr marR="0" lvl="0" algn="l" defTabSz="914400" rtl="0" eaLnBrk="1" fontAlgn="auto" latinLnBrk="0" hangingPunct="1">
              <a:lnSpc>
                <a:spcPct val="100000"/>
              </a:lnSpc>
              <a:spcBef>
                <a:spcPts val="0"/>
              </a:spcBef>
              <a:spcAft>
                <a:spcPts val="1200"/>
              </a:spcAft>
              <a:buSzPct val="90000"/>
              <a:tabLst/>
              <a:defRPr/>
            </a:pPr>
            <a:r>
              <a:rPr kumimoji="0" lang="en-US" b="0" i="0" u="none" strike="noStrike" kern="1200" cap="none" spc="0" normalizeH="0" baseline="0" noProof="0" dirty="0">
                <a:ln>
                  <a:noFill/>
                </a:ln>
                <a:solidFill>
                  <a:srgbClr val="33363E">
                    <a:lumMod val="50000"/>
                  </a:srgbClr>
                </a:solidFill>
                <a:effectLst/>
                <a:uLnTx/>
                <a:uFillTx/>
                <a:latin typeface="Calibri" panose="020F0502020204030204"/>
                <a:ea typeface="+mn-ea"/>
                <a:cs typeface="+mn-cs"/>
              </a:rPr>
              <a:t>CSA occurs in 30–50% of patients with heart failure with reduced left ventricular ejection fraction (LVEF) and in 18–30% of HF patients with preserved LVEF</a:t>
            </a:r>
          </a:p>
          <a:p>
            <a:pPr marR="0" lvl="0" algn="l" defTabSz="914400" rtl="0" eaLnBrk="1" fontAlgn="auto" latinLnBrk="0" hangingPunct="1">
              <a:lnSpc>
                <a:spcPct val="100000"/>
              </a:lnSpc>
              <a:spcBef>
                <a:spcPts val="0"/>
              </a:spcBef>
              <a:spcAft>
                <a:spcPts val="1500"/>
              </a:spcAft>
              <a:buSzPct val="90000"/>
              <a:tabLst/>
              <a:defRPr/>
            </a:pPr>
            <a:r>
              <a:rPr kumimoji="0" lang="en-US" b="0" i="0" u="none" strike="noStrike" kern="1200" cap="none" spc="0" normalizeH="0" baseline="0" noProof="0" dirty="0">
                <a:ln>
                  <a:noFill/>
                </a:ln>
                <a:solidFill>
                  <a:srgbClr val="33363E">
                    <a:lumMod val="50000"/>
                  </a:srgbClr>
                </a:solidFill>
                <a:effectLst/>
                <a:uLnTx/>
                <a:uFillTx/>
                <a:latin typeface="Calibri" panose="020F0502020204030204"/>
                <a:ea typeface="+mn-ea"/>
                <a:cs typeface="+mn-cs"/>
              </a:rPr>
              <a:t>70%+ of CSA patients have heart failure and/or reduced left ventricular ejection fraction (LVEF)</a:t>
            </a:r>
          </a:p>
          <a:p>
            <a:pPr marL="0" marR="0" lvl="0" indent="0" algn="l" defTabSz="914400" rtl="0" eaLnBrk="1" fontAlgn="auto" latinLnBrk="0" hangingPunct="1">
              <a:lnSpc>
                <a:spcPct val="100000"/>
              </a:lnSpc>
              <a:spcBef>
                <a:spcPts val="1200"/>
              </a:spcBef>
              <a:spcAft>
                <a:spcPts val="1200"/>
              </a:spcAft>
              <a:buSzPct val="90000"/>
              <a:buNone/>
              <a:tabLst/>
              <a:defRPr/>
            </a:pPr>
            <a:r>
              <a:rPr kumimoji="0" lang="en-US" b="1" i="0" u="none" strike="noStrike" kern="1200" cap="none" spc="0" normalizeH="0" baseline="0" noProof="0" dirty="0">
                <a:ln>
                  <a:noFill/>
                </a:ln>
                <a:solidFill>
                  <a:srgbClr val="33363E">
                    <a:lumMod val="50000"/>
                  </a:srgbClr>
                </a:solidFill>
                <a:effectLst/>
                <a:uLnTx/>
                <a:uFillTx/>
                <a:latin typeface="Calibri" panose="020F0502020204030204"/>
                <a:ea typeface="+mn-ea"/>
                <a:cs typeface="+mn-cs"/>
              </a:rPr>
              <a:t>Atrial Fibrillation</a:t>
            </a:r>
            <a:r>
              <a:rPr kumimoji="0" lang="en-US" b="1" i="0" u="none" strike="noStrike" kern="1200" cap="none" spc="0" normalizeH="0" baseline="30000" noProof="0" dirty="0">
                <a:ln>
                  <a:noFill/>
                </a:ln>
                <a:solidFill>
                  <a:srgbClr val="33363E">
                    <a:lumMod val="50000"/>
                  </a:srgbClr>
                </a:solidFill>
                <a:effectLst/>
                <a:uLnTx/>
                <a:uFillTx/>
                <a:latin typeface="Calibri" panose="020F0502020204030204"/>
                <a:ea typeface="+mn-ea"/>
                <a:cs typeface="+mn-cs"/>
              </a:rPr>
              <a:t>2,4,5</a:t>
            </a:r>
            <a:endParaRPr kumimoji="0" lang="en-US" b="1" i="0" u="none" strike="noStrike" kern="1200" cap="none" spc="0" normalizeH="0" baseline="0" noProof="0" dirty="0">
              <a:ln>
                <a:noFill/>
              </a:ln>
              <a:solidFill>
                <a:srgbClr val="33363E">
                  <a:lumMod val="50000"/>
                </a:srgbClr>
              </a:solidFill>
              <a:effectLst/>
              <a:uLnTx/>
              <a:uFillTx/>
              <a:latin typeface="Calibri" panose="020F0502020204030204"/>
              <a:ea typeface="+mn-ea"/>
              <a:cs typeface="+mn-cs"/>
            </a:endParaRPr>
          </a:p>
          <a:p>
            <a:pPr marR="0" lvl="0" algn="l" defTabSz="914400" rtl="0" eaLnBrk="1" fontAlgn="auto" latinLnBrk="0" hangingPunct="1">
              <a:lnSpc>
                <a:spcPct val="100000"/>
              </a:lnSpc>
              <a:spcBef>
                <a:spcPts val="0"/>
              </a:spcBef>
              <a:spcAft>
                <a:spcPts val="1500"/>
              </a:spcAft>
              <a:buSzPct val="90000"/>
              <a:tabLst/>
              <a:defRPr/>
            </a:pPr>
            <a:r>
              <a:rPr kumimoji="0" lang="en-US" b="0" i="0" u="none" strike="noStrike" kern="1200" cap="none" spc="0" normalizeH="0" baseline="0" noProof="0" dirty="0">
                <a:ln>
                  <a:noFill/>
                </a:ln>
                <a:solidFill>
                  <a:srgbClr val="33363E">
                    <a:lumMod val="50000"/>
                  </a:srgbClr>
                </a:solidFill>
                <a:effectLst/>
                <a:uLnTx/>
                <a:uFillTx/>
                <a:latin typeface="Calibri" panose="020F0502020204030204"/>
                <a:ea typeface="+mn-ea"/>
                <a:cs typeface="+mn-cs"/>
              </a:rPr>
              <a:t>CSA occurs in 10-30% of patients with atrial fibrillation</a:t>
            </a:r>
          </a:p>
          <a:p>
            <a:pPr marR="0" lvl="0" algn="l" defTabSz="914400" rtl="0" eaLnBrk="1" fontAlgn="auto" latinLnBrk="0" hangingPunct="1">
              <a:lnSpc>
                <a:spcPct val="100000"/>
              </a:lnSpc>
              <a:spcBef>
                <a:spcPts val="0"/>
              </a:spcBef>
              <a:spcAft>
                <a:spcPts val="1500"/>
              </a:spcAft>
              <a:buSzPct val="90000"/>
              <a:tabLst/>
              <a:defRPr/>
            </a:pPr>
            <a:r>
              <a:rPr kumimoji="0" lang="en-US" b="0" i="0" u="none" strike="noStrike" kern="1200" cap="none" spc="0" normalizeH="0" baseline="0" noProof="0" dirty="0">
                <a:ln>
                  <a:noFill/>
                </a:ln>
                <a:solidFill>
                  <a:srgbClr val="33363E">
                    <a:lumMod val="50000"/>
                  </a:srgbClr>
                </a:solidFill>
                <a:effectLst/>
                <a:uLnTx/>
                <a:uFillTx/>
                <a:latin typeface="Calibri" panose="020F0502020204030204"/>
                <a:ea typeface="+mn-ea"/>
                <a:cs typeface="+mn-cs"/>
              </a:rPr>
              <a:t>20+% of CSA patients have atrial fibrillation</a:t>
            </a:r>
          </a:p>
        </p:txBody>
      </p:sp>
      <p:sp>
        <p:nvSpPr>
          <p:cNvPr id="6" name="Slide Number Placeholder 5">
            <a:extLst>
              <a:ext uri="{FF2B5EF4-FFF2-40B4-BE49-F238E27FC236}">
                <a16:creationId xmlns:a16="http://schemas.microsoft.com/office/drawing/2014/main" id="{E2E80FF7-9A18-E05D-9A4F-E9E202E540F0}"/>
              </a:ext>
            </a:extLst>
          </p:cNvPr>
          <p:cNvSpPr>
            <a:spLocks noGrp="1"/>
          </p:cNvSpPr>
          <p:nvPr>
            <p:ph type="sldNum" sz="quarter" idx="12"/>
          </p:nvPr>
        </p:nvSpPr>
        <p:spPr/>
        <p:txBody>
          <a:bodyPr/>
          <a:lstStyle/>
          <a:p>
            <a:fld id="{21D51F98-DEF0-4E23-AE94-24E7CFC19B28}" type="slidenum">
              <a:rPr lang="en-US" smtClean="0"/>
              <a:t>15</a:t>
            </a:fld>
            <a:endParaRPr lang="en-US"/>
          </a:p>
        </p:txBody>
      </p:sp>
      <p:sp>
        <p:nvSpPr>
          <p:cNvPr id="9" name="Footer Placeholder 5">
            <a:extLst>
              <a:ext uri="{FF2B5EF4-FFF2-40B4-BE49-F238E27FC236}">
                <a16:creationId xmlns:a16="http://schemas.microsoft.com/office/drawing/2014/main" id="{20404DD3-8908-F876-E0D9-C763AA095AC4}"/>
              </a:ext>
            </a:extLst>
          </p:cNvPr>
          <p:cNvSpPr>
            <a:spLocks noGrp="1"/>
          </p:cNvSpPr>
          <p:nvPr>
            <p:ph type="ftr" sz="quarter" idx="11"/>
          </p:nvPr>
        </p:nvSpPr>
        <p:spPr>
          <a:xfrm>
            <a:off x="3684598" y="6459785"/>
            <a:ext cx="4822804" cy="365125"/>
          </a:xfrm>
        </p:spPr>
        <p:txBody>
          <a:bodyPr/>
          <a:lstStyle/>
          <a:p>
            <a:r>
              <a:rPr lang="en-US" dirty="0"/>
              <a:t>MAF1937 Rev E</a:t>
            </a:r>
          </a:p>
        </p:txBody>
      </p:sp>
    </p:spTree>
    <p:extLst>
      <p:ext uri="{BB962C8B-B14F-4D97-AF65-F5344CB8AC3E}">
        <p14:creationId xmlns:p14="http://schemas.microsoft.com/office/powerpoint/2010/main" val="339286179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1" name="Title 3"/>
          <p:cNvSpPr>
            <a:spLocks noGrp="1"/>
          </p:cNvSpPr>
          <p:nvPr>
            <p:ph type="title" idx="4294967295"/>
          </p:nvPr>
        </p:nvSpPr>
        <p:spPr>
          <a:xfrm>
            <a:off x="341745" y="169956"/>
            <a:ext cx="10972800" cy="762000"/>
          </a:xfrm>
        </p:spPr>
        <p:txBody>
          <a:bodyPr>
            <a:noAutofit/>
          </a:bodyPr>
          <a:lstStyle/>
          <a:p>
            <a:r>
              <a:rPr lang="en-US" sz="3200" b="1" dirty="0">
                <a:solidFill>
                  <a:schemeClr val="accent2"/>
                </a:solidFill>
                <a:latin typeface="+mn-lt"/>
              </a:rPr>
              <a:t>Sleep Disordered Breathing is Common in Heart Failure</a:t>
            </a:r>
            <a:br>
              <a:rPr lang="en-US" sz="3600" b="1" dirty="0">
                <a:solidFill>
                  <a:schemeClr val="accent2"/>
                </a:solidFill>
                <a:latin typeface="+mn-lt"/>
              </a:rPr>
            </a:br>
            <a:r>
              <a:rPr lang="en-US" sz="2800" b="1" i="1" dirty="0">
                <a:solidFill>
                  <a:schemeClr val="accent2"/>
                </a:solidFill>
                <a:latin typeface="+mn-lt"/>
              </a:rPr>
              <a:t>Untreated CSA symptoms can overlap HF symptoms</a:t>
            </a:r>
            <a:endParaRPr lang="en-US" sz="3200" b="1" i="1" dirty="0">
              <a:solidFill>
                <a:schemeClr val="accent2"/>
              </a:solidFill>
              <a:latin typeface="+mn-lt"/>
            </a:endParaRPr>
          </a:p>
        </p:txBody>
      </p:sp>
      <p:sp>
        <p:nvSpPr>
          <p:cNvPr id="7174" name="Slide Number Placeholder 10"/>
          <p:cNvSpPr txBox="1">
            <a:spLocks/>
          </p:cNvSpPr>
          <p:nvPr/>
        </p:nvSpPr>
        <p:spPr bwMode="auto">
          <a:xfrm>
            <a:off x="10058400" y="6381750"/>
            <a:ext cx="533400" cy="400050"/>
          </a:xfrm>
          <a:prstGeom prst="rect">
            <a:avLst/>
          </a:prstGeom>
          <a:noFill/>
          <a:ln w="9525">
            <a:noFill/>
            <a:miter lim="800000"/>
            <a:headEnd/>
            <a:tailEnd/>
          </a:ln>
        </p:spPr>
        <p:txBody>
          <a:bodyPr/>
          <a:lstStyle/>
          <a:p>
            <a:pPr algn="r" eaLnBrk="0" hangingPunct="0"/>
            <a:endParaRPr lang="en-GB" dirty="0">
              <a:solidFill>
                <a:schemeClr val="bg1"/>
              </a:solidFill>
            </a:endParaRPr>
          </a:p>
        </p:txBody>
      </p:sp>
      <p:graphicFrame>
        <p:nvGraphicFramePr>
          <p:cNvPr id="7" name="Chart 6"/>
          <p:cNvGraphicFramePr/>
          <p:nvPr>
            <p:extLst>
              <p:ext uri="{D42A27DB-BD31-4B8C-83A1-F6EECF244321}">
                <p14:modId xmlns:p14="http://schemas.microsoft.com/office/powerpoint/2010/main" val="2681186410"/>
              </p:ext>
            </p:extLst>
          </p:nvPr>
        </p:nvGraphicFramePr>
        <p:xfrm>
          <a:off x="577133" y="1056316"/>
          <a:ext cx="4554675" cy="4825057"/>
        </p:xfrm>
        <a:graphic>
          <a:graphicData uri="http://schemas.openxmlformats.org/drawingml/2006/chart">
            <c:chart xmlns:c="http://schemas.openxmlformats.org/drawingml/2006/chart" xmlns:r="http://schemas.openxmlformats.org/officeDocument/2006/relationships" r:id="rId3"/>
          </a:graphicData>
        </a:graphic>
      </p:graphicFrame>
      <p:sp>
        <p:nvSpPr>
          <p:cNvPr id="8" name="TextBox 4"/>
          <p:cNvSpPr txBox="1">
            <a:spLocks noChangeArrowheads="1"/>
          </p:cNvSpPr>
          <p:nvPr/>
        </p:nvSpPr>
        <p:spPr bwMode="auto">
          <a:xfrm>
            <a:off x="265195" y="5881373"/>
            <a:ext cx="2667000" cy="400110"/>
          </a:xfrm>
          <a:prstGeom prst="rect">
            <a:avLst/>
          </a:prstGeom>
          <a:noFill/>
          <a:ln w="9525">
            <a:noFill/>
            <a:miter lim="800000"/>
            <a:headEnd/>
            <a:tailEnd/>
          </a:ln>
        </p:spPr>
        <p:txBody>
          <a:bodyPr wrap="square">
            <a:spAutoFit/>
          </a:bodyPr>
          <a:lstStyle/>
          <a:p>
            <a:r>
              <a:rPr lang="en-US" sz="1000" dirty="0">
                <a:latin typeface="Calibri" pitchFamily="34" charset="0"/>
                <a:cs typeface="Calibri" pitchFamily="34" charset="0"/>
              </a:rPr>
              <a:t>Roger et al.  Circulation 2011;123:e18-209</a:t>
            </a:r>
          </a:p>
          <a:p>
            <a:r>
              <a:rPr lang="en-US" sz="1000" dirty="0">
                <a:latin typeface="Calibri" pitchFamily="34" charset="0"/>
                <a:cs typeface="Calibri" pitchFamily="34" charset="0"/>
              </a:rPr>
              <a:t>Oldenburg et al. </a:t>
            </a:r>
            <a:r>
              <a:rPr lang="en-US" sz="1000" dirty="0" err="1">
                <a:latin typeface="Calibri" pitchFamily="34" charset="0"/>
                <a:cs typeface="Calibri" pitchFamily="34" charset="0"/>
              </a:rPr>
              <a:t>Eur</a:t>
            </a:r>
            <a:r>
              <a:rPr lang="en-US" sz="1000" dirty="0">
                <a:latin typeface="Calibri" pitchFamily="34" charset="0"/>
                <a:cs typeface="Calibri" pitchFamily="34" charset="0"/>
              </a:rPr>
              <a:t> J Heart Fail;20079:251-7</a:t>
            </a:r>
          </a:p>
        </p:txBody>
      </p:sp>
      <p:sp>
        <p:nvSpPr>
          <p:cNvPr id="9" name="Content Placeholder 3">
            <a:extLst>
              <a:ext uri="{FF2B5EF4-FFF2-40B4-BE49-F238E27FC236}">
                <a16:creationId xmlns:a16="http://schemas.microsoft.com/office/drawing/2014/main" id="{5A9AF5D6-7BCA-44D1-BE0F-F3318E72C2EC}"/>
              </a:ext>
            </a:extLst>
          </p:cNvPr>
          <p:cNvSpPr txBox="1">
            <a:spLocks/>
          </p:cNvSpPr>
          <p:nvPr/>
        </p:nvSpPr>
        <p:spPr>
          <a:xfrm>
            <a:off x="5951188" y="1071569"/>
            <a:ext cx="6061304" cy="5020975"/>
          </a:xfrm>
          <a:prstGeom prst="rect">
            <a:avLst/>
          </a:prstGeom>
          <a:solidFill>
            <a:schemeClr val="bg1"/>
          </a:solidFill>
        </p:spPr>
        <p:txBody>
          <a:bodyPr/>
          <a:lstStyle>
            <a:lvl1pPr marL="228600" indent="-228600" algn="l" defTabSz="914400" rtl="0" eaLnBrk="1" latinLnBrk="0" hangingPunct="1">
              <a:lnSpc>
                <a:spcPct val="90000"/>
              </a:lnSpc>
              <a:spcBef>
                <a:spcPts val="1000"/>
              </a:spcBef>
              <a:buClr>
                <a:schemeClr val="accent1"/>
              </a:buClr>
              <a:buSzPct val="90000"/>
              <a:buFont typeface="Wingdings" charset="2"/>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Clr>
                <a:schemeClr val="accent6">
                  <a:lumMod val="75000"/>
                </a:schemeClr>
              </a:buClr>
              <a:buSzPct val="80000"/>
              <a:buFont typeface="Arial" charset="0"/>
              <a:buChar char="•"/>
              <a:defRPr sz="22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accent1"/>
              </a:buClr>
              <a:buSzPct val="70000"/>
              <a:buFont typeface="Wingdings" charset="2"/>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accent6">
                  <a:lumMod val="75000"/>
                </a:schemeClr>
              </a:buClr>
              <a:buSzPct val="70000"/>
              <a:buFont typeface="Arial"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accent5"/>
              </a:buClr>
              <a:buSzPct val="60000"/>
              <a:buFont typeface="Wingdings" charset="2"/>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dirty="0"/>
              <a:t>Many patients with CSA complain of symptoms which </a:t>
            </a:r>
            <a:r>
              <a:rPr lang="en-US" altLang="en-US" sz="2000" dirty="0"/>
              <a:t>may be multifactorial:</a:t>
            </a:r>
          </a:p>
          <a:p>
            <a:pPr lvl="1"/>
            <a:r>
              <a:rPr lang="en-US" altLang="en-US" sz="2000" dirty="0"/>
              <a:t>Fatigue</a:t>
            </a:r>
          </a:p>
          <a:p>
            <a:pPr lvl="2"/>
            <a:r>
              <a:rPr lang="en-US" altLang="en-US" sz="1800" dirty="0"/>
              <a:t>Low cardiac index</a:t>
            </a:r>
          </a:p>
          <a:p>
            <a:pPr lvl="2"/>
            <a:r>
              <a:rPr lang="en-US" altLang="en-US" sz="1800" dirty="0"/>
              <a:t>Medication side-effects</a:t>
            </a:r>
          </a:p>
          <a:p>
            <a:pPr lvl="2"/>
            <a:r>
              <a:rPr lang="en-US" altLang="en-US" sz="1800" dirty="0"/>
              <a:t>Depression</a:t>
            </a:r>
          </a:p>
          <a:p>
            <a:pPr lvl="2"/>
            <a:r>
              <a:rPr lang="en-US" altLang="en-US" sz="1800" dirty="0"/>
              <a:t>Co-existent medical problems</a:t>
            </a:r>
          </a:p>
          <a:p>
            <a:pPr lvl="1"/>
            <a:r>
              <a:rPr lang="en-US" altLang="en-US" sz="2000" dirty="0"/>
              <a:t>Frequent hospitalizations</a:t>
            </a:r>
          </a:p>
          <a:p>
            <a:pPr lvl="1"/>
            <a:r>
              <a:rPr lang="en-US" altLang="en-US" sz="2000" dirty="0"/>
              <a:t>Nocturia</a:t>
            </a:r>
          </a:p>
          <a:p>
            <a:pPr lvl="1"/>
            <a:r>
              <a:rPr lang="en-US" altLang="en-US" sz="2000" dirty="0"/>
              <a:t>Frequent awakenings</a:t>
            </a:r>
          </a:p>
          <a:p>
            <a:r>
              <a:rPr lang="en-US" altLang="en-US" sz="2000" dirty="0"/>
              <a:t>CSA patients often have apneas observed by bed partners</a:t>
            </a:r>
          </a:p>
          <a:p>
            <a:r>
              <a:rPr lang="en-US" altLang="en-US" sz="2000" dirty="0"/>
              <a:t>CSA patients frequently do not snore</a:t>
            </a:r>
          </a:p>
          <a:p>
            <a:r>
              <a:rPr lang="en-US" altLang="en-US" sz="2000" dirty="0"/>
              <a:t>CSA patients frequently are not aware that they have arousals</a:t>
            </a:r>
          </a:p>
        </p:txBody>
      </p:sp>
      <p:sp>
        <p:nvSpPr>
          <p:cNvPr id="12" name="TextBox 11">
            <a:extLst>
              <a:ext uri="{FF2B5EF4-FFF2-40B4-BE49-F238E27FC236}">
                <a16:creationId xmlns:a16="http://schemas.microsoft.com/office/drawing/2014/main" id="{0608AAC4-6894-40AF-8310-A27DFD4DB298}"/>
              </a:ext>
            </a:extLst>
          </p:cNvPr>
          <p:cNvSpPr txBox="1"/>
          <p:nvPr/>
        </p:nvSpPr>
        <p:spPr>
          <a:xfrm>
            <a:off x="9423838" y="5923267"/>
            <a:ext cx="2768162" cy="400110"/>
          </a:xfrm>
          <a:prstGeom prst="rect">
            <a:avLst/>
          </a:prstGeom>
          <a:noFill/>
        </p:spPr>
        <p:txBody>
          <a:bodyPr wrap="square" rtlCol="0">
            <a:spAutoFit/>
          </a:bodyPr>
          <a:lstStyle/>
          <a:p>
            <a:pPr lvl="0">
              <a:defRPr/>
            </a:pPr>
            <a:r>
              <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rPr>
              <a:t>Costanzo et al., JACC </a:t>
            </a:r>
            <a:r>
              <a:rPr lang="en-US" sz="1000" dirty="0">
                <a:solidFill>
                  <a:prstClr val="black"/>
                </a:solidFill>
              </a:rPr>
              <a:t>2015; 65(1):72-84</a:t>
            </a:r>
            <a:endPar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lvl="0">
              <a:defRPr/>
            </a:pPr>
            <a:r>
              <a:rPr kumimoji="0" lang="en-US" sz="1000" b="0" i="0" u="none" strike="noStrike" kern="1200" cap="none" spc="0" normalizeH="0" baseline="0" noProof="0" dirty="0" err="1">
                <a:ln>
                  <a:noFill/>
                </a:ln>
                <a:solidFill>
                  <a:prstClr val="black"/>
                </a:solidFill>
                <a:effectLst/>
                <a:uLnTx/>
                <a:uFillTx/>
                <a:latin typeface="Calibri" panose="020F0502020204030204"/>
                <a:ea typeface="+mn-ea"/>
                <a:cs typeface="+mn-cs"/>
              </a:rPr>
              <a:t>Arzt</a:t>
            </a:r>
            <a:r>
              <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rPr>
              <a:t> et al., JACC: Heart Fail 2016</a:t>
            </a:r>
            <a:r>
              <a:rPr lang="en-US" sz="1000" dirty="0">
                <a:solidFill>
                  <a:prstClr val="black"/>
                </a:solidFill>
              </a:rPr>
              <a:t>; 4(2):116-125</a:t>
            </a:r>
            <a:endPar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 name="Slide Number Placeholder 2">
            <a:extLst>
              <a:ext uri="{FF2B5EF4-FFF2-40B4-BE49-F238E27FC236}">
                <a16:creationId xmlns:a16="http://schemas.microsoft.com/office/drawing/2014/main" id="{B728ED5C-526E-4E51-9FE4-D2A49E39CD2C}"/>
              </a:ext>
            </a:extLst>
          </p:cNvPr>
          <p:cNvSpPr>
            <a:spLocks noGrp="1"/>
          </p:cNvSpPr>
          <p:nvPr>
            <p:ph type="sldNum" sz="quarter" idx="12"/>
          </p:nvPr>
        </p:nvSpPr>
        <p:spPr/>
        <p:txBody>
          <a:bodyPr/>
          <a:lstStyle/>
          <a:p>
            <a:fld id="{21D51F98-DEF0-4E23-AE94-24E7CFC19B28}" type="slidenum">
              <a:rPr lang="en-US" smtClean="0"/>
              <a:t>16</a:t>
            </a:fld>
            <a:endParaRPr lang="en-US"/>
          </a:p>
        </p:txBody>
      </p:sp>
      <p:sp>
        <p:nvSpPr>
          <p:cNvPr id="5" name="Footer Placeholder 5">
            <a:extLst>
              <a:ext uri="{FF2B5EF4-FFF2-40B4-BE49-F238E27FC236}">
                <a16:creationId xmlns:a16="http://schemas.microsoft.com/office/drawing/2014/main" id="{AEAE5E6F-3DFD-EBC0-73DC-0EF8897B04C5}"/>
              </a:ext>
            </a:extLst>
          </p:cNvPr>
          <p:cNvSpPr>
            <a:spLocks noGrp="1"/>
          </p:cNvSpPr>
          <p:nvPr>
            <p:ph type="ftr" sz="quarter" idx="11"/>
          </p:nvPr>
        </p:nvSpPr>
        <p:spPr>
          <a:xfrm>
            <a:off x="3684598" y="6459785"/>
            <a:ext cx="4822804" cy="365125"/>
          </a:xfrm>
        </p:spPr>
        <p:txBody>
          <a:bodyPr/>
          <a:lstStyle/>
          <a:p>
            <a:r>
              <a:rPr lang="en-US" dirty="0"/>
              <a:t>MAF1937 Rev E</a:t>
            </a:r>
          </a:p>
        </p:txBody>
      </p:sp>
    </p:spTree>
    <p:extLst>
      <p:ext uri="{BB962C8B-B14F-4D97-AF65-F5344CB8AC3E}">
        <p14:creationId xmlns:p14="http://schemas.microsoft.com/office/powerpoint/2010/main" val="196392310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Rounded Rectangle 11">
            <a:extLst>
              <a:ext uri="{FF2B5EF4-FFF2-40B4-BE49-F238E27FC236}">
                <a16:creationId xmlns:a16="http://schemas.microsoft.com/office/drawing/2014/main" id="{50FAE6A9-9B8F-4844-9CE6-2FC7789FE250}"/>
              </a:ext>
            </a:extLst>
          </p:cNvPr>
          <p:cNvSpPr/>
          <p:nvPr/>
        </p:nvSpPr>
        <p:spPr>
          <a:xfrm>
            <a:off x="1171647" y="4051200"/>
            <a:ext cx="2397100" cy="1569093"/>
          </a:xfrm>
          <a:prstGeom prst="roundRect">
            <a:avLst>
              <a:gd name="adj" fmla="val 5780"/>
            </a:avLst>
          </a:prstGeom>
          <a:solidFill>
            <a:srgbClr val="FFFFFF">
              <a:alpha val="8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 name="TextBox 4"/>
          <p:cNvSpPr txBox="1">
            <a:spLocks noChangeArrowheads="1"/>
          </p:cNvSpPr>
          <p:nvPr/>
        </p:nvSpPr>
        <p:spPr bwMode="auto">
          <a:xfrm>
            <a:off x="221649" y="6223754"/>
            <a:ext cx="2667000" cy="215444"/>
          </a:xfrm>
          <a:prstGeom prst="rect">
            <a:avLst/>
          </a:prstGeom>
          <a:noFill/>
          <a:ln w="9525">
            <a:noFill/>
            <a:miter lim="800000"/>
            <a:headEnd/>
            <a:tailEnd/>
          </a:ln>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Calibri" pitchFamily="34" charset="0"/>
                <a:ea typeface="+mn-ea"/>
                <a:cs typeface="Calibri" pitchFamily="34" charset="0"/>
              </a:rPr>
              <a:t>Oldenburg et al. Eur J Heart Fail; 2007; 9:251-7</a:t>
            </a:r>
          </a:p>
        </p:txBody>
      </p:sp>
      <p:sp>
        <p:nvSpPr>
          <p:cNvPr id="14" name="Rounded Rectangle 11">
            <a:extLst>
              <a:ext uri="{FF2B5EF4-FFF2-40B4-BE49-F238E27FC236}">
                <a16:creationId xmlns:a16="http://schemas.microsoft.com/office/drawing/2014/main" id="{D82A0572-24B6-4B2D-8D15-187E4988969D}"/>
              </a:ext>
            </a:extLst>
          </p:cNvPr>
          <p:cNvSpPr/>
          <p:nvPr/>
        </p:nvSpPr>
        <p:spPr>
          <a:xfrm>
            <a:off x="4597795" y="1450749"/>
            <a:ext cx="2397100" cy="1569093"/>
          </a:xfrm>
          <a:prstGeom prst="roundRect">
            <a:avLst>
              <a:gd name="adj" fmla="val 5780"/>
            </a:avLst>
          </a:prstGeom>
          <a:solidFill>
            <a:schemeClr val="bg1">
              <a:alpha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 name="Freeform 13">
            <a:extLst>
              <a:ext uri="{FF2B5EF4-FFF2-40B4-BE49-F238E27FC236}">
                <a16:creationId xmlns:a16="http://schemas.microsoft.com/office/drawing/2014/main" id="{C5B41838-0482-4585-B2DA-B8D88B3FA6C5}"/>
              </a:ext>
            </a:extLst>
          </p:cNvPr>
          <p:cNvSpPr>
            <a:spLocks/>
          </p:cNvSpPr>
          <p:nvPr/>
        </p:nvSpPr>
        <p:spPr bwMode="auto">
          <a:xfrm>
            <a:off x="2047050" y="4835747"/>
            <a:ext cx="197037" cy="470851"/>
          </a:xfrm>
          <a:custGeom>
            <a:avLst/>
            <a:gdLst>
              <a:gd name="T0" fmla="*/ 13344091 w 6132"/>
              <a:gd name="T1" fmla="*/ 10441401 h 16980"/>
              <a:gd name="T2" fmla="*/ 14439013 w 6132"/>
              <a:gd name="T3" fmla="*/ 10808942 h 16980"/>
              <a:gd name="T4" fmla="*/ 15478309 w 6132"/>
              <a:gd name="T5" fmla="*/ 11467619 h 16980"/>
              <a:gd name="T6" fmla="*/ 16450295 w 6132"/>
              <a:gd name="T7" fmla="*/ 12408541 h 16980"/>
              <a:gd name="T8" fmla="*/ 17214401 w 6132"/>
              <a:gd name="T9" fmla="*/ 13481773 h 16980"/>
              <a:gd name="T10" fmla="*/ 17709159 w 6132"/>
              <a:gd name="T11" fmla="*/ 14605004 h 16980"/>
              <a:gd name="T12" fmla="*/ 17937493 w 6132"/>
              <a:gd name="T13" fmla="*/ 15789994 h 16980"/>
              <a:gd name="T14" fmla="*/ 17922884 w 6132"/>
              <a:gd name="T15" fmla="*/ 28795453 h 16980"/>
              <a:gd name="T16" fmla="*/ 17720901 w 6132"/>
              <a:gd name="T17" fmla="*/ 29724608 h 16980"/>
              <a:gd name="T18" fmla="*/ 17322724 w 6132"/>
              <a:gd name="T19" fmla="*/ 30571448 h 16980"/>
              <a:gd name="T20" fmla="*/ 16731329 w 6132"/>
              <a:gd name="T21" fmla="*/ 31344758 h 16980"/>
              <a:gd name="T22" fmla="*/ 15970146 w 6132"/>
              <a:gd name="T23" fmla="*/ 32000508 h 16980"/>
              <a:gd name="T24" fmla="*/ 15062602 w 6132"/>
              <a:gd name="T25" fmla="*/ 32509198 h 16980"/>
              <a:gd name="T26" fmla="*/ 14014483 w 6132"/>
              <a:gd name="T27" fmla="*/ 32867899 h 16980"/>
              <a:gd name="T28" fmla="*/ 4168927 w 6132"/>
              <a:gd name="T29" fmla="*/ 32935519 h 16980"/>
              <a:gd name="T30" fmla="*/ 3003722 w 6132"/>
              <a:gd name="T31" fmla="*/ 32515054 h 16980"/>
              <a:gd name="T32" fmla="*/ 2104943 w 6132"/>
              <a:gd name="T33" fmla="*/ 32053432 h 16980"/>
              <a:gd name="T34" fmla="*/ 1334994 w 6132"/>
              <a:gd name="T35" fmla="*/ 31503585 h 16980"/>
              <a:gd name="T36" fmla="*/ 723146 w 6132"/>
              <a:gd name="T37" fmla="*/ 30883136 h 16980"/>
              <a:gd name="T38" fmla="*/ 295697 w 6132"/>
              <a:gd name="T39" fmla="*/ 30230369 h 16980"/>
              <a:gd name="T40" fmla="*/ 55622 w 6132"/>
              <a:gd name="T41" fmla="*/ 29542302 h 16980"/>
              <a:gd name="T42" fmla="*/ 2922 w 6132"/>
              <a:gd name="T43" fmla="*/ 16034064 h 16980"/>
              <a:gd name="T44" fmla="*/ 166867 w 6132"/>
              <a:gd name="T45" fmla="*/ 14637376 h 16980"/>
              <a:gd name="T46" fmla="*/ 608925 w 6132"/>
              <a:gd name="T47" fmla="*/ 13408297 h 16980"/>
              <a:gd name="T48" fmla="*/ 1326228 w 6132"/>
              <a:gd name="T49" fmla="*/ 12352689 h 16980"/>
              <a:gd name="T50" fmla="*/ 2309902 w 6132"/>
              <a:gd name="T51" fmla="*/ 11479386 h 16980"/>
              <a:gd name="T52" fmla="*/ 3495559 w 6132"/>
              <a:gd name="T53" fmla="*/ 10853081 h 16980"/>
              <a:gd name="T54" fmla="*/ 4889097 w 6132"/>
              <a:gd name="T55" fmla="*/ 10479630 h 16980"/>
              <a:gd name="T56" fmla="*/ 6475906 w 6132"/>
              <a:gd name="T57" fmla="*/ 10356104 h 16980"/>
              <a:gd name="T58" fmla="*/ 6768627 w 6132"/>
              <a:gd name="T59" fmla="*/ 10332625 h 16980"/>
              <a:gd name="T60" fmla="*/ 7661564 w 6132"/>
              <a:gd name="T61" fmla="*/ 10323786 h 16980"/>
              <a:gd name="T62" fmla="*/ 7863602 w 6132"/>
              <a:gd name="T63" fmla="*/ 10085627 h 16980"/>
              <a:gd name="T64" fmla="*/ 7032131 w 6132"/>
              <a:gd name="T65" fmla="*/ 9768029 h 16980"/>
              <a:gd name="T66" fmla="*/ 6197794 w 6132"/>
              <a:gd name="T67" fmla="*/ 9285801 h 16980"/>
              <a:gd name="T68" fmla="*/ 5471726 w 6132"/>
              <a:gd name="T69" fmla="*/ 8674191 h 16980"/>
              <a:gd name="T70" fmla="*/ 4859825 w 6132"/>
              <a:gd name="T71" fmla="*/ 7936181 h 16980"/>
              <a:gd name="T72" fmla="*/ 4409002 w 6132"/>
              <a:gd name="T73" fmla="*/ 7115803 h 16980"/>
              <a:gd name="T74" fmla="*/ 4122070 w 6132"/>
              <a:gd name="T75" fmla="*/ 6242499 h 16980"/>
              <a:gd name="T76" fmla="*/ 4002059 w 6132"/>
              <a:gd name="T77" fmla="*/ 5304506 h 16980"/>
              <a:gd name="T78" fmla="*/ 4069369 w 6132"/>
              <a:gd name="T79" fmla="*/ 4195974 h 16980"/>
              <a:gd name="T80" fmla="*/ 4370910 w 6132"/>
              <a:gd name="T81" fmla="*/ 3140364 h 16980"/>
              <a:gd name="T82" fmla="*/ 4906682 w 6132"/>
              <a:gd name="T83" fmla="*/ 2181765 h 16980"/>
              <a:gd name="T84" fmla="*/ 5679553 w 6132"/>
              <a:gd name="T85" fmla="*/ 1317301 h 16980"/>
              <a:gd name="T86" fmla="*/ 6578332 w 6132"/>
              <a:gd name="T87" fmla="*/ 643928 h 16980"/>
              <a:gd name="T88" fmla="*/ 7576670 w 6132"/>
              <a:gd name="T89" fmla="*/ 208768 h 16980"/>
              <a:gd name="T90" fmla="*/ 8671588 w 6132"/>
              <a:gd name="T91" fmla="*/ 11767 h 16980"/>
              <a:gd name="T92" fmla="*/ 9825105 w 6132"/>
              <a:gd name="T93" fmla="*/ 52924 h 16980"/>
              <a:gd name="T94" fmla="*/ 10893673 w 6132"/>
              <a:gd name="T95" fmla="*/ 326384 h 16980"/>
              <a:gd name="T96" fmla="*/ 11865659 w 6132"/>
              <a:gd name="T97" fmla="*/ 843912 h 16980"/>
              <a:gd name="T98" fmla="*/ 12743931 w 6132"/>
              <a:gd name="T99" fmla="*/ 1593689 h 16980"/>
              <a:gd name="T100" fmla="*/ 13431908 w 6132"/>
              <a:gd name="T101" fmla="*/ 2490525 h 16980"/>
              <a:gd name="T102" fmla="*/ 13891551 w 6132"/>
              <a:gd name="T103" fmla="*/ 3481443 h 16980"/>
              <a:gd name="T104" fmla="*/ 14111119 w 6132"/>
              <a:gd name="T105" fmla="*/ 4572353 h 16980"/>
              <a:gd name="T106" fmla="*/ 14105275 w 6132"/>
              <a:gd name="T107" fmla="*/ 5636746 h 16980"/>
              <a:gd name="T108" fmla="*/ 13912057 w 6132"/>
              <a:gd name="T109" fmla="*/ 6586506 h 16980"/>
              <a:gd name="T110" fmla="*/ 13537309 w 6132"/>
              <a:gd name="T111" fmla="*/ 7471577 h 16980"/>
              <a:gd name="T112" fmla="*/ 12972265 w 6132"/>
              <a:gd name="T113" fmla="*/ 8303722 h 16980"/>
              <a:gd name="T114" fmla="*/ 12272601 w 6132"/>
              <a:gd name="T115" fmla="*/ 9015324 h 16980"/>
              <a:gd name="T116" fmla="*/ 11473326 w 6132"/>
              <a:gd name="T117" fmla="*/ 9562188 h 16980"/>
              <a:gd name="T118" fmla="*/ 10571626 w 6132"/>
              <a:gd name="T119" fmla="*/ 9941550 h 16980"/>
              <a:gd name="T120" fmla="*/ 10147098 w 6132"/>
              <a:gd name="T121" fmla="*/ 10232633 h 1698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6132"/>
              <a:gd name="T184" fmla="*/ 0 h 16980"/>
              <a:gd name="T185" fmla="*/ 6132 w 6132"/>
              <a:gd name="T186" fmla="*/ 16980 h 16980"/>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6132" h="16980">
                <a:moveTo>
                  <a:pt x="3480" y="3522"/>
                </a:moveTo>
                <a:lnTo>
                  <a:pt x="4254" y="3522"/>
                </a:lnTo>
                <a:lnTo>
                  <a:pt x="4298" y="3522"/>
                </a:lnTo>
                <a:lnTo>
                  <a:pt x="4342" y="3524"/>
                </a:lnTo>
                <a:lnTo>
                  <a:pt x="4386" y="3527"/>
                </a:lnTo>
                <a:lnTo>
                  <a:pt x="4429" y="3531"/>
                </a:lnTo>
                <a:lnTo>
                  <a:pt x="4473" y="3536"/>
                </a:lnTo>
                <a:lnTo>
                  <a:pt x="4515" y="3543"/>
                </a:lnTo>
                <a:lnTo>
                  <a:pt x="4558" y="3551"/>
                </a:lnTo>
                <a:lnTo>
                  <a:pt x="4601" y="3560"/>
                </a:lnTo>
                <a:lnTo>
                  <a:pt x="4643" y="3570"/>
                </a:lnTo>
                <a:lnTo>
                  <a:pt x="4685" y="3582"/>
                </a:lnTo>
                <a:lnTo>
                  <a:pt x="4727" y="3595"/>
                </a:lnTo>
                <a:lnTo>
                  <a:pt x="4769" y="3609"/>
                </a:lnTo>
                <a:lnTo>
                  <a:pt x="4809" y="3624"/>
                </a:lnTo>
                <a:lnTo>
                  <a:pt x="4851" y="3640"/>
                </a:lnTo>
                <a:lnTo>
                  <a:pt x="4892" y="3658"/>
                </a:lnTo>
                <a:lnTo>
                  <a:pt x="4932" y="3676"/>
                </a:lnTo>
                <a:lnTo>
                  <a:pt x="4973" y="3696"/>
                </a:lnTo>
                <a:lnTo>
                  <a:pt x="5013" y="3717"/>
                </a:lnTo>
                <a:lnTo>
                  <a:pt x="5052" y="3739"/>
                </a:lnTo>
                <a:lnTo>
                  <a:pt x="5093" y="3763"/>
                </a:lnTo>
                <a:lnTo>
                  <a:pt x="5132" y="3788"/>
                </a:lnTo>
                <a:lnTo>
                  <a:pt x="5171" y="3814"/>
                </a:lnTo>
                <a:lnTo>
                  <a:pt x="5210" y="3842"/>
                </a:lnTo>
                <a:lnTo>
                  <a:pt x="5249" y="3870"/>
                </a:lnTo>
                <a:lnTo>
                  <a:pt x="5287" y="3900"/>
                </a:lnTo>
                <a:lnTo>
                  <a:pt x="5325" y="3931"/>
                </a:lnTo>
                <a:lnTo>
                  <a:pt x="5364" y="3963"/>
                </a:lnTo>
                <a:lnTo>
                  <a:pt x="5401" y="3997"/>
                </a:lnTo>
                <a:lnTo>
                  <a:pt x="5438" y="4031"/>
                </a:lnTo>
                <a:lnTo>
                  <a:pt x="5475" y="4067"/>
                </a:lnTo>
                <a:lnTo>
                  <a:pt x="5512" y="4104"/>
                </a:lnTo>
                <a:lnTo>
                  <a:pt x="5549" y="4142"/>
                </a:lnTo>
                <a:lnTo>
                  <a:pt x="5584" y="4181"/>
                </a:lnTo>
                <a:lnTo>
                  <a:pt x="5619" y="4220"/>
                </a:lnTo>
                <a:lnTo>
                  <a:pt x="5652" y="4260"/>
                </a:lnTo>
                <a:lnTo>
                  <a:pt x="5685" y="4300"/>
                </a:lnTo>
                <a:lnTo>
                  <a:pt x="5716" y="4339"/>
                </a:lnTo>
                <a:lnTo>
                  <a:pt x="5747" y="4379"/>
                </a:lnTo>
                <a:lnTo>
                  <a:pt x="5775" y="4420"/>
                </a:lnTo>
                <a:lnTo>
                  <a:pt x="5803" y="4460"/>
                </a:lnTo>
                <a:lnTo>
                  <a:pt x="5830" y="4502"/>
                </a:lnTo>
                <a:lnTo>
                  <a:pt x="5855" y="4543"/>
                </a:lnTo>
                <a:lnTo>
                  <a:pt x="5880" y="4585"/>
                </a:lnTo>
                <a:lnTo>
                  <a:pt x="5904" y="4626"/>
                </a:lnTo>
                <a:lnTo>
                  <a:pt x="5925" y="4667"/>
                </a:lnTo>
                <a:lnTo>
                  <a:pt x="5946" y="4710"/>
                </a:lnTo>
                <a:lnTo>
                  <a:pt x="5967" y="4752"/>
                </a:lnTo>
                <a:lnTo>
                  <a:pt x="5986" y="4795"/>
                </a:lnTo>
                <a:lnTo>
                  <a:pt x="6004" y="4838"/>
                </a:lnTo>
                <a:lnTo>
                  <a:pt x="6020" y="4880"/>
                </a:lnTo>
                <a:lnTo>
                  <a:pt x="6036" y="4924"/>
                </a:lnTo>
                <a:lnTo>
                  <a:pt x="6049" y="4967"/>
                </a:lnTo>
                <a:lnTo>
                  <a:pt x="6063" y="5011"/>
                </a:lnTo>
                <a:lnTo>
                  <a:pt x="6075" y="5055"/>
                </a:lnTo>
                <a:lnTo>
                  <a:pt x="6085" y="5100"/>
                </a:lnTo>
                <a:lnTo>
                  <a:pt x="6095" y="5144"/>
                </a:lnTo>
                <a:lnTo>
                  <a:pt x="6104" y="5189"/>
                </a:lnTo>
                <a:lnTo>
                  <a:pt x="6111" y="5234"/>
                </a:lnTo>
                <a:lnTo>
                  <a:pt x="6117" y="5280"/>
                </a:lnTo>
                <a:lnTo>
                  <a:pt x="6123" y="5324"/>
                </a:lnTo>
                <a:lnTo>
                  <a:pt x="6127" y="5370"/>
                </a:lnTo>
                <a:lnTo>
                  <a:pt x="6130" y="5417"/>
                </a:lnTo>
                <a:lnTo>
                  <a:pt x="6131" y="5463"/>
                </a:lnTo>
                <a:lnTo>
                  <a:pt x="6132" y="5509"/>
                </a:lnTo>
                <a:lnTo>
                  <a:pt x="6132" y="9605"/>
                </a:lnTo>
                <a:lnTo>
                  <a:pt x="6132" y="9643"/>
                </a:lnTo>
                <a:lnTo>
                  <a:pt x="6130" y="9682"/>
                </a:lnTo>
                <a:lnTo>
                  <a:pt x="6129" y="9719"/>
                </a:lnTo>
                <a:lnTo>
                  <a:pt x="6126" y="9756"/>
                </a:lnTo>
                <a:lnTo>
                  <a:pt x="6122" y="9793"/>
                </a:lnTo>
                <a:lnTo>
                  <a:pt x="6117" y="9829"/>
                </a:lnTo>
                <a:lnTo>
                  <a:pt x="6112" y="9866"/>
                </a:lnTo>
                <a:lnTo>
                  <a:pt x="6107" y="9901"/>
                </a:lnTo>
                <a:lnTo>
                  <a:pt x="6099" y="9937"/>
                </a:lnTo>
                <a:lnTo>
                  <a:pt x="6092" y="9972"/>
                </a:lnTo>
                <a:lnTo>
                  <a:pt x="6083" y="10007"/>
                </a:lnTo>
                <a:lnTo>
                  <a:pt x="6074" y="10041"/>
                </a:lnTo>
                <a:lnTo>
                  <a:pt x="6063" y="10075"/>
                </a:lnTo>
                <a:lnTo>
                  <a:pt x="6053" y="10109"/>
                </a:lnTo>
                <a:lnTo>
                  <a:pt x="6041" y="10142"/>
                </a:lnTo>
                <a:lnTo>
                  <a:pt x="6028" y="10175"/>
                </a:lnTo>
                <a:lnTo>
                  <a:pt x="6014" y="10208"/>
                </a:lnTo>
                <a:lnTo>
                  <a:pt x="6001" y="10241"/>
                </a:lnTo>
                <a:lnTo>
                  <a:pt x="5986" y="10273"/>
                </a:lnTo>
                <a:lnTo>
                  <a:pt x="5970" y="10305"/>
                </a:lnTo>
                <a:lnTo>
                  <a:pt x="5953" y="10335"/>
                </a:lnTo>
                <a:lnTo>
                  <a:pt x="5935" y="10366"/>
                </a:lnTo>
                <a:lnTo>
                  <a:pt x="5917" y="10397"/>
                </a:lnTo>
                <a:lnTo>
                  <a:pt x="5898" y="10428"/>
                </a:lnTo>
                <a:lnTo>
                  <a:pt x="5877" y="10458"/>
                </a:lnTo>
                <a:lnTo>
                  <a:pt x="5857" y="10487"/>
                </a:lnTo>
                <a:lnTo>
                  <a:pt x="5835" y="10517"/>
                </a:lnTo>
                <a:lnTo>
                  <a:pt x="5813" y="10546"/>
                </a:lnTo>
                <a:lnTo>
                  <a:pt x="5789" y="10575"/>
                </a:lnTo>
                <a:lnTo>
                  <a:pt x="5766" y="10603"/>
                </a:lnTo>
                <a:lnTo>
                  <a:pt x="5740" y="10632"/>
                </a:lnTo>
                <a:lnTo>
                  <a:pt x="5715" y="10660"/>
                </a:lnTo>
                <a:lnTo>
                  <a:pt x="5688" y="10687"/>
                </a:lnTo>
                <a:lnTo>
                  <a:pt x="5661" y="10714"/>
                </a:lnTo>
                <a:lnTo>
                  <a:pt x="5633" y="10739"/>
                </a:lnTo>
                <a:lnTo>
                  <a:pt x="5606" y="10765"/>
                </a:lnTo>
                <a:lnTo>
                  <a:pt x="5576" y="10790"/>
                </a:lnTo>
                <a:lnTo>
                  <a:pt x="5546" y="10814"/>
                </a:lnTo>
                <a:lnTo>
                  <a:pt x="5516" y="10838"/>
                </a:lnTo>
                <a:lnTo>
                  <a:pt x="5486" y="10860"/>
                </a:lnTo>
                <a:lnTo>
                  <a:pt x="5455" y="10883"/>
                </a:lnTo>
                <a:lnTo>
                  <a:pt x="5422" y="10905"/>
                </a:lnTo>
                <a:lnTo>
                  <a:pt x="5390" y="10925"/>
                </a:lnTo>
                <a:lnTo>
                  <a:pt x="5357" y="10947"/>
                </a:lnTo>
                <a:lnTo>
                  <a:pt x="5323" y="10966"/>
                </a:lnTo>
                <a:lnTo>
                  <a:pt x="5288" y="10985"/>
                </a:lnTo>
                <a:lnTo>
                  <a:pt x="5253" y="11004"/>
                </a:lnTo>
                <a:lnTo>
                  <a:pt x="5218" y="11022"/>
                </a:lnTo>
                <a:lnTo>
                  <a:pt x="5182" y="11039"/>
                </a:lnTo>
                <a:lnTo>
                  <a:pt x="5145" y="11056"/>
                </a:lnTo>
                <a:lnTo>
                  <a:pt x="5108" y="11072"/>
                </a:lnTo>
                <a:lnTo>
                  <a:pt x="5069" y="11087"/>
                </a:lnTo>
                <a:lnTo>
                  <a:pt x="5031" y="11102"/>
                </a:lnTo>
                <a:lnTo>
                  <a:pt x="4992" y="11117"/>
                </a:lnTo>
                <a:lnTo>
                  <a:pt x="4952" y="11130"/>
                </a:lnTo>
                <a:lnTo>
                  <a:pt x="4911" y="11143"/>
                </a:lnTo>
                <a:lnTo>
                  <a:pt x="4871" y="11155"/>
                </a:lnTo>
                <a:lnTo>
                  <a:pt x="4828" y="11167"/>
                </a:lnTo>
                <a:lnTo>
                  <a:pt x="4787" y="11178"/>
                </a:lnTo>
                <a:lnTo>
                  <a:pt x="4743" y="11189"/>
                </a:lnTo>
                <a:lnTo>
                  <a:pt x="4701" y="11199"/>
                </a:lnTo>
                <a:lnTo>
                  <a:pt x="4656" y="11208"/>
                </a:lnTo>
                <a:lnTo>
                  <a:pt x="4612" y="11217"/>
                </a:lnTo>
                <a:lnTo>
                  <a:pt x="4567" y="11225"/>
                </a:lnTo>
                <a:lnTo>
                  <a:pt x="4567" y="16980"/>
                </a:lnTo>
                <a:lnTo>
                  <a:pt x="1510" y="16980"/>
                </a:lnTo>
                <a:lnTo>
                  <a:pt x="1510" y="11225"/>
                </a:lnTo>
                <a:lnTo>
                  <a:pt x="1424" y="11201"/>
                </a:lnTo>
                <a:lnTo>
                  <a:pt x="1340" y="11175"/>
                </a:lnTo>
                <a:lnTo>
                  <a:pt x="1298" y="11161"/>
                </a:lnTo>
                <a:lnTo>
                  <a:pt x="1258" y="11148"/>
                </a:lnTo>
                <a:lnTo>
                  <a:pt x="1218" y="11134"/>
                </a:lnTo>
                <a:lnTo>
                  <a:pt x="1178" y="11120"/>
                </a:lnTo>
                <a:lnTo>
                  <a:pt x="1139" y="11105"/>
                </a:lnTo>
                <a:lnTo>
                  <a:pt x="1101" y="11089"/>
                </a:lnTo>
                <a:lnTo>
                  <a:pt x="1064" y="11074"/>
                </a:lnTo>
                <a:lnTo>
                  <a:pt x="1026" y="11058"/>
                </a:lnTo>
                <a:lnTo>
                  <a:pt x="990" y="11042"/>
                </a:lnTo>
                <a:lnTo>
                  <a:pt x="954" y="11025"/>
                </a:lnTo>
                <a:lnTo>
                  <a:pt x="918" y="11009"/>
                </a:lnTo>
                <a:lnTo>
                  <a:pt x="884" y="10991"/>
                </a:lnTo>
                <a:lnTo>
                  <a:pt x="849" y="10974"/>
                </a:lnTo>
                <a:lnTo>
                  <a:pt x="816" y="10956"/>
                </a:lnTo>
                <a:lnTo>
                  <a:pt x="782" y="10938"/>
                </a:lnTo>
                <a:lnTo>
                  <a:pt x="750" y="10920"/>
                </a:lnTo>
                <a:lnTo>
                  <a:pt x="719" y="10901"/>
                </a:lnTo>
                <a:lnTo>
                  <a:pt x="687" y="10882"/>
                </a:lnTo>
                <a:lnTo>
                  <a:pt x="656" y="10862"/>
                </a:lnTo>
                <a:lnTo>
                  <a:pt x="626" y="10841"/>
                </a:lnTo>
                <a:lnTo>
                  <a:pt x="596" y="10821"/>
                </a:lnTo>
                <a:lnTo>
                  <a:pt x="567" y="10801"/>
                </a:lnTo>
                <a:lnTo>
                  <a:pt x="539" y="10780"/>
                </a:lnTo>
                <a:lnTo>
                  <a:pt x="510" y="10758"/>
                </a:lnTo>
                <a:lnTo>
                  <a:pt x="484" y="10736"/>
                </a:lnTo>
                <a:lnTo>
                  <a:pt x="456" y="10714"/>
                </a:lnTo>
                <a:lnTo>
                  <a:pt x="431" y="10691"/>
                </a:lnTo>
                <a:lnTo>
                  <a:pt x="405" y="10668"/>
                </a:lnTo>
                <a:lnTo>
                  <a:pt x="380" y="10646"/>
                </a:lnTo>
                <a:lnTo>
                  <a:pt x="355" y="10622"/>
                </a:lnTo>
                <a:lnTo>
                  <a:pt x="332" y="10599"/>
                </a:lnTo>
                <a:lnTo>
                  <a:pt x="310" y="10576"/>
                </a:lnTo>
                <a:lnTo>
                  <a:pt x="289" y="10551"/>
                </a:lnTo>
                <a:lnTo>
                  <a:pt x="267" y="10528"/>
                </a:lnTo>
                <a:lnTo>
                  <a:pt x="247" y="10503"/>
                </a:lnTo>
                <a:lnTo>
                  <a:pt x="228" y="10480"/>
                </a:lnTo>
                <a:lnTo>
                  <a:pt x="209" y="10455"/>
                </a:lnTo>
                <a:lnTo>
                  <a:pt x="191" y="10431"/>
                </a:lnTo>
                <a:lnTo>
                  <a:pt x="174" y="10407"/>
                </a:lnTo>
                <a:lnTo>
                  <a:pt x="158" y="10382"/>
                </a:lnTo>
                <a:lnTo>
                  <a:pt x="142" y="10357"/>
                </a:lnTo>
                <a:lnTo>
                  <a:pt x="128" y="10332"/>
                </a:lnTo>
                <a:lnTo>
                  <a:pt x="114" y="10307"/>
                </a:lnTo>
                <a:lnTo>
                  <a:pt x="101" y="10281"/>
                </a:lnTo>
                <a:lnTo>
                  <a:pt x="89" y="10256"/>
                </a:lnTo>
                <a:lnTo>
                  <a:pt x="77" y="10230"/>
                </a:lnTo>
                <a:lnTo>
                  <a:pt x="67" y="10205"/>
                </a:lnTo>
                <a:lnTo>
                  <a:pt x="57" y="10179"/>
                </a:lnTo>
                <a:lnTo>
                  <a:pt x="48" y="10153"/>
                </a:lnTo>
                <a:lnTo>
                  <a:pt x="39" y="10127"/>
                </a:lnTo>
                <a:lnTo>
                  <a:pt x="32" y="10100"/>
                </a:lnTo>
                <a:lnTo>
                  <a:pt x="25" y="10074"/>
                </a:lnTo>
                <a:lnTo>
                  <a:pt x="19" y="10047"/>
                </a:lnTo>
                <a:lnTo>
                  <a:pt x="14" y="10021"/>
                </a:lnTo>
                <a:lnTo>
                  <a:pt x="9" y="9994"/>
                </a:lnTo>
                <a:lnTo>
                  <a:pt x="6" y="9967"/>
                </a:lnTo>
                <a:lnTo>
                  <a:pt x="3" y="9940"/>
                </a:lnTo>
                <a:lnTo>
                  <a:pt x="1" y="9912"/>
                </a:lnTo>
                <a:lnTo>
                  <a:pt x="0" y="9885"/>
                </a:lnTo>
                <a:lnTo>
                  <a:pt x="0" y="9857"/>
                </a:lnTo>
                <a:lnTo>
                  <a:pt x="0" y="5509"/>
                </a:lnTo>
                <a:lnTo>
                  <a:pt x="1" y="5453"/>
                </a:lnTo>
                <a:lnTo>
                  <a:pt x="2" y="5398"/>
                </a:lnTo>
                <a:lnTo>
                  <a:pt x="5" y="5342"/>
                </a:lnTo>
                <a:lnTo>
                  <a:pt x="9" y="5288"/>
                </a:lnTo>
                <a:lnTo>
                  <a:pt x="15" y="5235"/>
                </a:lnTo>
                <a:lnTo>
                  <a:pt x="21" y="5182"/>
                </a:lnTo>
                <a:lnTo>
                  <a:pt x="28" y="5130"/>
                </a:lnTo>
                <a:lnTo>
                  <a:pt x="37" y="5079"/>
                </a:lnTo>
                <a:lnTo>
                  <a:pt x="47" y="5028"/>
                </a:lnTo>
                <a:lnTo>
                  <a:pt x="57" y="4978"/>
                </a:lnTo>
                <a:lnTo>
                  <a:pt x="70" y="4929"/>
                </a:lnTo>
                <a:lnTo>
                  <a:pt x="83" y="4880"/>
                </a:lnTo>
                <a:lnTo>
                  <a:pt x="97" y="4832"/>
                </a:lnTo>
                <a:lnTo>
                  <a:pt x="112" y="4785"/>
                </a:lnTo>
                <a:lnTo>
                  <a:pt x="129" y="4739"/>
                </a:lnTo>
                <a:lnTo>
                  <a:pt x="147" y="4693"/>
                </a:lnTo>
                <a:lnTo>
                  <a:pt x="166" y="4648"/>
                </a:lnTo>
                <a:lnTo>
                  <a:pt x="187" y="4604"/>
                </a:lnTo>
                <a:lnTo>
                  <a:pt x="208" y="4560"/>
                </a:lnTo>
                <a:lnTo>
                  <a:pt x="230" y="4518"/>
                </a:lnTo>
                <a:lnTo>
                  <a:pt x="255" y="4476"/>
                </a:lnTo>
                <a:lnTo>
                  <a:pt x="279" y="4435"/>
                </a:lnTo>
                <a:lnTo>
                  <a:pt x="306" y="4393"/>
                </a:lnTo>
                <a:lnTo>
                  <a:pt x="332" y="4354"/>
                </a:lnTo>
                <a:lnTo>
                  <a:pt x="361" y="4315"/>
                </a:lnTo>
                <a:lnTo>
                  <a:pt x="391" y="4275"/>
                </a:lnTo>
                <a:lnTo>
                  <a:pt x="421" y="4238"/>
                </a:lnTo>
                <a:lnTo>
                  <a:pt x="453" y="4201"/>
                </a:lnTo>
                <a:lnTo>
                  <a:pt x="486" y="4165"/>
                </a:lnTo>
                <a:lnTo>
                  <a:pt x="520" y="4129"/>
                </a:lnTo>
                <a:lnTo>
                  <a:pt x="556" y="4093"/>
                </a:lnTo>
                <a:lnTo>
                  <a:pt x="592" y="4059"/>
                </a:lnTo>
                <a:lnTo>
                  <a:pt x="629" y="4025"/>
                </a:lnTo>
                <a:lnTo>
                  <a:pt x="668" y="3994"/>
                </a:lnTo>
                <a:lnTo>
                  <a:pt x="707" y="3963"/>
                </a:lnTo>
                <a:lnTo>
                  <a:pt x="747" y="3933"/>
                </a:lnTo>
                <a:lnTo>
                  <a:pt x="789" y="3904"/>
                </a:lnTo>
                <a:lnTo>
                  <a:pt x="830" y="3876"/>
                </a:lnTo>
                <a:lnTo>
                  <a:pt x="873" y="3849"/>
                </a:lnTo>
                <a:lnTo>
                  <a:pt x="916" y="3823"/>
                </a:lnTo>
                <a:lnTo>
                  <a:pt x="961" y="3799"/>
                </a:lnTo>
                <a:lnTo>
                  <a:pt x="1005" y="3775"/>
                </a:lnTo>
                <a:lnTo>
                  <a:pt x="1052" y="3752"/>
                </a:lnTo>
                <a:lnTo>
                  <a:pt x="1099" y="3731"/>
                </a:lnTo>
                <a:lnTo>
                  <a:pt x="1146" y="3711"/>
                </a:lnTo>
                <a:lnTo>
                  <a:pt x="1194" y="3691"/>
                </a:lnTo>
                <a:lnTo>
                  <a:pt x="1244" y="3672"/>
                </a:lnTo>
                <a:lnTo>
                  <a:pt x="1294" y="3655"/>
                </a:lnTo>
                <a:lnTo>
                  <a:pt x="1345" y="3640"/>
                </a:lnTo>
                <a:lnTo>
                  <a:pt x="1397" y="3624"/>
                </a:lnTo>
                <a:lnTo>
                  <a:pt x="1450" y="3610"/>
                </a:lnTo>
                <a:lnTo>
                  <a:pt x="1503" y="3597"/>
                </a:lnTo>
                <a:lnTo>
                  <a:pt x="1558" y="3584"/>
                </a:lnTo>
                <a:lnTo>
                  <a:pt x="1614" y="3574"/>
                </a:lnTo>
                <a:lnTo>
                  <a:pt x="1670" y="3564"/>
                </a:lnTo>
                <a:lnTo>
                  <a:pt x="1726" y="3554"/>
                </a:lnTo>
                <a:lnTo>
                  <a:pt x="1785" y="3547"/>
                </a:lnTo>
                <a:lnTo>
                  <a:pt x="1843" y="3540"/>
                </a:lnTo>
                <a:lnTo>
                  <a:pt x="1902" y="3534"/>
                </a:lnTo>
                <a:lnTo>
                  <a:pt x="1963" y="3530"/>
                </a:lnTo>
                <a:lnTo>
                  <a:pt x="2024" y="3526"/>
                </a:lnTo>
                <a:lnTo>
                  <a:pt x="2086" y="3524"/>
                </a:lnTo>
                <a:lnTo>
                  <a:pt x="2149" y="3522"/>
                </a:lnTo>
                <a:lnTo>
                  <a:pt x="2212" y="3522"/>
                </a:lnTo>
                <a:lnTo>
                  <a:pt x="2218" y="3517"/>
                </a:lnTo>
                <a:lnTo>
                  <a:pt x="2224" y="3514"/>
                </a:lnTo>
                <a:lnTo>
                  <a:pt x="2230" y="3513"/>
                </a:lnTo>
                <a:lnTo>
                  <a:pt x="2237" y="3512"/>
                </a:lnTo>
                <a:lnTo>
                  <a:pt x="2243" y="3512"/>
                </a:lnTo>
                <a:lnTo>
                  <a:pt x="2251" y="3512"/>
                </a:lnTo>
                <a:lnTo>
                  <a:pt x="2261" y="3512"/>
                </a:lnTo>
                <a:lnTo>
                  <a:pt x="2274" y="3512"/>
                </a:lnTo>
                <a:lnTo>
                  <a:pt x="2312" y="3514"/>
                </a:lnTo>
                <a:lnTo>
                  <a:pt x="2353" y="3516"/>
                </a:lnTo>
                <a:lnTo>
                  <a:pt x="2393" y="3517"/>
                </a:lnTo>
                <a:lnTo>
                  <a:pt x="2435" y="3519"/>
                </a:lnTo>
                <a:lnTo>
                  <a:pt x="2479" y="3520"/>
                </a:lnTo>
                <a:lnTo>
                  <a:pt x="2522" y="3520"/>
                </a:lnTo>
                <a:lnTo>
                  <a:pt x="2568" y="3522"/>
                </a:lnTo>
                <a:lnTo>
                  <a:pt x="2615" y="3522"/>
                </a:lnTo>
                <a:lnTo>
                  <a:pt x="2616" y="3516"/>
                </a:lnTo>
                <a:lnTo>
                  <a:pt x="2617" y="3511"/>
                </a:lnTo>
                <a:lnTo>
                  <a:pt x="2620" y="3505"/>
                </a:lnTo>
                <a:lnTo>
                  <a:pt x="2623" y="3498"/>
                </a:lnTo>
                <a:lnTo>
                  <a:pt x="2634" y="3483"/>
                </a:lnTo>
                <a:lnTo>
                  <a:pt x="2649" y="3466"/>
                </a:lnTo>
                <a:lnTo>
                  <a:pt x="2663" y="3450"/>
                </a:lnTo>
                <a:lnTo>
                  <a:pt x="2674" y="3439"/>
                </a:lnTo>
                <a:lnTo>
                  <a:pt x="2678" y="3434"/>
                </a:lnTo>
                <a:lnTo>
                  <a:pt x="2683" y="3431"/>
                </a:lnTo>
                <a:lnTo>
                  <a:pt x="2686" y="3430"/>
                </a:lnTo>
                <a:lnTo>
                  <a:pt x="2688" y="3429"/>
                </a:lnTo>
                <a:lnTo>
                  <a:pt x="2651" y="3417"/>
                </a:lnTo>
                <a:lnTo>
                  <a:pt x="2614" y="3406"/>
                </a:lnTo>
                <a:lnTo>
                  <a:pt x="2578" y="3393"/>
                </a:lnTo>
                <a:lnTo>
                  <a:pt x="2542" y="3380"/>
                </a:lnTo>
                <a:lnTo>
                  <a:pt x="2506" y="3366"/>
                </a:lnTo>
                <a:lnTo>
                  <a:pt x="2471" y="3351"/>
                </a:lnTo>
                <a:lnTo>
                  <a:pt x="2436" y="3337"/>
                </a:lnTo>
                <a:lnTo>
                  <a:pt x="2402" y="3322"/>
                </a:lnTo>
                <a:lnTo>
                  <a:pt x="2368" y="3306"/>
                </a:lnTo>
                <a:lnTo>
                  <a:pt x="2336" y="3289"/>
                </a:lnTo>
                <a:lnTo>
                  <a:pt x="2303" y="3272"/>
                </a:lnTo>
                <a:lnTo>
                  <a:pt x="2271" y="3255"/>
                </a:lnTo>
                <a:lnTo>
                  <a:pt x="2239" y="3237"/>
                </a:lnTo>
                <a:lnTo>
                  <a:pt x="2208" y="3218"/>
                </a:lnTo>
                <a:lnTo>
                  <a:pt x="2177" y="3198"/>
                </a:lnTo>
                <a:lnTo>
                  <a:pt x="2147" y="3178"/>
                </a:lnTo>
                <a:lnTo>
                  <a:pt x="2117" y="3158"/>
                </a:lnTo>
                <a:lnTo>
                  <a:pt x="2087" y="3137"/>
                </a:lnTo>
                <a:lnTo>
                  <a:pt x="2058" y="3115"/>
                </a:lnTo>
                <a:lnTo>
                  <a:pt x="2030" y="3093"/>
                </a:lnTo>
                <a:lnTo>
                  <a:pt x="2002" y="3071"/>
                </a:lnTo>
                <a:lnTo>
                  <a:pt x="1975" y="3047"/>
                </a:lnTo>
                <a:lnTo>
                  <a:pt x="1948" y="3024"/>
                </a:lnTo>
                <a:lnTo>
                  <a:pt x="1921" y="3000"/>
                </a:lnTo>
                <a:lnTo>
                  <a:pt x="1895" y="2975"/>
                </a:lnTo>
                <a:lnTo>
                  <a:pt x="1869" y="2950"/>
                </a:lnTo>
                <a:lnTo>
                  <a:pt x="1844" y="2924"/>
                </a:lnTo>
                <a:lnTo>
                  <a:pt x="1820" y="2898"/>
                </a:lnTo>
                <a:lnTo>
                  <a:pt x="1795" y="2871"/>
                </a:lnTo>
                <a:lnTo>
                  <a:pt x="1771" y="2843"/>
                </a:lnTo>
                <a:lnTo>
                  <a:pt x="1747" y="2816"/>
                </a:lnTo>
                <a:lnTo>
                  <a:pt x="1725" y="2787"/>
                </a:lnTo>
                <a:lnTo>
                  <a:pt x="1703" y="2757"/>
                </a:lnTo>
                <a:lnTo>
                  <a:pt x="1682" y="2729"/>
                </a:lnTo>
                <a:lnTo>
                  <a:pt x="1660" y="2699"/>
                </a:lnTo>
                <a:lnTo>
                  <a:pt x="1640" y="2669"/>
                </a:lnTo>
                <a:lnTo>
                  <a:pt x="1621" y="2638"/>
                </a:lnTo>
                <a:lnTo>
                  <a:pt x="1603" y="2608"/>
                </a:lnTo>
                <a:lnTo>
                  <a:pt x="1585" y="2578"/>
                </a:lnTo>
                <a:lnTo>
                  <a:pt x="1568" y="2547"/>
                </a:lnTo>
                <a:lnTo>
                  <a:pt x="1551" y="2516"/>
                </a:lnTo>
                <a:lnTo>
                  <a:pt x="1535" y="2484"/>
                </a:lnTo>
                <a:lnTo>
                  <a:pt x="1520" y="2452"/>
                </a:lnTo>
                <a:lnTo>
                  <a:pt x="1506" y="2420"/>
                </a:lnTo>
                <a:lnTo>
                  <a:pt x="1493" y="2388"/>
                </a:lnTo>
                <a:lnTo>
                  <a:pt x="1479" y="2356"/>
                </a:lnTo>
                <a:lnTo>
                  <a:pt x="1467" y="2324"/>
                </a:lnTo>
                <a:lnTo>
                  <a:pt x="1455" y="2291"/>
                </a:lnTo>
                <a:lnTo>
                  <a:pt x="1445" y="2258"/>
                </a:lnTo>
                <a:lnTo>
                  <a:pt x="1434" y="2225"/>
                </a:lnTo>
                <a:lnTo>
                  <a:pt x="1425" y="2191"/>
                </a:lnTo>
                <a:lnTo>
                  <a:pt x="1416" y="2157"/>
                </a:lnTo>
                <a:lnTo>
                  <a:pt x="1408" y="2123"/>
                </a:lnTo>
                <a:lnTo>
                  <a:pt x="1400" y="2089"/>
                </a:lnTo>
                <a:lnTo>
                  <a:pt x="1394" y="2054"/>
                </a:lnTo>
                <a:lnTo>
                  <a:pt x="1389" y="2018"/>
                </a:lnTo>
                <a:lnTo>
                  <a:pt x="1383" y="1983"/>
                </a:lnTo>
                <a:lnTo>
                  <a:pt x="1378" y="1948"/>
                </a:lnTo>
                <a:lnTo>
                  <a:pt x="1375" y="1912"/>
                </a:lnTo>
                <a:lnTo>
                  <a:pt x="1372" y="1876"/>
                </a:lnTo>
                <a:lnTo>
                  <a:pt x="1368" y="1840"/>
                </a:lnTo>
                <a:lnTo>
                  <a:pt x="1367" y="1804"/>
                </a:lnTo>
                <a:lnTo>
                  <a:pt x="1366" y="1767"/>
                </a:lnTo>
                <a:lnTo>
                  <a:pt x="1365" y="1729"/>
                </a:lnTo>
                <a:lnTo>
                  <a:pt x="1366" y="1686"/>
                </a:lnTo>
                <a:lnTo>
                  <a:pt x="1367" y="1641"/>
                </a:lnTo>
                <a:lnTo>
                  <a:pt x="1370" y="1598"/>
                </a:lnTo>
                <a:lnTo>
                  <a:pt x="1374" y="1555"/>
                </a:lnTo>
                <a:lnTo>
                  <a:pt x="1378" y="1511"/>
                </a:lnTo>
                <a:lnTo>
                  <a:pt x="1383" y="1469"/>
                </a:lnTo>
                <a:lnTo>
                  <a:pt x="1390" y="1427"/>
                </a:lnTo>
                <a:lnTo>
                  <a:pt x="1397" y="1386"/>
                </a:lnTo>
                <a:lnTo>
                  <a:pt x="1405" y="1345"/>
                </a:lnTo>
                <a:lnTo>
                  <a:pt x="1415" y="1304"/>
                </a:lnTo>
                <a:lnTo>
                  <a:pt x="1426" y="1264"/>
                </a:lnTo>
                <a:lnTo>
                  <a:pt x="1437" y="1223"/>
                </a:lnTo>
                <a:lnTo>
                  <a:pt x="1449" y="1184"/>
                </a:lnTo>
                <a:lnTo>
                  <a:pt x="1463" y="1145"/>
                </a:lnTo>
                <a:lnTo>
                  <a:pt x="1477" y="1106"/>
                </a:lnTo>
                <a:lnTo>
                  <a:pt x="1493" y="1068"/>
                </a:lnTo>
                <a:lnTo>
                  <a:pt x="1508" y="1030"/>
                </a:lnTo>
                <a:lnTo>
                  <a:pt x="1527" y="993"/>
                </a:lnTo>
                <a:lnTo>
                  <a:pt x="1545" y="955"/>
                </a:lnTo>
                <a:lnTo>
                  <a:pt x="1564" y="919"/>
                </a:lnTo>
                <a:lnTo>
                  <a:pt x="1585" y="883"/>
                </a:lnTo>
                <a:lnTo>
                  <a:pt x="1606" y="847"/>
                </a:lnTo>
                <a:lnTo>
                  <a:pt x="1628" y="811"/>
                </a:lnTo>
                <a:lnTo>
                  <a:pt x="1652" y="776"/>
                </a:lnTo>
                <a:lnTo>
                  <a:pt x="1676" y="742"/>
                </a:lnTo>
                <a:lnTo>
                  <a:pt x="1702" y="708"/>
                </a:lnTo>
                <a:lnTo>
                  <a:pt x="1728" y="674"/>
                </a:lnTo>
                <a:lnTo>
                  <a:pt x="1756" y="640"/>
                </a:lnTo>
                <a:lnTo>
                  <a:pt x="1783" y="607"/>
                </a:lnTo>
                <a:lnTo>
                  <a:pt x="1813" y="574"/>
                </a:lnTo>
                <a:lnTo>
                  <a:pt x="1844" y="542"/>
                </a:lnTo>
                <a:lnTo>
                  <a:pt x="1875" y="510"/>
                </a:lnTo>
                <a:lnTo>
                  <a:pt x="1907" y="478"/>
                </a:lnTo>
                <a:lnTo>
                  <a:pt x="1940" y="448"/>
                </a:lnTo>
                <a:lnTo>
                  <a:pt x="1971" y="419"/>
                </a:lnTo>
                <a:lnTo>
                  <a:pt x="2005" y="390"/>
                </a:lnTo>
                <a:lnTo>
                  <a:pt x="2038" y="362"/>
                </a:lnTo>
                <a:lnTo>
                  <a:pt x="2072" y="336"/>
                </a:lnTo>
                <a:lnTo>
                  <a:pt x="2106" y="311"/>
                </a:lnTo>
                <a:lnTo>
                  <a:pt x="2141" y="287"/>
                </a:lnTo>
                <a:lnTo>
                  <a:pt x="2176" y="263"/>
                </a:lnTo>
                <a:lnTo>
                  <a:pt x="2211" y="240"/>
                </a:lnTo>
                <a:lnTo>
                  <a:pt x="2247" y="219"/>
                </a:lnTo>
                <a:lnTo>
                  <a:pt x="2284" y="199"/>
                </a:lnTo>
                <a:lnTo>
                  <a:pt x="2320" y="179"/>
                </a:lnTo>
                <a:lnTo>
                  <a:pt x="2357" y="160"/>
                </a:lnTo>
                <a:lnTo>
                  <a:pt x="2395" y="143"/>
                </a:lnTo>
                <a:lnTo>
                  <a:pt x="2432" y="127"/>
                </a:lnTo>
                <a:lnTo>
                  <a:pt x="2470" y="111"/>
                </a:lnTo>
                <a:lnTo>
                  <a:pt x="2510" y="98"/>
                </a:lnTo>
                <a:lnTo>
                  <a:pt x="2549" y="84"/>
                </a:lnTo>
                <a:lnTo>
                  <a:pt x="2588" y="71"/>
                </a:lnTo>
                <a:lnTo>
                  <a:pt x="2628" y="60"/>
                </a:lnTo>
                <a:lnTo>
                  <a:pt x="2668" y="50"/>
                </a:lnTo>
                <a:lnTo>
                  <a:pt x="2709" y="40"/>
                </a:lnTo>
                <a:lnTo>
                  <a:pt x="2750" y="32"/>
                </a:lnTo>
                <a:lnTo>
                  <a:pt x="2791" y="24"/>
                </a:lnTo>
                <a:lnTo>
                  <a:pt x="2833" y="18"/>
                </a:lnTo>
                <a:lnTo>
                  <a:pt x="2876" y="13"/>
                </a:lnTo>
                <a:lnTo>
                  <a:pt x="2918" y="7"/>
                </a:lnTo>
                <a:lnTo>
                  <a:pt x="2962" y="4"/>
                </a:lnTo>
                <a:lnTo>
                  <a:pt x="3005" y="2"/>
                </a:lnTo>
                <a:lnTo>
                  <a:pt x="3049" y="1"/>
                </a:lnTo>
                <a:lnTo>
                  <a:pt x="3094" y="0"/>
                </a:lnTo>
                <a:lnTo>
                  <a:pt x="3138" y="1"/>
                </a:lnTo>
                <a:lnTo>
                  <a:pt x="3183" y="2"/>
                </a:lnTo>
                <a:lnTo>
                  <a:pt x="3226" y="4"/>
                </a:lnTo>
                <a:lnTo>
                  <a:pt x="3270" y="7"/>
                </a:lnTo>
                <a:lnTo>
                  <a:pt x="3312" y="13"/>
                </a:lnTo>
                <a:lnTo>
                  <a:pt x="3356" y="18"/>
                </a:lnTo>
                <a:lnTo>
                  <a:pt x="3397" y="24"/>
                </a:lnTo>
                <a:lnTo>
                  <a:pt x="3440" y="32"/>
                </a:lnTo>
                <a:lnTo>
                  <a:pt x="3481" y="40"/>
                </a:lnTo>
                <a:lnTo>
                  <a:pt x="3521" y="50"/>
                </a:lnTo>
                <a:lnTo>
                  <a:pt x="3563" y="60"/>
                </a:lnTo>
                <a:lnTo>
                  <a:pt x="3602" y="71"/>
                </a:lnTo>
                <a:lnTo>
                  <a:pt x="3643" y="84"/>
                </a:lnTo>
                <a:lnTo>
                  <a:pt x="3682" y="98"/>
                </a:lnTo>
                <a:lnTo>
                  <a:pt x="3721" y="111"/>
                </a:lnTo>
                <a:lnTo>
                  <a:pt x="3759" y="127"/>
                </a:lnTo>
                <a:lnTo>
                  <a:pt x="3798" y="143"/>
                </a:lnTo>
                <a:lnTo>
                  <a:pt x="3835" y="160"/>
                </a:lnTo>
                <a:lnTo>
                  <a:pt x="3873" y="179"/>
                </a:lnTo>
                <a:lnTo>
                  <a:pt x="3909" y="199"/>
                </a:lnTo>
                <a:lnTo>
                  <a:pt x="3946" y="219"/>
                </a:lnTo>
                <a:lnTo>
                  <a:pt x="3982" y="240"/>
                </a:lnTo>
                <a:lnTo>
                  <a:pt x="4017" y="263"/>
                </a:lnTo>
                <a:lnTo>
                  <a:pt x="4053" y="287"/>
                </a:lnTo>
                <a:lnTo>
                  <a:pt x="4088" y="311"/>
                </a:lnTo>
                <a:lnTo>
                  <a:pt x="4122" y="336"/>
                </a:lnTo>
                <a:lnTo>
                  <a:pt x="4156" y="362"/>
                </a:lnTo>
                <a:lnTo>
                  <a:pt x="4190" y="390"/>
                </a:lnTo>
                <a:lnTo>
                  <a:pt x="4223" y="419"/>
                </a:lnTo>
                <a:lnTo>
                  <a:pt x="4256" y="448"/>
                </a:lnTo>
                <a:lnTo>
                  <a:pt x="4289" y="478"/>
                </a:lnTo>
                <a:lnTo>
                  <a:pt x="4321" y="510"/>
                </a:lnTo>
                <a:lnTo>
                  <a:pt x="4353" y="542"/>
                </a:lnTo>
                <a:lnTo>
                  <a:pt x="4383" y="574"/>
                </a:lnTo>
                <a:lnTo>
                  <a:pt x="4412" y="607"/>
                </a:lnTo>
                <a:lnTo>
                  <a:pt x="4440" y="640"/>
                </a:lnTo>
                <a:lnTo>
                  <a:pt x="4467" y="674"/>
                </a:lnTo>
                <a:lnTo>
                  <a:pt x="4493" y="708"/>
                </a:lnTo>
                <a:lnTo>
                  <a:pt x="4518" y="742"/>
                </a:lnTo>
                <a:lnTo>
                  <a:pt x="4543" y="776"/>
                </a:lnTo>
                <a:lnTo>
                  <a:pt x="4566" y="811"/>
                </a:lnTo>
                <a:lnTo>
                  <a:pt x="4588" y="847"/>
                </a:lnTo>
                <a:lnTo>
                  <a:pt x="4610" y="883"/>
                </a:lnTo>
                <a:lnTo>
                  <a:pt x="4630" y="919"/>
                </a:lnTo>
                <a:lnTo>
                  <a:pt x="4649" y="955"/>
                </a:lnTo>
                <a:lnTo>
                  <a:pt x="4667" y="993"/>
                </a:lnTo>
                <a:lnTo>
                  <a:pt x="4685" y="1030"/>
                </a:lnTo>
                <a:lnTo>
                  <a:pt x="4701" y="1068"/>
                </a:lnTo>
                <a:lnTo>
                  <a:pt x="4716" y="1106"/>
                </a:lnTo>
                <a:lnTo>
                  <a:pt x="4731" y="1145"/>
                </a:lnTo>
                <a:lnTo>
                  <a:pt x="4745" y="1184"/>
                </a:lnTo>
                <a:lnTo>
                  <a:pt x="4756" y="1223"/>
                </a:lnTo>
                <a:lnTo>
                  <a:pt x="4768" y="1264"/>
                </a:lnTo>
                <a:lnTo>
                  <a:pt x="4779" y="1304"/>
                </a:lnTo>
                <a:lnTo>
                  <a:pt x="4788" y="1345"/>
                </a:lnTo>
                <a:lnTo>
                  <a:pt x="4797" y="1386"/>
                </a:lnTo>
                <a:lnTo>
                  <a:pt x="4803" y="1427"/>
                </a:lnTo>
                <a:lnTo>
                  <a:pt x="4810" y="1469"/>
                </a:lnTo>
                <a:lnTo>
                  <a:pt x="4816" y="1511"/>
                </a:lnTo>
                <a:lnTo>
                  <a:pt x="4820" y="1555"/>
                </a:lnTo>
                <a:lnTo>
                  <a:pt x="4823" y="1598"/>
                </a:lnTo>
                <a:lnTo>
                  <a:pt x="4825" y="1641"/>
                </a:lnTo>
                <a:lnTo>
                  <a:pt x="4827" y="1686"/>
                </a:lnTo>
                <a:lnTo>
                  <a:pt x="4827" y="1729"/>
                </a:lnTo>
                <a:lnTo>
                  <a:pt x="4827" y="1768"/>
                </a:lnTo>
                <a:lnTo>
                  <a:pt x="4826" y="1806"/>
                </a:lnTo>
                <a:lnTo>
                  <a:pt x="4824" y="1843"/>
                </a:lnTo>
                <a:lnTo>
                  <a:pt x="4822" y="1880"/>
                </a:lnTo>
                <a:lnTo>
                  <a:pt x="4818" y="1917"/>
                </a:lnTo>
                <a:lnTo>
                  <a:pt x="4814" y="1954"/>
                </a:lnTo>
                <a:lnTo>
                  <a:pt x="4808" y="1990"/>
                </a:lnTo>
                <a:lnTo>
                  <a:pt x="4803" y="2027"/>
                </a:lnTo>
                <a:lnTo>
                  <a:pt x="4797" y="2062"/>
                </a:lnTo>
                <a:lnTo>
                  <a:pt x="4789" y="2098"/>
                </a:lnTo>
                <a:lnTo>
                  <a:pt x="4781" y="2134"/>
                </a:lnTo>
                <a:lnTo>
                  <a:pt x="4772" y="2169"/>
                </a:lnTo>
                <a:lnTo>
                  <a:pt x="4763" y="2204"/>
                </a:lnTo>
                <a:lnTo>
                  <a:pt x="4752" y="2240"/>
                </a:lnTo>
                <a:lnTo>
                  <a:pt x="4740" y="2274"/>
                </a:lnTo>
                <a:lnTo>
                  <a:pt x="4729" y="2308"/>
                </a:lnTo>
                <a:lnTo>
                  <a:pt x="4716" y="2342"/>
                </a:lnTo>
                <a:lnTo>
                  <a:pt x="4702" y="2376"/>
                </a:lnTo>
                <a:lnTo>
                  <a:pt x="4688" y="2410"/>
                </a:lnTo>
                <a:lnTo>
                  <a:pt x="4673" y="2443"/>
                </a:lnTo>
                <a:lnTo>
                  <a:pt x="4657" y="2476"/>
                </a:lnTo>
                <a:lnTo>
                  <a:pt x="4641" y="2508"/>
                </a:lnTo>
                <a:lnTo>
                  <a:pt x="4624" y="2541"/>
                </a:lnTo>
                <a:lnTo>
                  <a:pt x="4605" y="2573"/>
                </a:lnTo>
                <a:lnTo>
                  <a:pt x="4586" y="2606"/>
                </a:lnTo>
                <a:lnTo>
                  <a:pt x="4566" y="2638"/>
                </a:lnTo>
                <a:lnTo>
                  <a:pt x="4546" y="2669"/>
                </a:lnTo>
                <a:lnTo>
                  <a:pt x="4525" y="2701"/>
                </a:lnTo>
                <a:lnTo>
                  <a:pt x="4502" y="2732"/>
                </a:lnTo>
                <a:lnTo>
                  <a:pt x="4480" y="2763"/>
                </a:lnTo>
                <a:lnTo>
                  <a:pt x="4456" y="2793"/>
                </a:lnTo>
                <a:lnTo>
                  <a:pt x="4431" y="2824"/>
                </a:lnTo>
                <a:lnTo>
                  <a:pt x="4407" y="2853"/>
                </a:lnTo>
                <a:lnTo>
                  <a:pt x="4381" y="2883"/>
                </a:lnTo>
                <a:lnTo>
                  <a:pt x="4356" y="2910"/>
                </a:lnTo>
                <a:lnTo>
                  <a:pt x="4329" y="2938"/>
                </a:lnTo>
                <a:lnTo>
                  <a:pt x="4303" y="2965"/>
                </a:lnTo>
                <a:lnTo>
                  <a:pt x="4276" y="2991"/>
                </a:lnTo>
                <a:lnTo>
                  <a:pt x="4249" y="3017"/>
                </a:lnTo>
                <a:lnTo>
                  <a:pt x="4220" y="3041"/>
                </a:lnTo>
                <a:lnTo>
                  <a:pt x="4192" y="3066"/>
                </a:lnTo>
                <a:lnTo>
                  <a:pt x="4164" y="3089"/>
                </a:lnTo>
                <a:lnTo>
                  <a:pt x="4134" y="3112"/>
                </a:lnTo>
                <a:lnTo>
                  <a:pt x="4105" y="3134"/>
                </a:lnTo>
                <a:lnTo>
                  <a:pt x="4075" y="3155"/>
                </a:lnTo>
                <a:lnTo>
                  <a:pt x="4045" y="3176"/>
                </a:lnTo>
                <a:lnTo>
                  <a:pt x="4014" y="3196"/>
                </a:lnTo>
                <a:lnTo>
                  <a:pt x="3982" y="3215"/>
                </a:lnTo>
                <a:lnTo>
                  <a:pt x="3950" y="3233"/>
                </a:lnTo>
                <a:lnTo>
                  <a:pt x="3919" y="3252"/>
                </a:lnTo>
                <a:lnTo>
                  <a:pt x="3887" y="3269"/>
                </a:lnTo>
                <a:lnTo>
                  <a:pt x="3854" y="3286"/>
                </a:lnTo>
                <a:lnTo>
                  <a:pt x="3820" y="3301"/>
                </a:lnTo>
                <a:lnTo>
                  <a:pt x="3786" y="3316"/>
                </a:lnTo>
                <a:lnTo>
                  <a:pt x="3752" y="3331"/>
                </a:lnTo>
                <a:lnTo>
                  <a:pt x="3718" y="3344"/>
                </a:lnTo>
                <a:lnTo>
                  <a:pt x="3683" y="3358"/>
                </a:lnTo>
                <a:lnTo>
                  <a:pt x="3647" y="3370"/>
                </a:lnTo>
                <a:lnTo>
                  <a:pt x="3611" y="3381"/>
                </a:lnTo>
                <a:lnTo>
                  <a:pt x="3575" y="3393"/>
                </a:lnTo>
                <a:lnTo>
                  <a:pt x="3538" y="3402"/>
                </a:lnTo>
                <a:lnTo>
                  <a:pt x="3500" y="3412"/>
                </a:lnTo>
                <a:lnTo>
                  <a:pt x="3463" y="3421"/>
                </a:lnTo>
                <a:lnTo>
                  <a:pt x="3425" y="3429"/>
                </a:lnTo>
                <a:lnTo>
                  <a:pt x="3438" y="3443"/>
                </a:lnTo>
                <a:lnTo>
                  <a:pt x="3449" y="3456"/>
                </a:lnTo>
                <a:lnTo>
                  <a:pt x="3459" y="3468"/>
                </a:lnTo>
                <a:lnTo>
                  <a:pt x="3466" y="3480"/>
                </a:lnTo>
                <a:lnTo>
                  <a:pt x="3473" y="3491"/>
                </a:lnTo>
                <a:lnTo>
                  <a:pt x="3477" y="3501"/>
                </a:lnTo>
                <a:lnTo>
                  <a:pt x="3479" y="3512"/>
                </a:lnTo>
                <a:lnTo>
                  <a:pt x="3480" y="3522"/>
                </a:lnTo>
                <a:close/>
              </a:path>
            </a:pathLst>
          </a:custGeom>
          <a:solidFill>
            <a:schemeClr val="bg1">
              <a:lumMod val="75000"/>
            </a:schemeClr>
          </a:solidFill>
          <a:ln w="9525">
            <a:noFill/>
            <a:round/>
            <a:headEnd/>
            <a:tailEnd/>
          </a:ln>
        </p:spPr>
        <p:txBody>
          <a:bodyPr/>
          <a:lstStyle>
            <a:defPPr>
              <a:defRPr lang="en-US"/>
            </a:defPPr>
            <a:lvl1pPr marL="0" algn="l" defTabSz="1018824" rtl="0" eaLnBrk="1" latinLnBrk="0" hangingPunct="1">
              <a:defRPr sz="2000" kern="1200">
                <a:solidFill>
                  <a:schemeClr val="tx1"/>
                </a:solidFill>
                <a:latin typeface="+mn-lt"/>
                <a:ea typeface="+mn-ea"/>
                <a:cs typeface="+mn-cs"/>
              </a:defRPr>
            </a:lvl1pPr>
            <a:lvl2pPr marL="509412" algn="l" defTabSz="1018824" rtl="0" eaLnBrk="1" latinLnBrk="0" hangingPunct="1">
              <a:defRPr sz="2000" kern="1200">
                <a:solidFill>
                  <a:schemeClr val="tx1"/>
                </a:solidFill>
                <a:latin typeface="+mn-lt"/>
                <a:ea typeface="+mn-ea"/>
                <a:cs typeface="+mn-cs"/>
              </a:defRPr>
            </a:lvl2pPr>
            <a:lvl3pPr marL="1018824" algn="l" defTabSz="1018824" rtl="0" eaLnBrk="1" latinLnBrk="0" hangingPunct="1">
              <a:defRPr sz="2000" kern="1200">
                <a:solidFill>
                  <a:schemeClr val="tx1"/>
                </a:solidFill>
                <a:latin typeface="+mn-lt"/>
                <a:ea typeface="+mn-ea"/>
                <a:cs typeface="+mn-cs"/>
              </a:defRPr>
            </a:lvl3pPr>
            <a:lvl4pPr marL="1528237" algn="l" defTabSz="1018824" rtl="0" eaLnBrk="1" latinLnBrk="0" hangingPunct="1">
              <a:defRPr sz="2000" kern="1200">
                <a:solidFill>
                  <a:schemeClr val="tx1"/>
                </a:solidFill>
                <a:latin typeface="+mn-lt"/>
                <a:ea typeface="+mn-ea"/>
                <a:cs typeface="+mn-cs"/>
              </a:defRPr>
            </a:lvl4pPr>
            <a:lvl5pPr marL="2037649" algn="l" defTabSz="1018824" rtl="0" eaLnBrk="1" latinLnBrk="0" hangingPunct="1">
              <a:defRPr sz="2000" kern="1200">
                <a:solidFill>
                  <a:schemeClr val="tx1"/>
                </a:solidFill>
                <a:latin typeface="+mn-lt"/>
                <a:ea typeface="+mn-ea"/>
                <a:cs typeface="+mn-cs"/>
              </a:defRPr>
            </a:lvl5pPr>
            <a:lvl6pPr marL="2547061" algn="l" defTabSz="1018824" rtl="0" eaLnBrk="1" latinLnBrk="0" hangingPunct="1">
              <a:defRPr sz="2000" kern="1200">
                <a:solidFill>
                  <a:schemeClr val="tx1"/>
                </a:solidFill>
                <a:latin typeface="+mn-lt"/>
                <a:ea typeface="+mn-ea"/>
                <a:cs typeface="+mn-cs"/>
              </a:defRPr>
            </a:lvl6pPr>
            <a:lvl7pPr marL="3056473" algn="l" defTabSz="1018824" rtl="0" eaLnBrk="1" latinLnBrk="0" hangingPunct="1">
              <a:defRPr sz="2000" kern="1200">
                <a:solidFill>
                  <a:schemeClr val="tx1"/>
                </a:solidFill>
                <a:latin typeface="+mn-lt"/>
                <a:ea typeface="+mn-ea"/>
                <a:cs typeface="+mn-cs"/>
              </a:defRPr>
            </a:lvl7pPr>
            <a:lvl8pPr marL="3565886" algn="l" defTabSz="1018824" rtl="0" eaLnBrk="1" latinLnBrk="0" hangingPunct="1">
              <a:defRPr sz="2000" kern="1200">
                <a:solidFill>
                  <a:schemeClr val="tx1"/>
                </a:solidFill>
                <a:latin typeface="+mn-lt"/>
                <a:ea typeface="+mn-ea"/>
                <a:cs typeface="+mn-cs"/>
              </a:defRPr>
            </a:lvl8pPr>
            <a:lvl9pPr marL="4075298" algn="l" defTabSz="1018824" rtl="0" eaLnBrk="1" latinLnBrk="0" hangingPunct="1">
              <a:defRPr sz="2000" kern="1200">
                <a:solidFill>
                  <a:schemeClr val="tx1"/>
                </a:solidFill>
                <a:latin typeface="+mn-lt"/>
                <a:ea typeface="+mn-ea"/>
                <a:cs typeface="+mn-cs"/>
              </a:defRPr>
            </a:lvl9pPr>
          </a:lstStyle>
          <a:p>
            <a:pPr marL="0" marR="0" lvl="0" indent="0" algn="l" defTabSz="1018824" rtl="0" eaLnBrk="1" fontAlgn="auto" latinLnBrk="0" hangingPunct="1">
              <a:lnSpc>
                <a:spcPct val="100000"/>
              </a:lnSpc>
              <a:spcBef>
                <a:spcPts val="0"/>
              </a:spcBef>
              <a:spcAft>
                <a:spcPts val="0"/>
              </a:spcAft>
              <a:buClrTx/>
              <a:buSzTx/>
              <a:buFontTx/>
              <a:buNone/>
              <a:tabLst/>
              <a:defRPr/>
            </a:pPr>
            <a:endParaRPr kumimoji="0" lang="en-GB" sz="1589"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21">
            <a:extLst>
              <a:ext uri="{FF2B5EF4-FFF2-40B4-BE49-F238E27FC236}">
                <a16:creationId xmlns:a16="http://schemas.microsoft.com/office/drawing/2014/main" id="{BE48A869-039F-4453-92A7-65A91DDCDACB}"/>
              </a:ext>
            </a:extLst>
          </p:cNvPr>
          <p:cNvSpPr>
            <a:spLocks/>
          </p:cNvSpPr>
          <p:nvPr/>
        </p:nvSpPr>
        <p:spPr bwMode="auto">
          <a:xfrm>
            <a:off x="1799310" y="4302966"/>
            <a:ext cx="197037" cy="470851"/>
          </a:xfrm>
          <a:custGeom>
            <a:avLst/>
            <a:gdLst>
              <a:gd name="T0" fmla="*/ 13344091 w 6132"/>
              <a:gd name="T1" fmla="*/ 10441401 h 16980"/>
              <a:gd name="T2" fmla="*/ 14439013 w 6132"/>
              <a:gd name="T3" fmla="*/ 10808942 h 16980"/>
              <a:gd name="T4" fmla="*/ 15478309 w 6132"/>
              <a:gd name="T5" fmla="*/ 11467619 h 16980"/>
              <a:gd name="T6" fmla="*/ 16450295 w 6132"/>
              <a:gd name="T7" fmla="*/ 12408541 h 16980"/>
              <a:gd name="T8" fmla="*/ 17214401 w 6132"/>
              <a:gd name="T9" fmla="*/ 13481773 h 16980"/>
              <a:gd name="T10" fmla="*/ 17709159 w 6132"/>
              <a:gd name="T11" fmla="*/ 14605004 h 16980"/>
              <a:gd name="T12" fmla="*/ 17937493 w 6132"/>
              <a:gd name="T13" fmla="*/ 15789994 h 16980"/>
              <a:gd name="T14" fmla="*/ 17922884 w 6132"/>
              <a:gd name="T15" fmla="*/ 28795453 h 16980"/>
              <a:gd name="T16" fmla="*/ 17720901 w 6132"/>
              <a:gd name="T17" fmla="*/ 29724608 h 16980"/>
              <a:gd name="T18" fmla="*/ 17322724 w 6132"/>
              <a:gd name="T19" fmla="*/ 30571448 h 16980"/>
              <a:gd name="T20" fmla="*/ 16731329 w 6132"/>
              <a:gd name="T21" fmla="*/ 31344758 h 16980"/>
              <a:gd name="T22" fmla="*/ 15970146 w 6132"/>
              <a:gd name="T23" fmla="*/ 32000508 h 16980"/>
              <a:gd name="T24" fmla="*/ 15062602 w 6132"/>
              <a:gd name="T25" fmla="*/ 32509198 h 16980"/>
              <a:gd name="T26" fmla="*/ 14014483 w 6132"/>
              <a:gd name="T27" fmla="*/ 32867899 h 16980"/>
              <a:gd name="T28" fmla="*/ 4168927 w 6132"/>
              <a:gd name="T29" fmla="*/ 32935519 h 16980"/>
              <a:gd name="T30" fmla="*/ 3003722 w 6132"/>
              <a:gd name="T31" fmla="*/ 32515054 h 16980"/>
              <a:gd name="T32" fmla="*/ 2104943 w 6132"/>
              <a:gd name="T33" fmla="*/ 32053432 h 16980"/>
              <a:gd name="T34" fmla="*/ 1334994 w 6132"/>
              <a:gd name="T35" fmla="*/ 31503585 h 16980"/>
              <a:gd name="T36" fmla="*/ 723146 w 6132"/>
              <a:gd name="T37" fmla="*/ 30883136 h 16980"/>
              <a:gd name="T38" fmla="*/ 295697 w 6132"/>
              <a:gd name="T39" fmla="*/ 30230369 h 16980"/>
              <a:gd name="T40" fmla="*/ 55622 w 6132"/>
              <a:gd name="T41" fmla="*/ 29542302 h 16980"/>
              <a:gd name="T42" fmla="*/ 2922 w 6132"/>
              <a:gd name="T43" fmla="*/ 16034064 h 16980"/>
              <a:gd name="T44" fmla="*/ 166867 w 6132"/>
              <a:gd name="T45" fmla="*/ 14637376 h 16980"/>
              <a:gd name="T46" fmla="*/ 608925 w 6132"/>
              <a:gd name="T47" fmla="*/ 13408297 h 16980"/>
              <a:gd name="T48" fmla="*/ 1326228 w 6132"/>
              <a:gd name="T49" fmla="*/ 12352689 h 16980"/>
              <a:gd name="T50" fmla="*/ 2309902 w 6132"/>
              <a:gd name="T51" fmla="*/ 11479386 h 16980"/>
              <a:gd name="T52" fmla="*/ 3495559 w 6132"/>
              <a:gd name="T53" fmla="*/ 10853081 h 16980"/>
              <a:gd name="T54" fmla="*/ 4889097 w 6132"/>
              <a:gd name="T55" fmla="*/ 10479630 h 16980"/>
              <a:gd name="T56" fmla="*/ 6475906 w 6132"/>
              <a:gd name="T57" fmla="*/ 10356104 h 16980"/>
              <a:gd name="T58" fmla="*/ 6768627 w 6132"/>
              <a:gd name="T59" fmla="*/ 10332625 h 16980"/>
              <a:gd name="T60" fmla="*/ 7661564 w 6132"/>
              <a:gd name="T61" fmla="*/ 10323786 h 16980"/>
              <a:gd name="T62" fmla="*/ 7863602 w 6132"/>
              <a:gd name="T63" fmla="*/ 10085627 h 16980"/>
              <a:gd name="T64" fmla="*/ 7032131 w 6132"/>
              <a:gd name="T65" fmla="*/ 9768029 h 16980"/>
              <a:gd name="T66" fmla="*/ 6197794 w 6132"/>
              <a:gd name="T67" fmla="*/ 9285801 h 16980"/>
              <a:gd name="T68" fmla="*/ 5471726 w 6132"/>
              <a:gd name="T69" fmla="*/ 8674191 h 16980"/>
              <a:gd name="T70" fmla="*/ 4859825 w 6132"/>
              <a:gd name="T71" fmla="*/ 7936181 h 16980"/>
              <a:gd name="T72" fmla="*/ 4409002 w 6132"/>
              <a:gd name="T73" fmla="*/ 7115803 h 16980"/>
              <a:gd name="T74" fmla="*/ 4122070 w 6132"/>
              <a:gd name="T75" fmla="*/ 6242499 h 16980"/>
              <a:gd name="T76" fmla="*/ 4002059 w 6132"/>
              <a:gd name="T77" fmla="*/ 5304506 h 16980"/>
              <a:gd name="T78" fmla="*/ 4069369 w 6132"/>
              <a:gd name="T79" fmla="*/ 4195974 h 16980"/>
              <a:gd name="T80" fmla="*/ 4370910 w 6132"/>
              <a:gd name="T81" fmla="*/ 3140364 h 16980"/>
              <a:gd name="T82" fmla="*/ 4906682 w 6132"/>
              <a:gd name="T83" fmla="*/ 2181765 h 16980"/>
              <a:gd name="T84" fmla="*/ 5679553 w 6132"/>
              <a:gd name="T85" fmla="*/ 1317301 h 16980"/>
              <a:gd name="T86" fmla="*/ 6578332 w 6132"/>
              <a:gd name="T87" fmla="*/ 643928 h 16980"/>
              <a:gd name="T88" fmla="*/ 7576670 w 6132"/>
              <a:gd name="T89" fmla="*/ 208768 h 16980"/>
              <a:gd name="T90" fmla="*/ 8671588 w 6132"/>
              <a:gd name="T91" fmla="*/ 11767 h 16980"/>
              <a:gd name="T92" fmla="*/ 9825105 w 6132"/>
              <a:gd name="T93" fmla="*/ 52924 h 16980"/>
              <a:gd name="T94" fmla="*/ 10893673 w 6132"/>
              <a:gd name="T95" fmla="*/ 326384 h 16980"/>
              <a:gd name="T96" fmla="*/ 11865659 w 6132"/>
              <a:gd name="T97" fmla="*/ 843912 h 16980"/>
              <a:gd name="T98" fmla="*/ 12743931 w 6132"/>
              <a:gd name="T99" fmla="*/ 1593689 h 16980"/>
              <a:gd name="T100" fmla="*/ 13431908 w 6132"/>
              <a:gd name="T101" fmla="*/ 2490525 h 16980"/>
              <a:gd name="T102" fmla="*/ 13891551 w 6132"/>
              <a:gd name="T103" fmla="*/ 3481443 h 16980"/>
              <a:gd name="T104" fmla="*/ 14111119 w 6132"/>
              <a:gd name="T105" fmla="*/ 4572353 h 16980"/>
              <a:gd name="T106" fmla="*/ 14105275 w 6132"/>
              <a:gd name="T107" fmla="*/ 5636746 h 16980"/>
              <a:gd name="T108" fmla="*/ 13912057 w 6132"/>
              <a:gd name="T109" fmla="*/ 6586506 h 16980"/>
              <a:gd name="T110" fmla="*/ 13537309 w 6132"/>
              <a:gd name="T111" fmla="*/ 7471577 h 16980"/>
              <a:gd name="T112" fmla="*/ 12972265 w 6132"/>
              <a:gd name="T113" fmla="*/ 8303722 h 16980"/>
              <a:gd name="T114" fmla="*/ 12272601 w 6132"/>
              <a:gd name="T115" fmla="*/ 9015324 h 16980"/>
              <a:gd name="T116" fmla="*/ 11473326 w 6132"/>
              <a:gd name="T117" fmla="*/ 9562188 h 16980"/>
              <a:gd name="T118" fmla="*/ 10571626 w 6132"/>
              <a:gd name="T119" fmla="*/ 9941550 h 16980"/>
              <a:gd name="T120" fmla="*/ 10147098 w 6132"/>
              <a:gd name="T121" fmla="*/ 10232633 h 1698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6132"/>
              <a:gd name="T184" fmla="*/ 0 h 16980"/>
              <a:gd name="T185" fmla="*/ 6132 w 6132"/>
              <a:gd name="T186" fmla="*/ 16980 h 16980"/>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6132" h="16980">
                <a:moveTo>
                  <a:pt x="3480" y="3522"/>
                </a:moveTo>
                <a:lnTo>
                  <a:pt x="4254" y="3522"/>
                </a:lnTo>
                <a:lnTo>
                  <a:pt x="4298" y="3522"/>
                </a:lnTo>
                <a:lnTo>
                  <a:pt x="4342" y="3524"/>
                </a:lnTo>
                <a:lnTo>
                  <a:pt x="4386" y="3527"/>
                </a:lnTo>
                <a:lnTo>
                  <a:pt x="4429" y="3531"/>
                </a:lnTo>
                <a:lnTo>
                  <a:pt x="4473" y="3536"/>
                </a:lnTo>
                <a:lnTo>
                  <a:pt x="4515" y="3543"/>
                </a:lnTo>
                <a:lnTo>
                  <a:pt x="4558" y="3551"/>
                </a:lnTo>
                <a:lnTo>
                  <a:pt x="4601" y="3560"/>
                </a:lnTo>
                <a:lnTo>
                  <a:pt x="4643" y="3570"/>
                </a:lnTo>
                <a:lnTo>
                  <a:pt x="4685" y="3582"/>
                </a:lnTo>
                <a:lnTo>
                  <a:pt x="4727" y="3595"/>
                </a:lnTo>
                <a:lnTo>
                  <a:pt x="4769" y="3609"/>
                </a:lnTo>
                <a:lnTo>
                  <a:pt x="4809" y="3624"/>
                </a:lnTo>
                <a:lnTo>
                  <a:pt x="4851" y="3640"/>
                </a:lnTo>
                <a:lnTo>
                  <a:pt x="4892" y="3658"/>
                </a:lnTo>
                <a:lnTo>
                  <a:pt x="4932" y="3676"/>
                </a:lnTo>
                <a:lnTo>
                  <a:pt x="4973" y="3696"/>
                </a:lnTo>
                <a:lnTo>
                  <a:pt x="5013" y="3717"/>
                </a:lnTo>
                <a:lnTo>
                  <a:pt x="5052" y="3739"/>
                </a:lnTo>
                <a:lnTo>
                  <a:pt x="5093" y="3763"/>
                </a:lnTo>
                <a:lnTo>
                  <a:pt x="5132" y="3788"/>
                </a:lnTo>
                <a:lnTo>
                  <a:pt x="5171" y="3814"/>
                </a:lnTo>
                <a:lnTo>
                  <a:pt x="5210" y="3842"/>
                </a:lnTo>
                <a:lnTo>
                  <a:pt x="5249" y="3870"/>
                </a:lnTo>
                <a:lnTo>
                  <a:pt x="5287" y="3900"/>
                </a:lnTo>
                <a:lnTo>
                  <a:pt x="5325" y="3931"/>
                </a:lnTo>
                <a:lnTo>
                  <a:pt x="5364" y="3963"/>
                </a:lnTo>
                <a:lnTo>
                  <a:pt x="5401" y="3997"/>
                </a:lnTo>
                <a:lnTo>
                  <a:pt x="5438" y="4031"/>
                </a:lnTo>
                <a:lnTo>
                  <a:pt x="5475" y="4067"/>
                </a:lnTo>
                <a:lnTo>
                  <a:pt x="5512" y="4104"/>
                </a:lnTo>
                <a:lnTo>
                  <a:pt x="5549" y="4142"/>
                </a:lnTo>
                <a:lnTo>
                  <a:pt x="5584" y="4181"/>
                </a:lnTo>
                <a:lnTo>
                  <a:pt x="5619" y="4220"/>
                </a:lnTo>
                <a:lnTo>
                  <a:pt x="5652" y="4260"/>
                </a:lnTo>
                <a:lnTo>
                  <a:pt x="5685" y="4300"/>
                </a:lnTo>
                <a:lnTo>
                  <a:pt x="5716" y="4339"/>
                </a:lnTo>
                <a:lnTo>
                  <a:pt x="5747" y="4379"/>
                </a:lnTo>
                <a:lnTo>
                  <a:pt x="5775" y="4420"/>
                </a:lnTo>
                <a:lnTo>
                  <a:pt x="5803" y="4460"/>
                </a:lnTo>
                <a:lnTo>
                  <a:pt x="5830" y="4502"/>
                </a:lnTo>
                <a:lnTo>
                  <a:pt x="5855" y="4543"/>
                </a:lnTo>
                <a:lnTo>
                  <a:pt x="5880" y="4585"/>
                </a:lnTo>
                <a:lnTo>
                  <a:pt x="5904" y="4626"/>
                </a:lnTo>
                <a:lnTo>
                  <a:pt x="5925" y="4667"/>
                </a:lnTo>
                <a:lnTo>
                  <a:pt x="5946" y="4710"/>
                </a:lnTo>
                <a:lnTo>
                  <a:pt x="5967" y="4752"/>
                </a:lnTo>
                <a:lnTo>
                  <a:pt x="5986" y="4795"/>
                </a:lnTo>
                <a:lnTo>
                  <a:pt x="6004" y="4838"/>
                </a:lnTo>
                <a:lnTo>
                  <a:pt x="6020" y="4880"/>
                </a:lnTo>
                <a:lnTo>
                  <a:pt x="6036" y="4924"/>
                </a:lnTo>
                <a:lnTo>
                  <a:pt x="6049" y="4967"/>
                </a:lnTo>
                <a:lnTo>
                  <a:pt x="6063" y="5011"/>
                </a:lnTo>
                <a:lnTo>
                  <a:pt x="6075" y="5055"/>
                </a:lnTo>
                <a:lnTo>
                  <a:pt x="6085" y="5100"/>
                </a:lnTo>
                <a:lnTo>
                  <a:pt x="6095" y="5144"/>
                </a:lnTo>
                <a:lnTo>
                  <a:pt x="6104" y="5189"/>
                </a:lnTo>
                <a:lnTo>
                  <a:pt x="6111" y="5234"/>
                </a:lnTo>
                <a:lnTo>
                  <a:pt x="6117" y="5280"/>
                </a:lnTo>
                <a:lnTo>
                  <a:pt x="6123" y="5324"/>
                </a:lnTo>
                <a:lnTo>
                  <a:pt x="6127" y="5370"/>
                </a:lnTo>
                <a:lnTo>
                  <a:pt x="6130" y="5417"/>
                </a:lnTo>
                <a:lnTo>
                  <a:pt x="6131" y="5463"/>
                </a:lnTo>
                <a:lnTo>
                  <a:pt x="6132" y="5509"/>
                </a:lnTo>
                <a:lnTo>
                  <a:pt x="6132" y="9605"/>
                </a:lnTo>
                <a:lnTo>
                  <a:pt x="6132" y="9643"/>
                </a:lnTo>
                <a:lnTo>
                  <a:pt x="6130" y="9682"/>
                </a:lnTo>
                <a:lnTo>
                  <a:pt x="6129" y="9719"/>
                </a:lnTo>
                <a:lnTo>
                  <a:pt x="6126" y="9756"/>
                </a:lnTo>
                <a:lnTo>
                  <a:pt x="6122" y="9793"/>
                </a:lnTo>
                <a:lnTo>
                  <a:pt x="6117" y="9829"/>
                </a:lnTo>
                <a:lnTo>
                  <a:pt x="6112" y="9866"/>
                </a:lnTo>
                <a:lnTo>
                  <a:pt x="6107" y="9901"/>
                </a:lnTo>
                <a:lnTo>
                  <a:pt x="6099" y="9937"/>
                </a:lnTo>
                <a:lnTo>
                  <a:pt x="6092" y="9972"/>
                </a:lnTo>
                <a:lnTo>
                  <a:pt x="6083" y="10007"/>
                </a:lnTo>
                <a:lnTo>
                  <a:pt x="6074" y="10041"/>
                </a:lnTo>
                <a:lnTo>
                  <a:pt x="6063" y="10075"/>
                </a:lnTo>
                <a:lnTo>
                  <a:pt x="6053" y="10109"/>
                </a:lnTo>
                <a:lnTo>
                  <a:pt x="6041" y="10142"/>
                </a:lnTo>
                <a:lnTo>
                  <a:pt x="6028" y="10175"/>
                </a:lnTo>
                <a:lnTo>
                  <a:pt x="6014" y="10208"/>
                </a:lnTo>
                <a:lnTo>
                  <a:pt x="6001" y="10241"/>
                </a:lnTo>
                <a:lnTo>
                  <a:pt x="5986" y="10273"/>
                </a:lnTo>
                <a:lnTo>
                  <a:pt x="5970" y="10305"/>
                </a:lnTo>
                <a:lnTo>
                  <a:pt x="5953" y="10335"/>
                </a:lnTo>
                <a:lnTo>
                  <a:pt x="5935" y="10366"/>
                </a:lnTo>
                <a:lnTo>
                  <a:pt x="5917" y="10397"/>
                </a:lnTo>
                <a:lnTo>
                  <a:pt x="5898" y="10428"/>
                </a:lnTo>
                <a:lnTo>
                  <a:pt x="5877" y="10458"/>
                </a:lnTo>
                <a:lnTo>
                  <a:pt x="5857" y="10487"/>
                </a:lnTo>
                <a:lnTo>
                  <a:pt x="5835" y="10517"/>
                </a:lnTo>
                <a:lnTo>
                  <a:pt x="5813" y="10546"/>
                </a:lnTo>
                <a:lnTo>
                  <a:pt x="5789" y="10575"/>
                </a:lnTo>
                <a:lnTo>
                  <a:pt x="5766" y="10603"/>
                </a:lnTo>
                <a:lnTo>
                  <a:pt x="5740" y="10632"/>
                </a:lnTo>
                <a:lnTo>
                  <a:pt x="5715" y="10660"/>
                </a:lnTo>
                <a:lnTo>
                  <a:pt x="5688" y="10687"/>
                </a:lnTo>
                <a:lnTo>
                  <a:pt x="5661" y="10714"/>
                </a:lnTo>
                <a:lnTo>
                  <a:pt x="5633" y="10739"/>
                </a:lnTo>
                <a:lnTo>
                  <a:pt x="5606" y="10765"/>
                </a:lnTo>
                <a:lnTo>
                  <a:pt x="5576" y="10790"/>
                </a:lnTo>
                <a:lnTo>
                  <a:pt x="5546" y="10814"/>
                </a:lnTo>
                <a:lnTo>
                  <a:pt x="5516" y="10838"/>
                </a:lnTo>
                <a:lnTo>
                  <a:pt x="5486" y="10860"/>
                </a:lnTo>
                <a:lnTo>
                  <a:pt x="5455" y="10883"/>
                </a:lnTo>
                <a:lnTo>
                  <a:pt x="5422" y="10905"/>
                </a:lnTo>
                <a:lnTo>
                  <a:pt x="5390" y="10925"/>
                </a:lnTo>
                <a:lnTo>
                  <a:pt x="5357" y="10947"/>
                </a:lnTo>
                <a:lnTo>
                  <a:pt x="5323" y="10966"/>
                </a:lnTo>
                <a:lnTo>
                  <a:pt x="5288" y="10985"/>
                </a:lnTo>
                <a:lnTo>
                  <a:pt x="5253" y="11004"/>
                </a:lnTo>
                <a:lnTo>
                  <a:pt x="5218" y="11022"/>
                </a:lnTo>
                <a:lnTo>
                  <a:pt x="5182" y="11039"/>
                </a:lnTo>
                <a:lnTo>
                  <a:pt x="5145" y="11056"/>
                </a:lnTo>
                <a:lnTo>
                  <a:pt x="5108" y="11072"/>
                </a:lnTo>
                <a:lnTo>
                  <a:pt x="5069" y="11087"/>
                </a:lnTo>
                <a:lnTo>
                  <a:pt x="5031" y="11102"/>
                </a:lnTo>
                <a:lnTo>
                  <a:pt x="4992" y="11117"/>
                </a:lnTo>
                <a:lnTo>
                  <a:pt x="4952" y="11130"/>
                </a:lnTo>
                <a:lnTo>
                  <a:pt x="4911" y="11143"/>
                </a:lnTo>
                <a:lnTo>
                  <a:pt x="4871" y="11155"/>
                </a:lnTo>
                <a:lnTo>
                  <a:pt x="4828" y="11167"/>
                </a:lnTo>
                <a:lnTo>
                  <a:pt x="4787" y="11178"/>
                </a:lnTo>
                <a:lnTo>
                  <a:pt x="4743" y="11189"/>
                </a:lnTo>
                <a:lnTo>
                  <a:pt x="4701" y="11199"/>
                </a:lnTo>
                <a:lnTo>
                  <a:pt x="4656" y="11208"/>
                </a:lnTo>
                <a:lnTo>
                  <a:pt x="4612" y="11217"/>
                </a:lnTo>
                <a:lnTo>
                  <a:pt x="4567" y="11225"/>
                </a:lnTo>
                <a:lnTo>
                  <a:pt x="4567" y="16980"/>
                </a:lnTo>
                <a:lnTo>
                  <a:pt x="1510" y="16980"/>
                </a:lnTo>
                <a:lnTo>
                  <a:pt x="1510" y="11225"/>
                </a:lnTo>
                <a:lnTo>
                  <a:pt x="1424" y="11201"/>
                </a:lnTo>
                <a:lnTo>
                  <a:pt x="1340" y="11175"/>
                </a:lnTo>
                <a:lnTo>
                  <a:pt x="1298" y="11161"/>
                </a:lnTo>
                <a:lnTo>
                  <a:pt x="1258" y="11148"/>
                </a:lnTo>
                <a:lnTo>
                  <a:pt x="1218" y="11134"/>
                </a:lnTo>
                <a:lnTo>
                  <a:pt x="1178" y="11120"/>
                </a:lnTo>
                <a:lnTo>
                  <a:pt x="1139" y="11105"/>
                </a:lnTo>
                <a:lnTo>
                  <a:pt x="1101" y="11089"/>
                </a:lnTo>
                <a:lnTo>
                  <a:pt x="1064" y="11074"/>
                </a:lnTo>
                <a:lnTo>
                  <a:pt x="1026" y="11058"/>
                </a:lnTo>
                <a:lnTo>
                  <a:pt x="990" y="11042"/>
                </a:lnTo>
                <a:lnTo>
                  <a:pt x="954" y="11025"/>
                </a:lnTo>
                <a:lnTo>
                  <a:pt x="918" y="11009"/>
                </a:lnTo>
                <a:lnTo>
                  <a:pt x="884" y="10991"/>
                </a:lnTo>
                <a:lnTo>
                  <a:pt x="849" y="10974"/>
                </a:lnTo>
                <a:lnTo>
                  <a:pt x="816" y="10956"/>
                </a:lnTo>
                <a:lnTo>
                  <a:pt x="782" y="10938"/>
                </a:lnTo>
                <a:lnTo>
                  <a:pt x="750" y="10920"/>
                </a:lnTo>
                <a:lnTo>
                  <a:pt x="719" y="10901"/>
                </a:lnTo>
                <a:lnTo>
                  <a:pt x="687" y="10882"/>
                </a:lnTo>
                <a:lnTo>
                  <a:pt x="656" y="10862"/>
                </a:lnTo>
                <a:lnTo>
                  <a:pt x="626" y="10841"/>
                </a:lnTo>
                <a:lnTo>
                  <a:pt x="596" y="10821"/>
                </a:lnTo>
                <a:lnTo>
                  <a:pt x="567" y="10801"/>
                </a:lnTo>
                <a:lnTo>
                  <a:pt x="539" y="10780"/>
                </a:lnTo>
                <a:lnTo>
                  <a:pt x="510" y="10758"/>
                </a:lnTo>
                <a:lnTo>
                  <a:pt x="484" y="10736"/>
                </a:lnTo>
                <a:lnTo>
                  <a:pt x="456" y="10714"/>
                </a:lnTo>
                <a:lnTo>
                  <a:pt x="431" y="10691"/>
                </a:lnTo>
                <a:lnTo>
                  <a:pt x="405" y="10668"/>
                </a:lnTo>
                <a:lnTo>
                  <a:pt x="380" y="10646"/>
                </a:lnTo>
                <a:lnTo>
                  <a:pt x="355" y="10622"/>
                </a:lnTo>
                <a:lnTo>
                  <a:pt x="332" y="10599"/>
                </a:lnTo>
                <a:lnTo>
                  <a:pt x="310" y="10576"/>
                </a:lnTo>
                <a:lnTo>
                  <a:pt x="289" y="10551"/>
                </a:lnTo>
                <a:lnTo>
                  <a:pt x="267" y="10528"/>
                </a:lnTo>
                <a:lnTo>
                  <a:pt x="247" y="10503"/>
                </a:lnTo>
                <a:lnTo>
                  <a:pt x="228" y="10480"/>
                </a:lnTo>
                <a:lnTo>
                  <a:pt x="209" y="10455"/>
                </a:lnTo>
                <a:lnTo>
                  <a:pt x="191" y="10431"/>
                </a:lnTo>
                <a:lnTo>
                  <a:pt x="174" y="10407"/>
                </a:lnTo>
                <a:lnTo>
                  <a:pt x="158" y="10382"/>
                </a:lnTo>
                <a:lnTo>
                  <a:pt x="142" y="10357"/>
                </a:lnTo>
                <a:lnTo>
                  <a:pt x="128" y="10332"/>
                </a:lnTo>
                <a:lnTo>
                  <a:pt x="114" y="10307"/>
                </a:lnTo>
                <a:lnTo>
                  <a:pt x="101" y="10281"/>
                </a:lnTo>
                <a:lnTo>
                  <a:pt x="89" y="10256"/>
                </a:lnTo>
                <a:lnTo>
                  <a:pt x="77" y="10230"/>
                </a:lnTo>
                <a:lnTo>
                  <a:pt x="67" y="10205"/>
                </a:lnTo>
                <a:lnTo>
                  <a:pt x="57" y="10179"/>
                </a:lnTo>
                <a:lnTo>
                  <a:pt x="48" y="10153"/>
                </a:lnTo>
                <a:lnTo>
                  <a:pt x="39" y="10127"/>
                </a:lnTo>
                <a:lnTo>
                  <a:pt x="32" y="10100"/>
                </a:lnTo>
                <a:lnTo>
                  <a:pt x="25" y="10074"/>
                </a:lnTo>
                <a:lnTo>
                  <a:pt x="19" y="10047"/>
                </a:lnTo>
                <a:lnTo>
                  <a:pt x="14" y="10021"/>
                </a:lnTo>
                <a:lnTo>
                  <a:pt x="9" y="9994"/>
                </a:lnTo>
                <a:lnTo>
                  <a:pt x="6" y="9967"/>
                </a:lnTo>
                <a:lnTo>
                  <a:pt x="3" y="9940"/>
                </a:lnTo>
                <a:lnTo>
                  <a:pt x="1" y="9912"/>
                </a:lnTo>
                <a:lnTo>
                  <a:pt x="0" y="9885"/>
                </a:lnTo>
                <a:lnTo>
                  <a:pt x="0" y="9857"/>
                </a:lnTo>
                <a:lnTo>
                  <a:pt x="0" y="5509"/>
                </a:lnTo>
                <a:lnTo>
                  <a:pt x="1" y="5453"/>
                </a:lnTo>
                <a:lnTo>
                  <a:pt x="2" y="5398"/>
                </a:lnTo>
                <a:lnTo>
                  <a:pt x="5" y="5342"/>
                </a:lnTo>
                <a:lnTo>
                  <a:pt x="9" y="5288"/>
                </a:lnTo>
                <a:lnTo>
                  <a:pt x="15" y="5235"/>
                </a:lnTo>
                <a:lnTo>
                  <a:pt x="21" y="5182"/>
                </a:lnTo>
                <a:lnTo>
                  <a:pt x="28" y="5130"/>
                </a:lnTo>
                <a:lnTo>
                  <a:pt x="37" y="5079"/>
                </a:lnTo>
                <a:lnTo>
                  <a:pt x="47" y="5028"/>
                </a:lnTo>
                <a:lnTo>
                  <a:pt x="57" y="4978"/>
                </a:lnTo>
                <a:lnTo>
                  <a:pt x="70" y="4929"/>
                </a:lnTo>
                <a:lnTo>
                  <a:pt x="83" y="4880"/>
                </a:lnTo>
                <a:lnTo>
                  <a:pt x="97" y="4832"/>
                </a:lnTo>
                <a:lnTo>
                  <a:pt x="112" y="4785"/>
                </a:lnTo>
                <a:lnTo>
                  <a:pt x="129" y="4739"/>
                </a:lnTo>
                <a:lnTo>
                  <a:pt x="147" y="4693"/>
                </a:lnTo>
                <a:lnTo>
                  <a:pt x="166" y="4648"/>
                </a:lnTo>
                <a:lnTo>
                  <a:pt x="187" y="4604"/>
                </a:lnTo>
                <a:lnTo>
                  <a:pt x="208" y="4560"/>
                </a:lnTo>
                <a:lnTo>
                  <a:pt x="230" y="4518"/>
                </a:lnTo>
                <a:lnTo>
                  <a:pt x="255" y="4476"/>
                </a:lnTo>
                <a:lnTo>
                  <a:pt x="279" y="4435"/>
                </a:lnTo>
                <a:lnTo>
                  <a:pt x="306" y="4393"/>
                </a:lnTo>
                <a:lnTo>
                  <a:pt x="332" y="4354"/>
                </a:lnTo>
                <a:lnTo>
                  <a:pt x="361" y="4315"/>
                </a:lnTo>
                <a:lnTo>
                  <a:pt x="391" y="4275"/>
                </a:lnTo>
                <a:lnTo>
                  <a:pt x="421" y="4238"/>
                </a:lnTo>
                <a:lnTo>
                  <a:pt x="453" y="4201"/>
                </a:lnTo>
                <a:lnTo>
                  <a:pt x="486" y="4165"/>
                </a:lnTo>
                <a:lnTo>
                  <a:pt x="520" y="4129"/>
                </a:lnTo>
                <a:lnTo>
                  <a:pt x="556" y="4093"/>
                </a:lnTo>
                <a:lnTo>
                  <a:pt x="592" y="4059"/>
                </a:lnTo>
                <a:lnTo>
                  <a:pt x="629" y="4025"/>
                </a:lnTo>
                <a:lnTo>
                  <a:pt x="668" y="3994"/>
                </a:lnTo>
                <a:lnTo>
                  <a:pt x="707" y="3963"/>
                </a:lnTo>
                <a:lnTo>
                  <a:pt x="747" y="3933"/>
                </a:lnTo>
                <a:lnTo>
                  <a:pt x="789" y="3904"/>
                </a:lnTo>
                <a:lnTo>
                  <a:pt x="830" y="3876"/>
                </a:lnTo>
                <a:lnTo>
                  <a:pt x="873" y="3849"/>
                </a:lnTo>
                <a:lnTo>
                  <a:pt x="916" y="3823"/>
                </a:lnTo>
                <a:lnTo>
                  <a:pt x="961" y="3799"/>
                </a:lnTo>
                <a:lnTo>
                  <a:pt x="1005" y="3775"/>
                </a:lnTo>
                <a:lnTo>
                  <a:pt x="1052" y="3752"/>
                </a:lnTo>
                <a:lnTo>
                  <a:pt x="1099" y="3731"/>
                </a:lnTo>
                <a:lnTo>
                  <a:pt x="1146" y="3711"/>
                </a:lnTo>
                <a:lnTo>
                  <a:pt x="1194" y="3691"/>
                </a:lnTo>
                <a:lnTo>
                  <a:pt x="1244" y="3672"/>
                </a:lnTo>
                <a:lnTo>
                  <a:pt x="1294" y="3655"/>
                </a:lnTo>
                <a:lnTo>
                  <a:pt x="1345" y="3640"/>
                </a:lnTo>
                <a:lnTo>
                  <a:pt x="1397" y="3624"/>
                </a:lnTo>
                <a:lnTo>
                  <a:pt x="1450" y="3610"/>
                </a:lnTo>
                <a:lnTo>
                  <a:pt x="1503" y="3597"/>
                </a:lnTo>
                <a:lnTo>
                  <a:pt x="1558" y="3584"/>
                </a:lnTo>
                <a:lnTo>
                  <a:pt x="1614" y="3574"/>
                </a:lnTo>
                <a:lnTo>
                  <a:pt x="1670" y="3564"/>
                </a:lnTo>
                <a:lnTo>
                  <a:pt x="1726" y="3554"/>
                </a:lnTo>
                <a:lnTo>
                  <a:pt x="1785" y="3547"/>
                </a:lnTo>
                <a:lnTo>
                  <a:pt x="1843" y="3540"/>
                </a:lnTo>
                <a:lnTo>
                  <a:pt x="1902" y="3534"/>
                </a:lnTo>
                <a:lnTo>
                  <a:pt x="1963" y="3530"/>
                </a:lnTo>
                <a:lnTo>
                  <a:pt x="2024" y="3526"/>
                </a:lnTo>
                <a:lnTo>
                  <a:pt x="2086" y="3524"/>
                </a:lnTo>
                <a:lnTo>
                  <a:pt x="2149" y="3522"/>
                </a:lnTo>
                <a:lnTo>
                  <a:pt x="2212" y="3522"/>
                </a:lnTo>
                <a:lnTo>
                  <a:pt x="2218" y="3517"/>
                </a:lnTo>
                <a:lnTo>
                  <a:pt x="2224" y="3514"/>
                </a:lnTo>
                <a:lnTo>
                  <a:pt x="2230" y="3513"/>
                </a:lnTo>
                <a:lnTo>
                  <a:pt x="2237" y="3512"/>
                </a:lnTo>
                <a:lnTo>
                  <a:pt x="2243" y="3512"/>
                </a:lnTo>
                <a:lnTo>
                  <a:pt x="2251" y="3512"/>
                </a:lnTo>
                <a:lnTo>
                  <a:pt x="2261" y="3512"/>
                </a:lnTo>
                <a:lnTo>
                  <a:pt x="2274" y="3512"/>
                </a:lnTo>
                <a:lnTo>
                  <a:pt x="2312" y="3514"/>
                </a:lnTo>
                <a:lnTo>
                  <a:pt x="2353" y="3516"/>
                </a:lnTo>
                <a:lnTo>
                  <a:pt x="2393" y="3517"/>
                </a:lnTo>
                <a:lnTo>
                  <a:pt x="2435" y="3519"/>
                </a:lnTo>
                <a:lnTo>
                  <a:pt x="2479" y="3520"/>
                </a:lnTo>
                <a:lnTo>
                  <a:pt x="2522" y="3520"/>
                </a:lnTo>
                <a:lnTo>
                  <a:pt x="2568" y="3522"/>
                </a:lnTo>
                <a:lnTo>
                  <a:pt x="2615" y="3522"/>
                </a:lnTo>
                <a:lnTo>
                  <a:pt x="2616" y="3516"/>
                </a:lnTo>
                <a:lnTo>
                  <a:pt x="2617" y="3511"/>
                </a:lnTo>
                <a:lnTo>
                  <a:pt x="2620" y="3505"/>
                </a:lnTo>
                <a:lnTo>
                  <a:pt x="2623" y="3498"/>
                </a:lnTo>
                <a:lnTo>
                  <a:pt x="2634" y="3483"/>
                </a:lnTo>
                <a:lnTo>
                  <a:pt x="2649" y="3466"/>
                </a:lnTo>
                <a:lnTo>
                  <a:pt x="2663" y="3450"/>
                </a:lnTo>
                <a:lnTo>
                  <a:pt x="2674" y="3439"/>
                </a:lnTo>
                <a:lnTo>
                  <a:pt x="2678" y="3434"/>
                </a:lnTo>
                <a:lnTo>
                  <a:pt x="2683" y="3431"/>
                </a:lnTo>
                <a:lnTo>
                  <a:pt x="2686" y="3430"/>
                </a:lnTo>
                <a:lnTo>
                  <a:pt x="2688" y="3429"/>
                </a:lnTo>
                <a:lnTo>
                  <a:pt x="2651" y="3417"/>
                </a:lnTo>
                <a:lnTo>
                  <a:pt x="2614" y="3406"/>
                </a:lnTo>
                <a:lnTo>
                  <a:pt x="2578" y="3393"/>
                </a:lnTo>
                <a:lnTo>
                  <a:pt x="2542" y="3380"/>
                </a:lnTo>
                <a:lnTo>
                  <a:pt x="2506" y="3366"/>
                </a:lnTo>
                <a:lnTo>
                  <a:pt x="2471" y="3351"/>
                </a:lnTo>
                <a:lnTo>
                  <a:pt x="2436" y="3337"/>
                </a:lnTo>
                <a:lnTo>
                  <a:pt x="2402" y="3322"/>
                </a:lnTo>
                <a:lnTo>
                  <a:pt x="2368" y="3306"/>
                </a:lnTo>
                <a:lnTo>
                  <a:pt x="2336" y="3289"/>
                </a:lnTo>
                <a:lnTo>
                  <a:pt x="2303" y="3272"/>
                </a:lnTo>
                <a:lnTo>
                  <a:pt x="2271" y="3255"/>
                </a:lnTo>
                <a:lnTo>
                  <a:pt x="2239" y="3237"/>
                </a:lnTo>
                <a:lnTo>
                  <a:pt x="2208" y="3218"/>
                </a:lnTo>
                <a:lnTo>
                  <a:pt x="2177" y="3198"/>
                </a:lnTo>
                <a:lnTo>
                  <a:pt x="2147" y="3178"/>
                </a:lnTo>
                <a:lnTo>
                  <a:pt x="2117" y="3158"/>
                </a:lnTo>
                <a:lnTo>
                  <a:pt x="2087" y="3137"/>
                </a:lnTo>
                <a:lnTo>
                  <a:pt x="2058" y="3115"/>
                </a:lnTo>
                <a:lnTo>
                  <a:pt x="2030" y="3093"/>
                </a:lnTo>
                <a:lnTo>
                  <a:pt x="2002" y="3071"/>
                </a:lnTo>
                <a:lnTo>
                  <a:pt x="1975" y="3047"/>
                </a:lnTo>
                <a:lnTo>
                  <a:pt x="1948" y="3024"/>
                </a:lnTo>
                <a:lnTo>
                  <a:pt x="1921" y="3000"/>
                </a:lnTo>
                <a:lnTo>
                  <a:pt x="1895" y="2975"/>
                </a:lnTo>
                <a:lnTo>
                  <a:pt x="1869" y="2950"/>
                </a:lnTo>
                <a:lnTo>
                  <a:pt x="1844" y="2924"/>
                </a:lnTo>
                <a:lnTo>
                  <a:pt x="1820" y="2898"/>
                </a:lnTo>
                <a:lnTo>
                  <a:pt x="1795" y="2871"/>
                </a:lnTo>
                <a:lnTo>
                  <a:pt x="1771" y="2843"/>
                </a:lnTo>
                <a:lnTo>
                  <a:pt x="1747" y="2816"/>
                </a:lnTo>
                <a:lnTo>
                  <a:pt x="1725" y="2787"/>
                </a:lnTo>
                <a:lnTo>
                  <a:pt x="1703" y="2757"/>
                </a:lnTo>
                <a:lnTo>
                  <a:pt x="1682" y="2729"/>
                </a:lnTo>
                <a:lnTo>
                  <a:pt x="1660" y="2699"/>
                </a:lnTo>
                <a:lnTo>
                  <a:pt x="1640" y="2669"/>
                </a:lnTo>
                <a:lnTo>
                  <a:pt x="1621" y="2638"/>
                </a:lnTo>
                <a:lnTo>
                  <a:pt x="1603" y="2608"/>
                </a:lnTo>
                <a:lnTo>
                  <a:pt x="1585" y="2578"/>
                </a:lnTo>
                <a:lnTo>
                  <a:pt x="1568" y="2547"/>
                </a:lnTo>
                <a:lnTo>
                  <a:pt x="1551" y="2516"/>
                </a:lnTo>
                <a:lnTo>
                  <a:pt x="1535" y="2484"/>
                </a:lnTo>
                <a:lnTo>
                  <a:pt x="1520" y="2452"/>
                </a:lnTo>
                <a:lnTo>
                  <a:pt x="1506" y="2420"/>
                </a:lnTo>
                <a:lnTo>
                  <a:pt x="1493" y="2388"/>
                </a:lnTo>
                <a:lnTo>
                  <a:pt x="1479" y="2356"/>
                </a:lnTo>
                <a:lnTo>
                  <a:pt x="1467" y="2324"/>
                </a:lnTo>
                <a:lnTo>
                  <a:pt x="1455" y="2291"/>
                </a:lnTo>
                <a:lnTo>
                  <a:pt x="1445" y="2258"/>
                </a:lnTo>
                <a:lnTo>
                  <a:pt x="1434" y="2225"/>
                </a:lnTo>
                <a:lnTo>
                  <a:pt x="1425" y="2191"/>
                </a:lnTo>
                <a:lnTo>
                  <a:pt x="1416" y="2157"/>
                </a:lnTo>
                <a:lnTo>
                  <a:pt x="1408" y="2123"/>
                </a:lnTo>
                <a:lnTo>
                  <a:pt x="1400" y="2089"/>
                </a:lnTo>
                <a:lnTo>
                  <a:pt x="1394" y="2054"/>
                </a:lnTo>
                <a:lnTo>
                  <a:pt x="1389" y="2018"/>
                </a:lnTo>
                <a:lnTo>
                  <a:pt x="1383" y="1983"/>
                </a:lnTo>
                <a:lnTo>
                  <a:pt x="1378" y="1948"/>
                </a:lnTo>
                <a:lnTo>
                  <a:pt x="1375" y="1912"/>
                </a:lnTo>
                <a:lnTo>
                  <a:pt x="1372" y="1876"/>
                </a:lnTo>
                <a:lnTo>
                  <a:pt x="1368" y="1840"/>
                </a:lnTo>
                <a:lnTo>
                  <a:pt x="1367" y="1804"/>
                </a:lnTo>
                <a:lnTo>
                  <a:pt x="1366" y="1767"/>
                </a:lnTo>
                <a:lnTo>
                  <a:pt x="1365" y="1729"/>
                </a:lnTo>
                <a:lnTo>
                  <a:pt x="1366" y="1686"/>
                </a:lnTo>
                <a:lnTo>
                  <a:pt x="1367" y="1641"/>
                </a:lnTo>
                <a:lnTo>
                  <a:pt x="1370" y="1598"/>
                </a:lnTo>
                <a:lnTo>
                  <a:pt x="1374" y="1555"/>
                </a:lnTo>
                <a:lnTo>
                  <a:pt x="1378" y="1511"/>
                </a:lnTo>
                <a:lnTo>
                  <a:pt x="1383" y="1469"/>
                </a:lnTo>
                <a:lnTo>
                  <a:pt x="1390" y="1427"/>
                </a:lnTo>
                <a:lnTo>
                  <a:pt x="1397" y="1386"/>
                </a:lnTo>
                <a:lnTo>
                  <a:pt x="1405" y="1345"/>
                </a:lnTo>
                <a:lnTo>
                  <a:pt x="1415" y="1304"/>
                </a:lnTo>
                <a:lnTo>
                  <a:pt x="1426" y="1264"/>
                </a:lnTo>
                <a:lnTo>
                  <a:pt x="1437" y="1223"/>
                </a:lnTo>
                <a:lnTo>
                  <a:pt x="1449" y="1184"/>
                </a:lnTo>
                <a:lnTo>
                  <a:pt x="1463" y="1145"/>
                </a:lnTo>
                <a:lnTo>
                  <a:pt x="1477" y="1106"/>
                </a:lnTo>
                <a:lnTo>
                  <a:pt x="1493" y="1068"/>
                </a:lnTo>
                <a:lnTo>
                  <a:pt x="1508" y="1030"/>
                </a:lnTo>
                <a:lnTo>
                  <a:pt x="1527" y="993"/>
                </a:lnTo>
                <a:lnTo>
                  <a:pt x="1545" y="955"/>
                </a:lnTo>
                <a:lnTo>
                  <a:pt x="1564" y="919"/>
                </a:lnTo>
                <a:lnTo>
                  <a:pt x="1585" y="883"/>
                </a:lnTo>
                <a:lnTo>
                  <a:pt x="1606" y="847"/>
                </a:lnTo>
                <a:lnTo>
                  <a:pt x="1628" y="811"/>
                </a:lnTo>
                <a:lnTo>
                  <a:pt x="1652" y="776"/>
                </a:lnTo>
                <a:lnTo>
                  <a:pt x="1676" y="742"/>
                </a:lnTo>
                <a:lnTo>
                  <a:pt x="1702" y="708"/>
                </a:lnTo>
                <a:lnTo>
                  <a:pt x="1728" y="674"/>
                </a:lnTo>
                <a:lnTo>
                  <a:pt x="1756" y="640"/>
                </a:lnTo>
                <a:lnTo>
                  <a:pt x="1783" y="607"/>
                </a:lnTo>
                <a:lnTo>
                  <a:pt x="1813" y="574"/>
                </a:lnTo>
                <a:lnTo>
                  <a:pt x="1844" y="542"/>
                </a:lnTo>
                <a:lnTo>
                  <a:pt x="1875" y="510"/>
                </a:lnTo>
                <a:lnTo>
                  <a:pt x="1907" y="478"/>
                </a:lnTo>
                <a:lnTo>
                  <a:pt x="1940" y="448"/>
                </a:lnTo>
                <a:lnTo>
                  <a:pt x="1971" y="419"/>
                </a:lnTo>
                <a:lnTo>
                  <a:pt x="2005" y="390"/>
                </a:lnTo>
                <a:lnTo>
                  <a:pt x="2038" y="362"/>
                </a:lnTo>
                <a:lnTo>
                  <a:pt x="2072" y="336"/>
                </a:lnTo>
                <a:lnTo>
                  <a:pt x="2106" y="311"/>
                </a:lnTo>
                <a:lnTo>
                  <a:pt x="2141" y="287"/>
                </a:lnTo>
                <a:lnTo>
                  <a:pt x="2176" y="263"/>
                </a:lnTo>
                <a:lnTo>
                  <a:pt x="2211" y="240"/>
                </a:lnTo>
                <a:lnTo>
                  <a:pt x="2247" y="219"/>
                </a:lnTo>
                <a:lnTo>
                  <a:pt x="2284" y="199"/>
                </a:lnTo>
                <a:lnTo>
                  <a:pt x="2320" y="179"/>
                </a:lnTo>
                <a:lnTo>
                  <a:pt x="2357" y="160"/>
                </a:lnTo>
                <a:lnTo>
                  <a:pt x="2395" y="143"/>
                </a:lnTo>
                <a:lnTo>
                  <a:pt x="2432" y="127"/>
                </a:lnTo>
                <a:lnTo>
                  <a:pt x="2470" y="111"/>
                </a:lnTo>
                <a:lnTo>
                  <a:pt x="2510" y="98"/>
                </a:lnTo>
                <a:lnTo>
                  <a:pt x="2549" y="84"/>
                </a:lnTo>
                <a:lnTo>
                  <a:pt x="2588" y="71"/>
                </a:lnTo>
                <a:lnTo>
                  <a:pt x="2628" y="60"/>
                </a:lnTo>
                <a:lnTo>
                  <a:pt x="2668" y="50"/>
                </a:lnTo>
                <a:lnTo>
                  <a:pt x="2709" y="40"/>
                </a:lnTo>
                <a:lnTo>
                  <a:pt x="2750" y="32"/>
                </a:lnTo>
                <a:lnTo>
                  <a:pt x="2791" y="24"/>
                </a:lnTo>
                <a:lnTo>
                  <a:pt x="2833" y="18"/>
                </a:lnTo>
                <a:lnTo>
                  <a:pt x="2876" y="13"/>
                </a:lnTo>
                <a:lnTo>
                  <a:pt x="2918" y="7"/>
                </a:lnTo>
                <a:lnTo>
                  <a:pt x="2962" y="4"/>
                </a:lnTo>
                <a:lnTo>
                  <a:pt x="3005" y="2"/>
                </a:lnTo>
                <a:lnTo>
                  <a:pt x="3049" y="1"/>
                </a:lnTo>
                <a:lnTo>
                  <a:pt x="3094" y="0"/>
                </a:lnTo>
                <a:lnTo>
                  <a:pt x="3138" y="1"/>
                </a:lnTo>
                <a:lnTo>
                  <a:pt x="3183" y="2"/>
                </a:lnTo>
                <a:lnTo>
                  <a:pt x="3226" y="4"/>
                </a:lnTo>
                <a:lnTo>
                  <a:pt x="3270" y="7"/>
                </a:lnTo>
                <a:lnTo>
                  <a:pt x="3312" y="13"/>
                </a:lnTo>
                <a:lnTo>
                  <a:pt x="3356" y="18"/>
                </a:lnTo>
                <a:lnTo>
                  <a:pt x="3397" y="24"/>
                </a:lnTo>
                <a:lnTo>
                  <a:pt x="3440" y="32"/>
                </a:lnTo>
                <a:lnTo>
                  <a:pt x="3481" y="40"/>
                </a:lnTo>
                <a:lnTo>
                  <a:pt x="3521" y="50"/>
                </a:lnTo>
                <a:lnTo>
                  <a:pt x="3563" y="60"/>
                </a:lnTo>
                <a:lnTo>
                  <a:pt x="3602" y="71"/>
                </a:lnTo>
                <a:lnTo>
                  <a:pt x="3643" y="84"/>
                </a:lnTo>
                <a:lnTo>
                  <a:pt x="3682" y="98"/>
                </a:lnTo>
                <a:lnTo>
                  <a:pt x="3721" y="111"/>
                </a:lnTo>
                <a:lnTo>
                  <a:pt x="3759" y="127"/>
                </a:lnTo>
                <a:lnTo>
                  <a:pt x="3798" y="143"/>
                </a:lnTo>
                <a:lnTo>
                  <a:pt x="3835" y="160"/>
                </a:lnTo>
                <a:lnTo>
                  <a:pt x="3873" y="179"/>
                </a:lnTo>
                <a:lnTo>
                  <a:pt x="3909" y="199"/>
                </a:lnTo>
                <a:lnTo>
                  <a:pt x="3946" y="219"/>
                </a:lnTo>
                <a:lnTo>
                  <a:pt x="3982" y="240"/>
                </a:lnTo>
                <a:lnTo>
                  <a:pt x="4017" y="263"/>
                </a:lnTo>
                <a:lnTo>
                  <a:pt x="4053" y="287"/>
                </a:lnTo>
                <a:lnTo>
                  <a:pt x="4088" y="311"/>
                </a:lnTo>
                <a:lnTo>
                  <a:pt x="4122" y="336"/>
                </a:lnTo>
                <a:lnTo>
                  <a:pt x="4156" y="362"/>
                </a:lnTo>
                <a:lnTo>
                  <a:pt x="4190" y="390"/>
                </a:lnTo>
                <a:lnTo>
                  <a:pt x="4223" y="419"/>
                </a:lnTo>
                <a:lnTo>
                  <a:pt x="4256" y="448"/>
                </a:lnTo>
                <a:lnTo>
                  <a:pt x="4289" y="478"/>
                </a:lnTo>
                <a:lnTo>
                  <a:pt x="4321" y="510"/>
                </a:lnTo>
                <a:lnTo>
                  <a:pt x="4353" y="542"/>
                </a:lnTo>
                <a:lnTo>
                  <a:pt x="4383" y="574"/>
                </a:lnTo>
                <a:lnTo>
                  <a:pt x="4412" y="607"/>
                </a:lnTo>
                <a:lnTo>
                  <a:pt x="4440" y="640"/>
                </a:lnTo>
                <a:lnTo>
                  <a:pt x="4467" y="674"/>
                </a:lnTo>
                <a:lnTo>
                  <a:pt x="4493" y="708"/>
                </a:lnTo>
                <a:lnTo>
                  <a:pt x="4518" y="742"/>
                </a:lnTo>
                <a:lnTo>
                  <a:pt x="4543" y="776"/>
                </a:lnTo>
                <a:lnTo>
                  <a:pt x="4566" y="811"/>
                </a:lnTo>
                <a:lnTo>
                  <a:pt x="4588" y="847"/>
                </a:lnTo>
                <a:lnTo>
                  <a:pt x="4610" y="883"/>
                </a:lnTo>
                <a:lnTo>
                  <a:pt x="4630" y="919"/>
                </a:lnTo>
                <a:lnTo>
                  <a:pt x="4649" y="955"/>
                </a:lnTo>
                <a:lnTo>
                  <a:pt x="4667" y="993"/>
                </a:lnTo>
                <a:lnTo>
                  <a:pt x="4685" y="1030"/>
                </a:lnTo>
                <a:lnTo>
                  <a:pt x="4701" y="1068"/>
                </a:lnTo>
                <a:lnTo>
                  <a:pt x="4716" y="1106"/>
                </a:lnTo>
                <a:lnTo>
                  <a:pt x="4731" y="1145"/>
                </a:lnTo>
                <a:lnTo>
                  <a:pt x="4745" y="1184"/>
                </a:lnTo>
                <a:lnTo>
                  <a:pt x="4756" y="1223"/>
                </a:lnTo>
                <a:lnTo>
                  <a:pt x="4768" y="1264"/>
                </a:lnTo>
                <a:lnTo>
                  <a:pt x="4779" y="1304"/>
                </a:lnTo>
                <a:lnTo>
                  <a:pt x="4788" y="1345"/>
                </a:lnTo>
                <a:lnTo>
                  <a:pt x="4797" y="1386"/>
                </a:lnTo>
                <a:lnTo>
                  <a:pt x="4803" y="1427"/>
                </a:lnTo>
                <a:lnTo>
                  <a:pt x="4810" y="1469"/>
                </a:lnTo>
                <a:lnTo>
                  <a:pt x="4816" y="1511"/>
                </a:lnTo>
                <a:lnTo>
                  <a:pt x="4820" y="1555"/>
                </a:lnTo>
                <a:lnTo>
                  <a:pt x="4823" y="1598"/>
                </a:lnTo>
                <a:lnTo>
                  <a:pt x="4825" y="1641"/>
                </a:lnTo>
                <a:lnTo>
                  <a:pt x="4827" y="1686"/>
                </a:lnTo>
                <a:lnTo>
                  <a:pt x="4827" y="1729"/>
                </a:lnTo>
                <a:lnTo>
                  <a:pt x="4827" y="1768"/>
                </a:lnTo>
                <a:lnTo>
                  <a:pt x="4826" y="1806"/>
                </a:lnTo>
                <a:lnTo>
                  <a:pt x="4824" y="1843"/>
                </a:lnTo>
                <a:lnTo>
                  <a:pt x="4822" y="1880"/>
                </a:lnTo>
                <a:lnTo>
                  <a:pt x="4818" y="1917"/>
                </a:lnTo>
                <a:lnTo>
                  <a:pt x="4814" y="1954"/>
                </a:lnTo>
                <a:lnTo>
                  <a:pt x="4808" y="1990"/>
                </a:lnTo>
                <a:lnTo>
                  <a:pt x="4803" y="2027"/>
                </a:lnTo>
                <a:lnTo>
                  <a:pt x="4797" y="2062"/>
                </a:lnTo>
                <a:lnTo>
                  <a:pt x="4789" y="2098"/>
                </a:lnTo>
                <a:lnTo>
                  <a:pt x="4781" y="2134"/>
                </a:lnTo>
                <a:lnTo>
                  <a:pt x="4772" y="2169"/>
                </a:lnTo>
                <a:lnTo>
                  <a:pt x="4763" y="2204"/>
                </a:lnTo>
                <a:lnTo>
                  <a:pt x="4752" y="2240"/>
                </a:lnTo>
                <a:lnTo>
                  <a:pt x="4740" y="2274"/>
                </a:lnTo>
                <a:lnTo>
                  <a:pt x="4729" y="2308"/>
                </a:lnTo>
                <a:lnTo>
                  <a:pt x="4716" y="2342"/>
                </a:lnTo>
                <a:lnTo>
                  <a:pt x="4702" y="2376"/>
                </a:lnTo>
                <a:lnTo>
                  <a:pt x="4688" y="2410"/>
                </a:lnTo>
                <a:lnTo>
                  <a:pt x="4673" y="2443"/>
                </a:lnTo>
                <a:lnTo>
                  <a:pt x="4657" y="2476"/>
                </a:lnTo>
                <a:lnTo>
                  <a:pt x="4641" y="2508"/>
                </a:lnTo>
                <a:lnTo>
                  <a:pt x="4624" y="2541"/>
                </a:lnTo>
                <a:lnTo>
                  <a:pt x="4605" y="2573"/>
                </a:lnTo>
                <a:lnTo>
                  <a:pt x="4586" y="2606"/>
                </a:lnTo>
                <a:lnTo>
                  <a:pt x="4566" y="2638"/>
                </a:lnTo>
                <a:lnTo>
                  <a:pt x="4546" y="2669"/>
                </a:lnTo>
                <a:lnTo>
                  <a:pt x="4525" y="2701"/>
                </a:lnTo>
                <a:lnTo>
                  <a:pt x="4502" y="2732"/>
                </a:lnTo>
                <a:lnTo>
                  <a:pt x="4480" y="2763"/>
                </a:lnTo>
                <a:lnTo>
                  <a:pt x="4456" y="2793"/>
                </a:lnTo>
                <a:lnTo>
                  <a:pt x="4431" y="2824"/>
                </a:lnTo>
                <a:lnTo>
                  <a:pt x="4407" y="2853"/>
                </a:lnTo>
                <a:lnTo>
                  <a:pt x="4381" y="2883"/>
                </a:lnTo>
                <a:lnTo>
                  <a:pt x="4356" y="2910"/>
                </a:lnTo>
                <a:lnTo>
                  <a:pt x="4329" y="2938"/>
                </a:lnTo>
                <a:lnTo>
                  <a:pt x="4303" y="2965"/>
                </a:lnTo>
                <a:lnTo>
                  <a:pt x="4276" y="2991"/>
                </a:lnTo>
                <a:lnTo>
                  <a:pt x="4249" y="3017"/>
                </a:lnTo>
                <a:lnTo>
                  <a:pt x="4220" y="3041"/>
                </a:lnTo>
                <a:lnTo>
                  <a:pt x="4192" y="3066"/>
                </a:lnTo>
                <a:lnTo>
                  <a:pt x="4164" y="3089"/>
                </a:lnTo>
                <a:lnTo>
                  <a:pt x="4134" y="3112"/>
                </a:lnTo>
                <a:lnTo>
                  <a:pt x="4105" y="3134"/>
                </a:lnTo>
                <a:lnTo>
                  <a:pt x="4075" y="3155"/>
                </a:lnTo>
                <a:lnTo>
                  <a:pt x="4045" y="3176"/>
                </a:lnTo>
                <a:lnTo>
                  <a:pt x="4014" y="3196"/>
                </a:lnTo>
                <a:lnTo>
                  <a:pt x="3982" y="3215"/>
                </a:lnTo>
                <a:lnTo>
                  <a:pt x="3950" y="3233"/>
                </a:lnTo>
                <a:lnTo>
                  <a:pt x="3919" y="3252"/>
                </a:lnTo>
                <a:lnTo>
                  <a:pt x="3887" y="3269"/>
                </a:lnTo>
                <a:lnTo>
                  <a:pt x="3854" y="3286"/>
                </a:lnTo>
                <a:lnTo>
                  <a:pt x="3820" y="3301"/>
                </a:lnTo>
                <a:lnTo>
                  <a:pt x="3786" y="3316"/>
                </a:lnTo>
                <a:lnTo>
                  <a:pt x="3752" y="3331"/>
                </a:lnTo>
                <a:lnTo>
                  <a:pt x="3718" y="3344"/>
                </a:lnTo>
                <a:lnTo>
                  <a:pt x="3683" y="3358"/>
                </a:lnTo>
                <a:lnTo>
                  <a:pt x="3647" y="3370"/>
                </a:lnTo>
                <a:lnTo>
                  <a:pt x="3611" y="3381"/>
                </a:lnTo>
                <a:lnTo>
                  <a:pt x="3575" y="3393"/>
                </a:lnTo>
                <a:lnTo>
                  <a:pt x="3538" y="3402"/>
                </a:lnTo>
                <a:lnTo>
                  <a:pt x="3500" y="3412"/>
                </a:lnTo>
                <a:lnTo>
                  <a:pt x="3463" y="3421"/>
                </a:lnTo>
                <a:lnTo>
                  <a:pt x="3425" y="3429"/>
                </a:lnTo>
                <a:lnTo>
                  <a:pt x="3438" y="3443"/>
                </a:lnTo>
                <a:lnTo>
                  <a:pt x="3449" y="3456"/>
                </a:lnTo>
                <a:lnTo>
                  <a:pt x="3459" y="3468"/>
                </a:lnTo>
                <a:lnTo>
                  <a:pt x="3466" y="3480"/>
                </a:lnTo>
                <a:lnTo>
                  <a:pt x="3473" y="3491"/>
                </a:lnTo>
                <a:lnTo>
                  <a:pt x="3477" y="3501"/>
                </a:lnTo>
                <a:lnTo>
                  <a:pt x="3479" y="3512"/>
                </a:lnTo>
                <a:lnTo>
                  <a:pt x="3480" y="3522"/>
                </a:lnTo>
                <a:close/>
              </a:path>
            </a:pathLst>
          </a:custGeom>
          <a:solidFill>
            <a:schemeClr val="accent2"/>
          </a:solidFill>
          <a:ln w="9525">
            <a:solidFill>
              <a:schemeClr val="accent2"/>
            </a:solidFill>
            <a:round/>
            <a:headEnd/>
            <a:tailEnd/>
          </a:ln>
        </p:spPr>
        <p:txBody>
          <a:bodyPr/>
          <a:lstStyle>
            <a:defPPr>
              <a:defRPr lang="en-US"/>
            </a:defPPr>
            <a:lvl1pPr marL="0" algn="l" defTabSz="1018824" rtl="0" eaLnBrk="1" latinLnBrk="0" hangingPunct="1">
              <a:defRPr sz="2000" kern="1200">
                <a:solidFill>
                  <a:schemeClr val="tx1"/>
                </a:solidFill>
                <a:latin typeface="+mn-lt"/>
                <a:ea typeface="+mn-ea"/>
                <a:cs typeface="+mn-cs"/>
              </a:defRPr>
            </a:lvl1pPr>
            <a:lvl2pPr marL="509412" algn="l" defTabSz="1018824" rtl="0" eaLnBrk="1" latinLnBrk="0" hangingPunct="1">
              <a:defRPr sz="2000" kern="1200">
                <a:solidFill>
                  <a:schemeClr val="tx1"/>
                </a:solidFill>
                <a:latin typeface="+mn-lt"/>
                <a:ea typeface="+mn-ea"/>
                <a:cs typeface="+mn-cs"/>
              </a:defRPr>
            </a:lvl2pPr>
            <a:lvl3pPr marL="1018824" algn="l" defTabSz="1018824" rtl="0" eaLnBrk="1" latinLnBrk="0" hangingPunct="1">
              <a:defRPr sz="2000" kern="1200">
                <a:solidFill>
                  <a:schemeClr val="tx1"/>
                </a:solidFill>
                <a:latin typeface="+mn-lt"/>
                <a:ea typeface="+mn-ea"/>
                <a:cs typeface="+mn-cs"/>
              </a:defRPr>
            </a:lvl3pPr>
            <a:lvl4pPr marL="1528237" algn="l" defTabSz="1018824" rtl="0" eaLnBrk="1" latinLnBrk="0" hangingPunct="1">
              <a:defRPr sz="2000" kern="1200">
                <a:solidFill>
                  <a:schemeClr val="tx1"/>
                </a:solidFill>
                <a:latin typeface="+mn-lt"/>
                <a:ea typeface="+mn-ea"/>
                <a:cs typeface="+mn-cs"/>
              </a:defRPr>
            </a:lvl4pPr>
            <a:lvl5pPr marL="2037649" algn="l" defTabSz="1018824" rtl="0" eaLnBrk="1" latinLnBrk="0" hangingPunct="1">
              <a:defRPr sz="2000" kern="1200">
                <a:solidFill>
                  <a:schemeClr val="tx1"/>
                </a:solidFill>
                <a:latin typeface="+mn-lt"/>
                <a:ea typeface="+mn-ea"/>
                <a:cs typeface="+mn-cs"/>
              </a:defRPr>
            </a:lvl5pPr>
            <a:lvl6pPr marL="2547061" algn="l" defTabSz="1018824" rtl="0" eaLnBrk="1" latinLnBrk="0" hangingPunct="1">
              <a:defRPr sz="2000" kern="1200">
                <a:solidFill>
                  <a:schemeClr val="tx1"/>
                </a:solidFill>
                <a:latin typeface="+mn-lt"/>
                <a:ea typeface="+mn-ea"/>
                <a:cs typeface="+mn-cs"/>
              </a:defRPr>
            </a:lvl6pPr>
            <a:lvl7pPr marL="3056473" algn="l" defTabSz="1018824" rtl="0" eaLnBrk="1" latinLnBrk="0" hangingPunct="1">
              <a:defRPr sz="2000" kern="1200">
                <a:solidFill>
                  <a:schemeClr val="tx1"/>
                </a:solidFill>
                <a:latin typeface="+mn-lt"/>
                <a:ea typeface="+mn-ea"/>
                <a:cs typeface="+mn-cs"/>
              </a:defRPr>
            </a:lvl7pPr>
            <a:lvl8pPr marL="3565886" algn="l" defTabSz="1018824" rtl="0" eaLnBrk="1" latinLnBrk="0" hangingPunct="1">
              <a:defRPr sz="2000" kern="1200">
                <a:solidFill>
                  <a:schemeClr val="tx1"/>
                </a:solidFill>
                <a:latin typeface="+mn-lt"/>
                <a:ea typeface="+mn-ea"/>
                <a:cs typeface="+mn-cs"/>
              </a:defRPr>
            </a:lvl8pPr>
            <a:lvl9pPr marL="4075298" algn="l" defTabSz="1018824" rtl="0" eaLnBrk="1" latinLnBrk="0" hangingPunct="1">
              <a:defRPr sz="2000" kern="1200">
                <a:solidFill>
                  <a:schemeClr val="tx1"/>
                </a:solidFill>
                <a:latin typeface="+mn-lt"/>
                <a:ea typeface="+mn-ea"/>
                <a:cs typeface="+mn-cs"/>
              </a:defRPr>
            </a:lvl9pPr>
          </a:lstStyle>
          <a:p>
            <a:pPr marL="0" marR="0" lvl="0" indent="0" algn="l" defTabSz="1018824" rtl="0" eaLnBrk="1" fontAlgn="auto" latinLnBrk="0" hangingPunct="1">
              <a:lnSpc>
                <a:spcPct val="100000"/>
              </a:lnSpc>
              <a:spcBef>
                <a:spcPts val="0"/>
              </a:spcBef>
              <a:spcAft>
                <a:spcPts val="0"/>
              </a:spcAft>
              <a:buClrTx/>
              <a:buSzTx/>
              <a:buFontTx/>
              <a:buNone/>
              <a:tabLst/>
              <a:defRPr/>
            </a:pPr>
            <a:endParaRPr kumimoji="0" lang="en-GB" sz="1589"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22">
            <a:extLst>
              <a:ext uri="{FF2B5EF4-FFF2-40B4-BE49-F238E27FC236}">
                <a16:creationId xmlns:a16="http://schemas.microsoft.com/office/drawing/2014/main" id="{CAFF824E-2BD6-4982-95BA-7B527EC47393}"/>
              </a:ext>
            </a:extLst>
          </p:cNvPr>
          <p:cNvSpPr>
            <a:spLocks/>
          </p:cNvSpPr>
          <p:nvPr/>
        </p:nvSpPr>
        <p:spPr bwMode="auto">
          <a:xfrm>
            <a:off x="2047050" y="4302966"/>
            <a:ext cx="197037" cy="470851"/>
          </a:xfrm>
          <a:custGeom>
            <a:avLst/>
            <a:gdLst>
              <a:gd name="T0" fmla="*/ 13344091 w 6132"/>
              <a:gd name="T1" fmla="*/ 10441401 h 16980"/>
              <a:gd name="T2" fmla="*/ 14439013 w 6132"/>
              <a:gd name="T3" fmla="*/ 10808942 h 16980"/>
              <a:gd name="T4" fmla="*/ 15478309 w 6132"/>
              <a:gd name="T5" fmla="*/ 11467619 h 16980"/>
              <a:gd name="T6" fmla="*/ 16450295 w 6132"/>
              <a:gd name="T7" fmla="*/ 12408541 h 16980"/>
              <a:gd name="T8" fmla="*/ 17214401 w 6132"/>
              <a:gd name="T9" fmla="*/ 13481773 h 16980"/>
              <a:gd name="T10" fmla="*/ 17709159 w 6132"/>
              <a:gd name="T11" fmla="*/ 14605004 h 16980"/>
              <a:gd name="T12" fmla="*/ 17937493 w 6132"/>
              <a:gd name="T13" fmla="*/ 15789994 h 16980"/>
              <a:gd name="T14" fmla="*/ 17922884 w 6132"/>
              <a:gd name="T15" fmla="*/ 28795453 h 16980"/>
              <a:gd name="T16" fmla="*/ 17720901 w 6132"/>
              <a:gd name="T17" fmla="*/ 29724608 h 16980"/>
              <a:gd name="T18" fmla="*/ 17322724 w 6132"/>
              <a:gd name="T19" fmla="*/ 30571448 h 16980"/>
              <a:gd name="T20" fmla="*/ 16731329 w 6132"/>
              <a:gd name="T21" fmla="*/ 31344758 h 16980"/>
              <a:gd name="T22" fmla="*/ 15970146 w 6132"/>
              <a:gd name="T23" fmla="*/ 32000508 h 16980"/>
              <a:gd name="T24" fmla="*/ 15062602 w 6132"/>
              <a:gd name="T25" fmla="*/ 32509198 h 16980"/>
              <a:gd name="T26" fmla="*/ 14014483 w 6132"/>
              <a:gd name="T27" fmla="*/ 32867899 h 16980"/>
              <a:gd name="T28" fmla="*/ 4168927 w 6132"/>
              <a:gd name="T29" fmla="*/ 32935519 h 16980"/>
              <a:gd name="T30" fmla="*/ 3003722 w 6132"/>
              <a:gd name="T31" fmla="*/ 32515054 h 16980"/>
              <a:gd name="T32" fmla="*/ 2104943 w 6132"/>
              <a:gd name="T33" fmla="*/ 32053432 h 16980"/>
              <a:gd name="T34" fmla="*/ 1334994 w 6132"/>
              <a:gd name="T35" fmla="*/ 31503585 h 16980"/>
              <a:gd name="T36" fmla="*/ 723146 w 6132"/>
              <a:gd name="T37" fmla="*/ 30883136 h 16980"/>
              <a:gd name="T38" fmla="*/ 295697 w 6132"/>
              <a:gd name="T39" fmla="*/ 30230369 h 16980"/>
              <a:gd name="T40" fmla="*/ 55622 w 6132"/>
              <a:gd name="T41" fmla="*/ 29542302 h 16980"/>
              <a:gd name="T42" fmla="*/ 2922 w 6132"/>
              <a:gd name="T43" fmla="*/ 16034064 h 16980"/>
              <a:gd name="T44" fmla="*/ 166867 w 6132"/>
              <a:gd name="T45" fmla="*/ 14637376 h 16980"/>
              <a:gd name="T46" fmla="*/ 608925 w 6132"/>
              <a:gd name="T47" fmla="*/ 13408297 h 16980"/>
              <a:gd name="T48" fmla="*/ 1326228 w 6132"/>
              <a:gd name="T49" fmla="*/ 12352689 h 16980"/>
              <a:gd name="T50" fmla="*/ 2309902 w 6132"/>
              <a:gd name="T51" fmla="*/ 11479386 h 16980"/>
              <a:gd name="T52" fmla="*/ 3495559 w 6132"/>
              <a:gd name="T53" fmla="*/ 10853081 h 16980"/>
              <a:gd name="T54" fmla="*/ 4889097 w 6132"/>
              <a:gd name="T55" fmla="*/ 10479630 h 16980"/>
              <a:gd name="T56" fmla="*/ 6475906 w 6132"/>
              <a:gd name="T57" fmla="*/ 10356104 h 16980"/>
              <a:gd name="T58" fmla="*/ 6768627 w 6132"/>
              <a:gd name="T59" fmla="*/ 10332625 h 16980"/>
              <a:gd name="T60" fmla="*/ 7661564 w 6132"/>
              <a:gd name="T61" fmla="*/ 10323786 h 16980"/>
              <a:gd name="T62" fmla="*/ 7863602 w 6132"/>
              <a:gd name="T63" fmla="*/ 10085627 h 16980"/>
              <a:gd name="T64" fmla="*/ 7032131 w 6132"/>
              <a:gd name="T65" fmla="*/ 9768029 h 16980"/>
              <a:gd name="T66" fmla="*/ 6197794 w 6132"/>
              <a:gd name="T67" fmla="*/ 9285801 h 16980"/>
              <a:gd name="T68" fmla="*/ 5471726 w 6132"/>
              <a:gd name="T69" fmla="*/ 8674191 h 16980"/>
              <a:gd name="T70" fmla="*/ 4859825 w 6132"/>
              <a:gd name="T71" fmla="*/ 7936181 h 16980"/>
              <a:gd name="T72" fmla="*/ 4409002 w 6132"/>
              <a:gd name="T73" fmla="*/ 7115803 h 16980"/>
              <a:gd name="T74" fmla="*/ 4122070 w 6132"/>
              <a:gd name="T75" fmla="*/ 6242499 h 16980"/>
              <a:gd name="T76" fmla="*/ 4002059 w 6132"/>
              <a:gd name="T77" fmla="*/ 5304506 h 16980"/>
              <a:gd name="T78" fmla="*/ 4069369 w 6132"/>
              <a:gd name="T79" fmla="*/ 4195974 h 16980"/>
              <a:gd name="T80" fmla="*/ 4370910 w 6132"/>
              <a:gd name="T81" fmla="*/ 3140364 h 16980"/>
              <a:gd name="T82" fmla="*/ 4906682 w 6132"/>
              <a:gd name="T83" fmla="*/ 2181765 h 16980"/>
              <a:gd name="T84" fmla="*/ 5679553 w 6132"/>
              <a:gd name="T85" fmla="*/ 1317301 h 16980"/>
              <a:gd name="T86" fmla="*/ 6578332 w 6132"/>
              <a:gd name="T87" fmla="*/ 643928 h 16980"/>
              <a:gd name="T88" fmla="*/ 7576670 w 6132"/>
              <a:gd name="T89" fmla="*/ 208768 h 16980"/>
              <a:gd name="T90" fmla="*/ 8671588 w 6132"/>
              <a:gd name="T91" fmla="*/ 11767 h 16980"/>
              <a:gd name="T92" fmla="*/ 9825105 w 6132"/>
              <a:gd name="T93" fmla="*/ 52924 h 16980"/>
              <a:gd name="T94" fmla="*/ 10893673 w 6132"/>
              <a:gd name="T95" fmla="*/ 326384 h 16980"/>
              <a:gd name="T96" fmla="*/ 11865659 w 6132"/>
              <a:gd name="T97" fmla="*/ 843912 h 16980"/>
              <a:gd name="T98" fmla="*/ 12743931 w 6132"/>
              <a:gd name="T99" fmla="*/ 1593689 h 16980"/>
              <a:gd name="T100" fmla="*/ 13431908 w 6132"/>
              <a:gd name="T101" fmla="*/ 2490525 h 16980"/>
              <a:gd name="T102" fmla="*/ 13891551 w 6132"/>
              <a:gd name="T103" fmla="*/ 3481443 h 16980"/>
              <a:gd name="T104" fmla="*/ 14111119 w 6132"/>
              <a:gd name="T105" fmla="*/ 4572353 h 16980"/>
              <a:gd name="T106" fmla="*/ 14105275 w 6132"/>
              <a:gd name="T107" fmla="*/ 5636746 h 16980"/>
              <a:gd name="T108" fmla="*/ 13912057 w 6132"/>
              <a:gd name="T109" fmla="*/ 6586506 h 16980"/>
              <a:gd name="T110" fmla="*/ 13537309 w 6132"/>
              <a:gd name="T111" fmla="*/ 7471577 h 16980"/>
              <a:gd name="T112" fmla="*/ 12972265 w 6132"/>
              <a:gd name="T113" fmla="*/ 8303722 h 16980"/>
              <a:gd name="T114" fmla="*/ 12272601 w 6132"/>
              <a:gd name="T115" fmla="*/ 9015324 h 16980"/>
              <a:gd name="T116" fmla="*/ 11473326 w 6132"/>
              <a:gd name="T117" fmla="*/ 9562188 h 16980"/>
              <a:gd name="T118" fmla="*/ 10571626 w 6132"/>
              <a:gd name="T119" fmla="*/ 9941550 h 16980"/>
              <a:gd name="T120" fmla="*/ 10147098 w 6132"/>
              <a:gd name="T121" fmla="*/ 10232633 h 1698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6132"/>
              <a:gd name="T184" fmla="*/ 0 h 16980"/>
              <a:gd name="T185" fmla="*/ 6132 w 6132"/>
              <a:gd name="T186" fmla="*/ 16980 h 16980"/>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6132" h="16980">
                <a:moveTo>
                  <a:pt x="3480" y="3522"/>
                </a:moveTo>
                <a:lnTo>
                  <a:pt x="4254" y="3522"/>
                </a:lnTo>
                <a:lnTo>
                  <a:pt x="4298" y="3522"/>
                </a:lnTo>
                <a:lnTo>
                  <a:pt x="4342" y="3524"/>
                </a:lnTo>
                <a:lnTo>
                  <a:pt x="4386" y="3527"/>
                </a:lnTo>
                <a:lnTo>
                  <a:pt x="4429" y="3531"/>
                </a:lnTo>
                <a:lnTo>
                  <a:pt x="4473" y="3536"/>
                </a:lnTo>
                <a:lnTo>
                  <a:pt x="4515" y="3543"/>
                </a:lnTo>
                <a:lnTo>
                  <a:pt x="4558" y="3551"/>
                </a:lnTo>
                <a:lnTo>
                  <a:pt x="4601" y="3560"/>
                </a:lnTo>
                <a:lnTo>
                  <a:pt x="4643" y="3570"/>
                </a:lnTo>
                <a:lnTo>
                  <a:pt x="4685" y="3582"/>
                </a:lnTo>
                <a:lnTo>
                  <a:pt x="4727" y="3595"/>
                </a:lnTo>
                <a:lnTo>
                  <a:pt x="4769" y="3609"/>
                </a:lnTo>
                <a:lnTo>
                  <a:pt x="4809" y="3624"/>
                </a:lnTo>
                <a:lnTo>
                  <a:pt x="4851" y="3640"/>
                </a:lnTo>
                <a:lnTo>
                  <a:pt x="4892" y="3658"/>
                </a:lnTo>
                <a:lnTo>
                  <a:pt x="4932" y="3676"/>
                </a:lnTo>
                <a:lnTo>
                  <a:pt x="4973" y="3696"/>
                </a:lnTo>
                <a:lnTo>
                  <a:pt x="5013" y="3717"/>
                </a:lnTo>
                <a:lnTo>
                  <a:pt x="5052" y="3739"/>
                </a:lnTo>
                <a:lnTo>
                  <a:pt x="5093" y="3763"/>
                </a:lnTo>
                <a:lnTo>
                  <a:pt x="5132" y="3788"/>
                </a:lnTo>
                <a:lnTo>
                  <a:pt x="5171" y="3814"/>
                </a:lnTo>
                <a:lnTo>
                  <a:pt x="5210" y="3842"/>
                </a:lnTo>
                <a:lnTo>
                  <a:pt x="5249" y="3870"/>
                </a:lnTo>
                <a:lnTo>
                  <a:pt x="5287" y="3900"/>
                </a:lnTo>
                <a:lnTo>
                  <a:pt x="5325" y="3931"/>
                </a:lnTo>
                <a:lnTo>
                  <a:pt x="5364" y="3963"/>
                </a:lnTo>
                <a:lnTo>
                  <a:pt x="5401" y="3997"/>
                </a:lnTo>
                <a:lnTo>
                  <a:pt x="5438" y="4031"/>
                </a:lnTo>
                <a:lnTo>
                  <a:pt x="5475" y="4067"/>
                </a:lnTo>
                <a:lnTo>
                  <a:pt x="5512" y="4104"/>
                </a:lnTo>
                <a:lnTo>
                  <a:pt x="5549" y="4142"/>
                </a:lnTo>
                <a:lnTo>
                  <a:pt x="5584" y="4181"/>
                </a:lnTo>
                <a:lnTo>
                  <a:pt x="5619" y="4220"/>
                </a:lnTo>
                <a:lnTo>
                  <a:pt x="5652" y="4260"/>
                </a:lnTo>
                <a:lnTo>
                  <a:pt x="5685" y="4300"/>
                </a:lnTo>
                <a:lnTo>
                  <a:pt x="5716" y="4339"/>
                </a:lnTo>
                <a:lnTo>
                  <a:pt x="5747" y="4379"/>
                </a:lnTo>
                <a:lnTo>
                  <a:pt x="5775" y="4420"/>
                </a:lnTo>
                <a:lnTo>
                  <a:pt x="5803" y="4460"/>
                </a:lnTo>
                <a:lnTo>
                  <a:pt x="5830" y="4502"/>
                </a:lnTo>
                <a:lnTo>
                  <a:pt x="5855" y="4543"/>
                </a:lnTo>
                <a:lnTo>
                  <a:pt x="5880" y="4585"/>
                </a:lnTo>
                <a:lnTo>
                  <a:pt x="5904" y="4626"/>
                </a:lnTo>
                <a:lnTo>
                  <a:pt x="5925" y="4667"/>
                </a:lnTo>
                <a:lnTo>
                  <a:pt x="5946" y="4710"/>
                </a:lnTo>
                <a:lnTo>
                  <a:pt x="5967" y="4752"/>
                </a:lnTo>
                <a:lnTo>
                  <a:pt x="5986" y="4795"/>
                </a:lnTo>
                <a:lnTo>
                  <a:pt x="6004" y="4838"/>
                </a:lnTo>
                <a:lnTo>
                  <a:pt x="6020" y="4880"/>
                </a:lnTo>
                <a:lnTo>
                  <a:pt x="6036" y="4924"/>
                </a:lnTo>
                <a:lnTo>
                  <a:pt x="6049" y="4967"/>
                </a:lnTo>
                <a:lnTo>
                  <a:pt x="6063" y="5011"/>
                </a:lnTo>
                <a:lnTo>
                  <a:pt x="6075" y="5055"/>
                </a:lnTo>
                <a:lnTo>
                  <a:pt x="6085" y="5100"/>
                </a:lnTo>
                <a:lnTo>
                  <a:pt x="6095" y="5144"/>
                </a:lnTo>
                <a:lnTo>
                  <a:pt x="6104" y="5189"/>
                </a:lnTo>
                <a:lnTo>
                  <a:pt x="6111" y="5234"/>
                </a:lnTo>
                <a:lnTo>
                  <a:pt x="6117" y="5280"/>
                </a:lnTo>
                <a:lnTo>
                  <a:pt x="6123" y="5324"/>
                </a:lnTo>
                <a:lnTo>
                  <a:pt x="6127" y="5370"/>
                </a:lnTo>
                <a:lnTo>
                  <a:pt x="6130" y="5417"/>
                </a:lnTo>
                <a:lnTo>
                  <a:pt x="6131" y="5463"/>
                </a:lnTo>
                <a:lnTo>
                  <a:pt x="6132" y="5509"/>
                </a:lnTo>
                <a:lnTo>
                  <a:pt x="6132" y="9605"/>
                </a:lnTo>
                <a:lnTo>
                  <a:pt x="6132" y="9643"/>
                </a:lnTo>
                <a:lnTo>
                  <a:pt x="6130" y="9682"/>
                </a:lnTo>
                <a:lnTo>
                  <a:pt x="6129" y="9719"/>
                </a:lnTo>
                <a:lnTo>
                  <a:pt x="6126" y="9756"/>
                </a:lnTo>
                <a:lnTo>
                  <a:pt x="6122" y="9793"/>
                </a:lnTo>
                <a:lnTo>
                  <a:pt x="6117" y="9829"/>
                </a:lnTo>
                <a:lnTo>
                  <a:pt x="6112" y="9866"/>
                </a:lnTo>
                <a:lnTo>
                  <a:pt x="6107" y="9901"/>
                </a:lnTo>
                <a:lnTo>
                  <a:pt x="6099" y="9937"/>
                </a:lnTo>
                <a:lnTo>
                  <a:pt x="6092" y="9972"/>
                </a:lnTo>
                <a:lnTo>
                  <a:pt x="6083" y="10007"/>
                </a:lnTo>
                <a:lnTo>
                  <a:pt x="6074" y="10041"/>
                </a:lnTo>
                <a:lnTo>
                  <a:pt x="6063" y="10075"/>
                </a:lnTo>
                <a:lnTo>
                  <a:pt x="6053" y="10109"/>
                </a:lnTo>
                <a:lnTo>
                  <a:pt x="6041" y="10142"/>
                </a:lnTo>
                <a:lnTo>
                  <a:pt x="6028" y="10175"/>
                </a:lnTo>
                <a:lnTo>
                  <a:pt x="6014" y="10208"/>
                </a:lnTo>
                <a:lnTo>
                  <a:pt x="6001" y="10241"/>
                </a:lnTo>
                <a:lnTo>
                  <a:pt x="5986" y="10273"/>
                </a:lnTo>
                <a:lnTo>
                  <a:pt x="5970" y="10305"/>
                </a:lnTo>
                <a:lnTo>
                  <a:pt x="5953" y="10335"/>
                </a:lnTo>
                <a:lnTo>
                  <a:pt x="5935" y="10366"/>
                </a:lnTo>
                <a:lnTo>
                  <a:pt x="5917" y="10397"/>
                </a:lnTo>
                <a:lnTo>
                  <a:pt x="5898" y="10428"/>
                </a:lnTo>
                <a:lnTo>
                  <a:pt x="5877" y="10458"/>
                </a:lnTo>
                <a:lnTo>
                  <a:pt x="5857" y="10487"/>
                </a:lnTo>
                <a:lnTo>
                  <a:pt x="5835" y="10517"/>
                </a:lnTo>
                <a:lnTo>
                  <a:pt x="5813" y="10546"/>
                </a:lnTo>
                <a:lnTo>
                  <a:pt x="5789" y="10575"/>
                </a:lnTo>
                <a:lnTo>
                  <a:pt x="5766" y="10603"/>
                </a:lnTo>
                <a:lnTo>
                  <a:pt x="5740" y="10632"/>
                </a:lnTo>
                <a:lnTo>
                  <a:pt x="5715" y="10660"/>
                </a:lnTo>
                <a:lnTo>
                  <a:pt x="5688" y="10687"/>
                </a:lnTo>
                <a:lnTo>
                  <a:pt x="5661" y="10714"/>
                </a:lnTo>
                <a:lnTo>
                  <a:pt x="5633" y="10739"/>
                </a:lnTo>
                <a:lnTo>
                  <a:pt x="5606" y="10765"/>
                </a:lnTo>
                <a:lnTo>
                  <a:pt x="5576" y="10790"/>
                </a:lnTo>
                <a:lnTo>
                  <a:pt x="5546" y="10814"/>
                </a:lnTo>
                <a:lnTo>
                  <a:pt x="5516" y="10838"/>
                </a:lnTo>
                <a:lnTo>
                  <a:pt x="5486" y="10860"/>
                </a:lnTo>
                <a:lnTo>
                  <a:pt x="5455" y="10883"/>
                </a:lnTo>
                <a:lnTo>
                  <a:pt x="5422" y="10905"/>
                </a:lnTo>
                <a:lnTo>
                  <a:pt x="5390" y="10925"/>
                </a:lnTo>
                <a:lnTo>
                  <a:pt x="5357" y="10947"/>
                </a:lnTo>
                <a:lnTo>
                  <a:pt x="5323" y="10966"/>
                </a:lnTo>
                <a:lnTo>
                  <a:pt x="5288" y="10985"/>
                </a:lnTo>
                <a:lnTo>
                  <a:pt x="5253" y="11004"/>
                </a:lnTo>
                <a:lnTo>
                  <a:pt x="5218" y="11022"/>
                </a:lnTo>
                <a:lnTo>
                  <a:pt x="5182" y="11039"/>
                </a:lnTo>
                <a:lnTo>
                  <a:pt x="5145" y="11056"/>
                </a:lnTo>
                <a:lnTo>
                  <a:pt x="5108" y="11072"/>
                </a:lnTo>
                <a:lnTo>
                  <a:pt x="5069" y="11087"/>
                </a:lnTo>
                <a:lnTo>
                  <a:pt x="5031" y="11102"/>
                </a:lnTo>
                <a:lnTo>
                  <a:pt x="4992" y="11117"/>
                </a:lnTo>
                <a:lnTo>
                  <a:pt x="4952" y="11130"/>
                </a:lnTo>
                <a:lnTo>
                  <a:pt x="4911" y="11143"/>
                </a:lnTo>
                <a:lnTo>
                  <a:pt x="4871" y="11155"/>
                </a:lnTo>
                <a:lnTo>
                  <a:pt x="4828" y="11167"/>
                </a:lnTo>
                <a:lnTo>
                  <a:pt x="4787" y="11178"/>
                </a:lnTo>
                <a:lnTo>
                  <a:pt x="4743" y="11189"/>
                </a:lnTo>
                <a:lnTo>
                  <a:pt x="4701" y="11199"/>
                </a:lnTo>
                <a:lnTo>
                  <a:pt x="4656" y="11208"/>
                </a:lnTo>
                <a:lnTo>
                  <a:pt x="4612" y="11217"/>
                </a:lnTo>
                <a:lnTo>
                  <a:pt x="4567" y="11225"/>
                </a:lnTo>
                <a:lnTo>
                  <a:pt x="4567" y="16980"/>
                </a:lnTo>
                <a:lnTo>
                  <a:pt x="1510" y="16980"/>
                </a:lnTo>
                <a:lnTo>
                  <a:pt x="1510" y="11225"/>
                </a:lnTo>
                <a:lnTo>
                  <a:pt x="1424" y="11201"/>
                </a:lnTo>
                <a:lnTo>
                  <a:pt x="1340" y="11175"/>
                </a:lnTo>
                <a:lnTo>
                  <a:pt x="1298" y="11161"/>
                </a:lnTo>
                <a:lnTo>
                  <a:pt x="1258" y="11148"/>
                </a:lnTo>
                <a:lnTo>
                  <a:pt x="1218" y="11134"/>
                </a:lnTo>
                <a:lnTo>
                  <a:pt x="1178" y="11120"/>
                </a:lnTo>
                <a:lnTo>
                  <a:pt x="1139" y="11105"/>
                </a:lnTo>
                <a:lnTo>
                  <a:pt x="1101" y="11089"/>
                </a:lnTo>
                <a:lnTo>
                  <a:pt x="1064" y="11074"/>
                </a:lnTo>
                <a:lnTo>
                  <a:pt x="1026" y="11058"/>
                </a:lnTo>
                <a:lnTo>
                  <a:pt x="990" y="11042"/>
                </a:lnTo>
                <a:lnTo>
                  <a:pt x="954" y="11025"/>
                </a:lnTo>
                <a:lnTo>
                  <a:pt x="918" y="11009"/>
                </a:lnTo>
                <a:lnTo>
                  <a:pt x="884" y="10991"/>
                </a:lnTo>
                <a:lnTo>
                  <a:pt x="849" y="10974"/>
                </a:lnTo>
                <a:lnTo>
                  <a:pt x="816" y="10956"/>
                </a:lnTo>
                <a:lnTo>
                  <a:pt x="782" y="10938"/>
                </a:lnTo>
                <a:lnTo>
                  <a:pt x="750" y="10920"/>
                </a:lnTo>
                <a:lnTo>
                  <a:pt x="719" y="10901"/>
                </a:lnTo>
                <a:lnTo>
                  <a:pt x="687" y="10882"/>
                </a:lnTo>
                <a:lnTo>
                  <a:pt x="656" y="10862"/>
                </a:lnTo>
                <a:lnTo>
                  <a:pt x="626" y="10841"/>
                </a:lnTo>
                <a:lnTo>
                  <a:pt x="596" y="10821"/>
                </a:lnTo>
                <a:lnTo>
                  <a:pt x="567" y="10801"/>
                </a:lnTo>
                <a:lnTo>
                  <a:pt x="539" y="10780"/>
                </a:lnTo>
                <a:lnTo>
                  <a:pt x="510" y="10758"/>
                </a:lnTo>
                <a:lnTo>
                  <a:pt x="484" y="10736"/>
                </a:lnTo>
                <a:lnTo>
                  <a:pt x="456" y="10714"/>
                </a:lnTo>
                <a:lnTo>
                  <a:pt x="431" y="10691"/>
                </a:lnTo>
                <a:lnTo>
                  <a:pt x="405" y="10668"/>
                </a:lnTo>
                <a:lnTo>
                  <a:pt x="380" y="10646"/>
                </a:lnTo>
                <a:lnTo>
                  <a:pt x="355" y="10622"/>
                </a:lnTo>
                <a:lnTo>
                  <a:pt x="332" y="10599"/>
                </a:lnTo>
                <a:lnTo>
                  <a:pt x="310" y="10576"/>
                </a:lnTo>
                <a:lnTo>
                  <a:pt x="289" y="10551"/>
                </a:lnTo>
                <a:lnTo>
                  <a:pt x="267" y="10528"/>
                </a:lnTo>
                <a:lnTo>
                  <a:pt x="247" y="10503"/>
                </a:lnTo>
                <a:lnTo>
                  <a:pt x="228" y="10480"/>
                </a:lnTo>
                <a:lnTo>
                  <a:pt x="209" y="10455"/>
                </a:lnTo>
                <a:lnTo>
                  <a:pt x="191" y="10431"/>
                </a:lnTo>
                <a:lnTo>
                  <a:pt x="174" y="10407"/>
                </a:lnTo>
                <a:lnTo>
                  <a:pt x="158" y="10382"/>
                </a:lnTo>
                <a:lnTo>
                  <a:pt x="142" y="10357"/>
                </a:lnTo>
                <a:lnTo>
                  <a:pt x="128" y="10332"/>
                </a:lnTo>
                <a:lnTo>
                  <a:pt x="114" y="10307"/>
                </a:lnTo>
                <a:lnTo>
                  <a:pt x="101" y="10281"/>
                </a:lnTo>
                <a:lnTo>
                  <a:pt x="89" y="10256"/>
                </a:lnTo>
                <a:lnTo>
                  <a:pt x="77" y="10230"/>
                </a:lnTo>
                <a:lnTo>
                  <a:pt x="67" y="10205"/>
                </a:lnTo>
                <a:lnTo>
                  <a:pt x="57" y="10179"/>
                </a:lnTo>
                <a:lnTo>
                  <a:pt x="48" y="10153"/>
                </a:lnTo>
                <a:lnTo>
                  <a:pt x="39" y="10127"/>
                </a:lnTo>
                <a:lnTo>
                  <a:pt x="32" y="10100"/>
                </a:lnTo>
                <a:lnTo>
                  <a:pt x="25" y="10074"/>
                </a:lnTo>
                <a:lnTo>
                  <a:pt x="19" y="10047"/>
                </a:lnTo>
                <a:lnTo>
                  <a:pt x="14" y="10021"/>
                </a:lnTo>
                <a:lnTo>
                  <a:pt x="9" y="9994"/>
                </a:lnTo>
                <a:lnTo>
                  <a:pt x="6" y="9967"/>
                </a:lnTo>
                <a:lnTo>
                  <a:pt x="3" y="9940"/>
                </a:lnTo>
                <a:lnTo>
                  <a:pt x="1" y="9912"/>
                </a:lnTo>
                <a:lnTo>
                  <a:pt x="0" y="9885"/>
                </a:lnTo>
                <a:lnTo>
                  <a:pt x="0" y="9857"/>
                </a:lnTo>
                <a:lnTo>
                  <a:pt x="0" y="5509"/>
                </a:lnTo>
                <a:lnTo>
                  <a:pt x="1" y="5453"/>
                </a:lnTo>
                <a:lnTo>
                  <a:pt x="2" y="5398"/>
                </a:lnTo>
                <a:lnTo>
                  <a:pt x="5" y="5342"/>
                </a:lnTo>
                <a:lnTo>
                  <a:pt x="9" y="5288"/>
                </a:lnTo>
                <a:lnTo>
                  <a:pt x="15" y="5235"/>
                </a:lnTo>
                <a:lnTo>
                  <a:pt x="21" y="5182"/>
                </a:lnTo>
                <a:lnTo>
                  <a:pt x="28" y="5130"/>
                </a:lnTo>
                <a:lnTo>
                  <a:pt x="37" y="5079"/>
                </a:lnTo>
                <a:lnTo>
                  <a:pt x="47" y="5028"/>
                </a:lnTo>
                <a:lnTo>
                  <a:pt x="57" y="4978"/>
                </a:lnTo>
                <a:lnTo>
                  <a:pt x="70" y="4929"/>
                </a:lnTo>
                <a:lnTo>
                  <a:pt x="83" y="4880"/>
                </a:lnTo>
                <a:lnTo>
                  <a:pt x="97" y="4832"/>
                </a:lnTo>
                <a:lnTo>
                  <a:pt x="112" y="4785"/>
                </a:lnTo>
                <a:lnTo>
                  <a:pt x="129" y="4739"/>
                </a:lnTo>
                <a:lnTo>
                  <a:pt x="147" y="4693"/>
                </a:lnTo>
                <a:lnTo>
                  <a:pt x="166" y="4648"/>
                </a:lnTo>
                <a:lnTo>
                  <a:pt x="187" y="4604"/>
                </a:lnTo>
                <a:lnTo>
                  <a:pt x="208" y="4560"/>
                </a:lnTo>
                <a:lnTo>
                  <a:pt x="230" y="4518"/>
                </a:lnTo>
                <a:lnTo>
                  <a:pt x="255" y="4476"/>
                </a:lnTo>
                <a:lnTo>
                  <a:pt x="279" y="4435"/>
                </a:lnTo>
                <a:lnTo>
                  <a:pt x="306" y="4393"/>
                </a:lnTo>
                <a:lnTo>
                  <a:pt x="332" y="4354"/>
                </a:lnTo>
                <a:lnTo>
                  <a:pt x="361" y="4315"/>
                </a:lnTo>
                <a:lnTo>
                  <a:pt x="391" y="4275"/>
                </a:lnTo>
                <a:lnTo>
                  <a:pt x="421" y="4238"/>
                </a:lnTo>
                <a:lnTo>
                  <a:pt x="453" y="4201"/>
                </a:lnTo>
                <a:lnTo>
                  <a:pt x="486" y="4165"/>
                </a:lnTo>
                <a:lnTo>
                  <a:pt x="520" y="4129"/>
                </a:lnTo>
                <a:lnTo>
                  <a:pt x="556" y="4093"/>
                </a:lnTo>
                <a:lnTo>
                  <a:pt x="592" y="4059"/>
                </a:lnTo>
                <a:lnTo>
                  <a:pt x="629" y="4025"/>
                </a:lnTo>
                <a:lnTo>
                  <a:pt x="668" y="3994"/>
                </a:lnTo>
                <a:lnTo>
                  <a:pt x="707" y="3963"/>
                </a:lnTo>
                <a:lnTo>
                  <a:pt x="747" y="3933"/>
                </a:lnTo>
                <a:lnTo>
                  <a:pt x="789" y="3904"/>
                </a:lnTo>
                <a:lnTo>
                  <a:pt x="830" y="3876"/>
                </a:lnTo>
                <a:lnTo>
                  <a:pt x="873" y="3849"/>
                </a:lnTo>
                <a:lnTo>
                  <a:pt x="916" y="3823"/>
                </a:lnTo>
                <a:lnTo>
                  <a:pt x="961" y="3799"/>
                </a:lnTo>
                <a:lnTo>
                  <a:pt x="1005" y="3775"/>
                </a:lnTo>
                <a:lnTo>
                  <a:pt x="1052" y="3752"/>
                </a:lnTo>
                <a:lnTo>
                  <a:pt x="1099" y="3731"/>
                </a:lnTo>
                <a:lnTo>
                  <a:pt x="1146" y="3711"/>
                </a:lnTo>
                <a:lnTo>
                  <a:pt x="1194" y="3691"/>
                </a:lnTo>
                <a:lnTo>
                  <a:pt x="1244" y="3672"/>
                </a:lnTo>
                <a:lnTo>
                  <a:pt x="1294" y="3655"/>
                </a:lnTo>
                <a:lnTo>
                  <a:pt x="1345" y="3640"/>
                </a:lnTo>
                <a:lnTo>
                  <a:pt x="1397" y="3624"/>
                </a:lnTo>
                <a:lnTo>
                  <a:pt x="1450" y="3610"/>
                </a:lnTo>
                <a:lnTo>
                  <a:pt x="1503" y="3597"/>
                </a:lnTo>
                <a:lnTo>
                  <a:pt x="1558" y="3584"/>
                </a:lnTo>
                <a:lnTo>
                  <a:pt x="1614" y="3574"/>
                </a:lnTo>
                <a:lnTo>
                  <a:pt x="1670" y="3564"/>
                </a:lnTo>
                <a:lnTo>
                  <a:pt x="1726" y="3554"/>
                </a:lnTo>
                <a:lnTo>
                  <a:pt x="1785" y="3547"/>
                </a:lnTo>
                <a:lnTo>
                  <a:pt x="1843" y="3540"/>
                </a:lnTo>
                <a:lnTo>
                  <a:pt x="1902" y="3534"/>
                </a:lnTo>
                <a:lnTo>
                  <a:pt x="1963" y="3530"/>
                </a:lnTo>
                <a:lnTo>
                  <a:pt x="2024" y="3526"/>
                </a:lnTo>
                <a:lnTo>
                  <a:pt x="2086" y="3524"/>
                </a:lnTo>
                <a:lnTo>
                  <a:pt x="2149" y="3522"/>
                </a:lnTo>
                <a:lnTo>
                  <a:pt x="2212" y="3522"/>
                </a:lnTo>
                <a:lnTo>
                  <a:pt x="2218" y="3517"/>
                </a:lnTo>
                <a:lnTo>
                  <a:pt x="2224" y="3514"/>
                </a:lnTo>
                <a:lnTo>
                  <a:pt x="2230" y="3513"/>
                </a:lnTo>
                <a:lnTo>
                  <a:pt x="2237" y="3512"/>
                </a:lnTo>
                <a:lnTo>
                  <a:pt x="2243" y="3512"/>
                </a:lnTo>
                <a:lnTo>
                  <a:pt x="2251" y="3512"/>
                </a:lnTo>
                <a:lnTo>
                  <a:pt x="2261" y="3512"/>
                </a:lnTo>
                <a:lnTo>
                  <a:pt x="2274" y="3512"/>
                </a:lnTo>
                <a:lnTo>
                  <a:pt x="2312" y="3514"/>
                </a:lnTo>
                <a:lnTo>
                  <a:pt x="2353" y="3516"/>
                </a:lnTo>
                <a:lnTo>
                  <a:pt x="2393" y="3517"/>
                </a:lnTo>
                <a:lnTo>
                  <a:pt x="2435" y="3519"/>
                </a:lnTo>
                <a:lnTo>
                  <a:pt x="2479" y="3520"/>
                </a:lnTo>
                <a:lnTo>
                  <a:pt x="2522" y="3520"/>
                </a:lnTo>
                <a:lnTo>
                  <a:pt x="2568" y="3522"/>
                </a:lnTo>
                <a:lnTo>
                  <a:pt x="2615" y="3522"/>
                </a:lnTo>
                <a:lnTo>
                  <a:pt x="2616" y="3516"/>
                </a:lnTo>
                <a:lnTo>
                  <a:pt x="2617" y="3511"/>
                </a:lnTo>
                <a:lnTo>
                  <a:pt x="2620" y="3505"/>
                </a:lnTo>
                <a:lnTo>
                  <a:pt x="2623" y="3498"/>
                </a:lnTo>
                <a:lnTo>
                  <a:pt x="2634" y="3483"/>
                </a:lnTo>
                <a:lnTo>
                  <a:pt x="2649" y="3466"/>
                </a:lnTo>
                <a:lnTo>
                  <a:pt x="2663" y="3450"/>
                </a:lnTo>
                <a:lnTo>
                  <a:pt x="2674" y="3439"/>
                </a:lnTo>
                <a:lnTo>
                  <a:pt x="2678" y="3434"/>
                </a:lnTo>
                <a:lnTo>
                  <a:pt x="2683" y="3431"/>
                </a:lnTo>
                <a:lnTo>
                  <a:pt x="2686" y="3430"/>
                </a:lnTo>
                <a:lnTo>
                  <a:pt x="2688" y="3429"/>
                </a:lnTo>
                <a:lnTo>
                  <a:pt x="2651" y="3417"/>
                </a:lnTo>
                <a:lnTo>
                  <a:pt x="2614" y="3406"/>
                </a:lnTo>
                <a:lnTo>
                  <a:pt x="2578" y="3393"/>
                </a:lnTo>
                <a:lnTo>
                  <a:pt x="2542" y="3380"/>
                </a:lnTo>
                <a:lnTo>
                  <a:pt x="2506" y="3366"/>
                </a:lnTo>
                <a:lnTo>
                  <a:pt x="2471" y="3351"/>
                </a:lnTo>
                <a:lnTo>
                  <a:pt x="2436" y="3337"/>
                </a:lnTo>
                <a:lnTo>
                  <a:pt x="2402" y="3322"/>
                </a:lnTo>
                <a:lnTo>
                  <a:pt x="2368" y="3306"/>
                </a:lnTo>
                <a:lnTo>
                  <a:pt x="2336" y="3289"/>
                </a:lnTo>
                <a:lnTo>
                  <a:pt x="2303" y="3272"/>
                </a:lnTo>
                <a:lnTo>
                  <a:pt x="2271" y="3255"/>
                </a:lnTo>
                <a:lnTo>
                  <a:pt x="2239" y="3237"/>
                </a:lnTo>
                <a:lnTo>
                  <a:pt x="2208" y="3218"/>
                </a:lnTo>
                <a:lnTo>
                  <a:pt x="2177" y="3198"/>
                </a:lnTo>
                <a:lnTo>
                  <a:pt x="2147" y="3178"/>
                </a:lnTo>
                <a:lnTo>
                  <a:pt x="2117" y="3158"/>
                </a:lnTo>
                <a:lnTo>
                  <a:pt x="2087" y="3137"/>
                </a:lnTo>
                <a:lnTo>
                  <a:pt x="2058" y="3115"/>
                </a:lnTo>
                <a:lnTo>
                  <a:pt x="2030" y="3093"/>
                </a:lnTo>
                <a:lnTo>
                  <a:pt x="2002" y="3071"/>
                </a:lnTo>
                <a:lnTo>
                  <a:pt x="1975" y="3047"/>
                </a:lnTo>
                <a:lnTo>
                  <a:pt x="1948" y="3024"/>
                </a:lnTo>
                <a:lnTo>
                  <a:pt x="1921" y="3000"/>
                </a:lnTo>
                <a:lnTo>
                  <a:pt x="1895" y="2975"/>
                </a:lnTo>
                <a:lnTo>
                  <a:pt x="1869" y="2950"/>
                </a:lnTo>
                <a:lnTo>
                  <a:pt x="1844" y="2924"/>
                </a:lnTo>
                <a:lnTo>
                  <a:pt x="1820" y="2898"/>
                </a:lnTo>
                <a:lnTo>
                  <a:pt x="1795" y="2871"/>
                </a:lnTo>
                <a:lnTo>
                  <a:pt x="1771" y="2843"/>
                </a:lnTo>
                <a:lnTo>
                  <a:pt x="1747" y="2816"/>
                </a:lnTo>
                <a:lnTo>
                  <a:pt x="1725" y="2787"/>
                </a:lnTo>
                <a:lnTo>
                  <a:pt x="1703" y="2757"/>
                </a:lnTo>
                <a:lnTo>
                  <a:pt x="1682" y="2729"/>
                </a:lnTo>
                <a:lnTo>
                  <a:pt x="1660" y="2699"/>
                </a:lnTo>
                <a:lnTo>
                  <a:pt x="1640" y="2669"/>
                </a:lnTo>
                <a:lnTo>
                  <a:pt x="1621" y="2638"/>
                </a:lnTo>
                <a:lnTo>
                  <a:pt x="1603" y="2608"/>
                </a:lnTo>
                <a:lnTo>
                  <a:pt x="1585" y="2578"/>
                </a:lnTo>
                <a:lnTo>
                  <a:pt x="1568" y="2547"/>
                </a:lnTo>
                <a:lnTo>
                  <a:pt x="1551" y="2516"/>
                </a:lnTo>
                <a:lnTo>
                  <a:pt x="1535" y="2484"/>
                </a:lnTo>
                <a:lnTo>
                  <a:pt x="1520" y="2452"/>
                </a:lnTo>
                <a:lnTo>
                  <a:pt x="1506" y="2420"/>
                </a:lnTo>
                <a:lnTo>
                  <a:pt x="1493" y="2388"/>
                </a:lnTo>
                <a:lnTo>
                  <a:pt x="1479" y="2356"/>
                </a:lnTo>
                <a:lnTo>
                  <a:pt x="1467" y="2324"/>
                </a:lnTo>
                <a:lnTo>
                  <a:pt x="1455" y="2291"/>
                </a:lnTo>
                <a:lnTo>
                  <a:pt x="1445" y="2258"/>
                </a:lnTo>
                <a:lnTo>
                  <a:pt x="1434" y="2225"/>
                </a:lnTo>
                <a:lnTo>
                  <a:pt x="1425" y="2191"/>
                </a:lnTo>
                <a:lnTo>
                  <a:pt x="1416" y="2157"/>
                </a:lnTo>
                <a:lnTo>
                  <a:pt x="1408" y="2123"/>
                </a:lnTo>
                <a:lnTo>
                  <a:pt x="1400" y="2089"/>
                </a:lnTo>
                <a:lnTo>
                  <a:pt x="1394" y="2054"/>
                </a:lnTo>
                <a:lnTo>
                  <a:pt x="1389" y="2018"/>
                </a:lnTo>
                <a:lnTo>
                  <a:pt x="1383" y="1983"/>
                </a:lnTo>
                <a:lnTo>
                  <a:pt x="1378" y="1948"/>
                </a:lnTo>
                <a:lnTo>
                  <a:pt x="1375" y="1912"/>
                </a:lnTo>
                <a:lnTo>
                  <a:pt x="1372" y="1876"/>
                </a:lnTo>
                <a:lnTo>
                  <a:pt x="1368" y="1840"/>
                </a:lnTo>
                <a:lnTo>
                  <a:pt x="1367" y="1804"/>
                </a:lnTo>
                <a:lnTo>
                  <a:pt x="1366" y="1767"/>
                </a:lnTo>
                <a:lnTo>
                  <a:pt x="1365" y="1729"/>
                </a:lnTo>
                <a:lnTo>
                  <a:pt x="1366" y="1686"/>
                </a:lnTo>
                <a:lnTo>
                  <a:pt x="1367" y="1641"/>
                </a:lnTo>
                <a:lnTo>
                  <a:pt x="1370" y="1598"/>
                </a:lnTo>
                <a:lnTo>
                  <a:pt x="1374" y="1555"/>
                </a:lnTo>
                <a:lnTo>
                  <a:pt x="1378" y="1511"/>
                </a:lnTo>
                <a:lnTo>
                  <a:pt x="1383" y="1469"/>
                </a:lnTo>
                <a:lnTo>
                  <a:pt x="1390" y="1427"/>
                </a:lnTo>
                <a:lnTo>
                  <a:pt x="1397" y="1386"/>
                </a:lnTo>
                <a:lnTo>
                  <a:pt x="1405" y="1345"/>
                </a:lnTo>
                <a:lnTo>
                  <a:pt x="1415" y="1304"/>
                </a:lnTo>
                <a:lnTo>
                  <a:pt x="1426" y="1264"/>
                </a:lnTo>
                <a:lnTo>
                  <a:pt x="1437" y="1223"/>
                </a:lnTo>
                <a:lnTo>
                  <a:pt x="1449" y="1184"/>
                </a:lnTo>
                <a:lnTo>
                  <a:pt x="1463" y="1145"/>
                </a:lnTo>
                <a:lnTo>
                  <a:pt x="1477" y="1106"/>
                </a:lnTo>
                <a:lnTo>
                  <a:pt x="1493" y="1068"/>
                </a:lnTo>
                <a:lnTo>
                  <a:pt x="1508" y="1030"/>
                </a:lnTo>
                <a:lnTo>
                  <a:pt x="1527" y="993"/>
                </a:lnTo>
                <a:lnTo>
                  <a:pt x="1545" y="955"/>
                </a:lnTo>
                <a:lnTo>
                  <a:pt x="1564" y="919"/>
                </a:lnTo>
                <a:lnTo>
                  <a:pt x="1585" y="883"/>
                </a:lnTo>
                <a:lnTo>
                  <a:pt x="1606" y="847"/>
                </a:lnTo>
                <a:lnTo>
                  <a:pt x="1628" y="811"/>
                </a:lnTo>
                <a:lnTo>
                  <a:pt x="1652" y="776"/>
                </a:lnTo>
                <a:lnTo>
                  <a:pt x="1676" y="742"/>
                </a:lnTo>
                <a:lnTo>
                  <a:pt x="1702" y="708"/>
                </a:lnTo>
                <a:lnTo>
                  <a:pt x="1728" y="674"/>
                </a:lnTo>
                <a:lnTo>
                  <a:pt x="1756" y="640"/>
                </a:lnTo>
                <a:lnTo>
                  <a:pt x="1783" y="607"/>
                </a:lnTo>
                <a:lnTo>
                  <a:pt x="1813" y="574"/>
                </a:lnTo>
                <a:lnTo>
                  <a:pt x="1844" y="542"/>
                </a:lnTo>
                <a:lnTo>
                  <a:pt x="1875" y="510"/>
                </a:lnTo>
                <a:lnTo>
                  <a:pt x="1907" y="478"/>
                </a:lnTo>
                <a:lnTo>
                  <a:pt x="1940" y="448"/>
                </a:lnTo>
                <a:lnTo>
                  <a:pt x="1971" y="419"/>
                </a:lnTo>
                <a:lnTo>
                  <a:pt x="2005" y="390"/>
                </a:lnTo>
                <a:lnTo>
                  <a:pt x="2038" y="362"/>
                </a:lnTo>
                <a:lnTo>
                  <a:pt x="2072" y="336"/>
                </a:lnTo>
                <a:lnTo>
                  <a:pt x="2106" y="311"/>
                </a:lnTo>
                <a:lnTo>
                  <a:pt x="2141" y="287"/>
                </a:lnTo>
                <a:lnTo>
                  <a:pt x="2176" y="263"/>
                </a:lnTo>
                <a:lnTo>
                  <a:pt x="2211" y="240"/>
                </a:lnTo>
                <a:lnTo>
                  <a:pt x="2247" y="219"/>
                </a:lnTo>
                <a:lnTo>
                  <a:pt x="2284" y="199"/>
                </a:lnTo>
                <a:lnTo>
                  <a:pt x="2320" y="179"/>
                </a:lnTo>
                <a:lnTo>
                  <a:pt x="2357" y="160"/>
                </a:lnTo>
                <a:lnTo>
                  <a:pt x="2395" y="143"/>
                </a:lnTo>
                <a:lnTo>
                  <a:pt x="2432" y="127"/>
                </a:lnTo>
                <a:lnTo>
                  <a:pt x="2470" y="111"/>
                </a:lnTo>
                <a:lnTo>
                  <a:pt x="2510" y="98"/>
                </a:lnTo>
                <a:lnTo>
                  <a:pt x="2549" y="84"/>
                </a:lnTo>
                <a:lnTo>
                  <a:pt x="2588" y="71"/>
                </a:lnTo>
                <a:lnTo>
                  <a:pt x="2628" y="60"/>
                </a:lnTo>
                <a:lnTo>
                  <a:pt x="2668" y="50"/>
                </a:lnTo>
                <a:lnTo>
                  <a:pt x="2709" y="40"/>
                </a:lnTo>
                <a:lnTo>
                  <a:pt x="2750" y="32"/>
                </a:lnTo>
                <a:lnTo>
                  <a:pt x="2791" y="24"/>
                </a:lnTo>
                <a:lnTo>
                  <a:pt x="2833" y="18"/>
                </a:lnTo>
                <a:lnTo>
                  <a:pt x="2876" y="13"/>
                </a:lnTo>
                <a:lnTo>
                  <a:pt x="2918" y="7"/>
                </a:lnTo>
                <a:lnTo>
                  <a:pt x="2962" y="4"/>
                </a:lnTo>
                <a:lnTo>
                  <a:pt x="3005" y="2"/>
                </a:lnTo>
                <a:lnTo>
                  <a:pt x="3049" y="1"/>
                </a:lnTo>
                <a:lnTo>
                  <a:pt x="3094" y="0"/>
                </a:lnTo>
                <a:lnTo>
                  <a:pt x="3138" y="1"/>
                </a:lnTo>
                <a:lnTo>
                  <a:pt x="3183" y="2"/>
                </a:lnTo>
                <a:lnTo>
                  <a:pt x="3226" y="4"/>
                </a:lnTo>
                <a:lnTo>
                  <a:pt x="3270" y="7"/>
                </a:lnTo>
                <a:lnTo>
                  <a:pt x="3312" y="13"/>
                </a:lnTo>
                <a:lnTo>
                  <a:pt x="3356" y="18"/>
                </a:lnTo>
                <a:lnTo>
                  <a:pt x="3397" y="24"/>
                </a:lnTo>
                <a:lnTo>
                  <a:pt x="3440" y="32"/>
                </a:lnTo>
                <a:lnTo>
                  <a:pt x="3481" y="40"/>
                </a:lnTo>
                <a:lnTo>
                  <a:pt x="3521" y="50"/>
                </a:lnTo>
                <a:lnTo>
                  <a:pt x="3563" y="60"/>
                </a:lnTo>
                <a:lnTo>
                  <a:pt x="3602" y="71"/>
                </a:lnTo>
                <a:lnTo>
                  <a:pt x="3643" y="84"/>
                </a:lnTo>
                <a:lnTo>
                  <a:pt x="3682" y="98"/>
                </a:lnTo>
                <a:lnTo>
                  <a:pt x="3721" y="111"/>
                </a:lnTo>
                <a:lnTo>
                  <a:pt x="3759" y="127"/>
                </a:lnTo>
                <a:lnTo>
                  <a:pt x="3798" y="143"/>
                </a:lnTo>
                <a:lnTo>
                  <a:pt x="3835" y="160"/>
                </a:lnTo>
                <a:lnTo>
                  <a:pt x="3873" y="179"/>
                </a:lnTo>
                <a:lnTo>
                  <a:pt x="3909" y="199"/>
                </a:lnTo>
                <a:lnTo>
                  <a:pt x="3946" y="219"/>
                </a:lnTo>
                <a:lnTo>
                  <a:pt x="3982" y="240"/>
                </a:lnTo>
                <a:lnTo>
                  <a:pt x="4017" y="263"/>
                </a:lnTo>
                <a:lnTo>
                  <a:pt x="4053" y="287"/>
                </a:lnTo>
                <a:lnTo>
                  <a:pt x="4088" y="311"/>
                </a:lnTo>
                <a:lnTo>
                  <a:pt x="4122" y="336"/>
                </a:lnTo>
                <a:lnTo>
                  <a:pt x="4156" y="362"/>
                </a:lnTo>
                <a:lnTo>
                  <a:pt x="4190" y="390"/>
                </a:lnTo>
                <a:lnTo>
                  <a:pt x="4223" y="419"/>
                </a:lnTo>
                <a:lnTo>
                  <a:pt x="4256" y="448"/>
                </a:lnTo>
                <a:lnTo>
                  <a:pt x="4289" y="478"/>
                </a:lnTo>
                <a:lnTo>
                  <a:pt x="4321" y="510"/>
                </a:lnTo>
                <a:lnTo>
                  <a:pt x="4353" y="542"/>
                </a:lnTo>
                <a:lnTo>
                  <a:pt x="4383" y="574"/>
                </a:lnTo>
                <a:lnTo>
                  <a:pt x="4412" y="607"/>
                </a:lnTo>
                <a:lnTo>
                  <a:pt x="4440" y="640"/>
                </a:lnTo>
                <a:lnTo>
                  <a:pt x="4467" y="674"/>
                </a:lnTo>
                <a:lnTo>
                  <a:pt x="4493" y="708"/>
                </a:lnTo>
                <a:lnTo>
                  <a:pt x="4518" y="742"/>
                </a:lnTo>
                <a:lnTo>
                  <a:pt x="4543" y="776"/>
                </a:lnTo>
                <a:lnTo>
                  <a:pt x="4566" y="811"/>
                </a:lnTo>
                <a:lnTo>
                  <a:pt x="4588" y="847"/>
                </a:lnTo>
                <a:lnTo>
                  <a:pt x="4610" y="883"/>
                </a:lnTo>
                <a:lnTo>
                  <a:pt x="4630" y="919"/>
                </a:lnTo>
                <a:lnTo>
                  <a:pt x="4649" y="955"/>
                </a:lnTo>
                <a:lnTo>
                  <a:pt x="4667" y="993"/>
                </a:lnTo>
                <a:lnTo>
                  <a:pt x="4685" y="1030"/>
                </a:lnTo>
                <a:lnTo>
                  <a:pt x="4701" y="1068"/>
                </a:lnTo>
                <a:lnTo>
                  <a:pt x="4716" y="1106"/>
                </a:lnTo>
                <a:lnTo>
                  <a:pt x="4731" y="1145"/>
                </a:lnTo>
                <a:lnTo>
                  <a:pt x="4745" y="1184"/>
                </a:lnTo>
                <a:lnTo>
                  <a:pt x="4756" y="1223"/>
                </a:lnTo>
                <a:lnTo>
                  <a:pt x="4768" y="1264"/>
                </a:lnTo>
                <a:lnTo>
                  <a:pt x="4779" y="1304"/>
                </a:lnTo>
                <a:lnTo>
                  <a:pt x="4788" y="1345"/>
                </a:lnTo>
                <a:lnTo>
                  <a:pt x="4797" y="1386"/>
                </a:lnTo>
                <a:lnTo>
                  <a:pt x="4803" y="1427"/>
                </a:lnTo>
                <a:lnTo>
                  <a:pt x="4810" y="1469"/>
                </a:lnTo>
                <a:lnTo>
                  <a:pt x="4816" y="1511"/>
                </a:lnTo>
                <a:lnTo>
                  <a:pt x="4820" y="1555"/>
                </a:lnTo>
                <a:lnTo>
                  <a:pt x="4823" y="1598"/>
                </a:lnTo>
                <a:lnTo>
                  <a:pt x="4825" y="1641"/>
                </a:lnTo>
                <a:lnTo>
                  <a:pt x="4827" y="1686"/>
                </a:lnTo>
                <a:lnTo>
                  <a:pt x="4827" y="1729"/>
                </a:lnTo>
                <a:lnTo>
                  <a:pt x="4827" y="1768"/>
                </a:lnTo>
                <a:lnTo>
                  <a:pt x="4826" y="1806"/>
                </a:lnTo>
                <a:lnTo>
                  <a:pt x="4824" y="1843"/>
                </a:lnTo>
                <a:lnTo>
                  <a:pt x="4822" y="1880"/>
                </a:lnTo>
                <a:lnTo>
                  <a:pt x="4818" y="1917"/>
                </a:lnTo>
                <a:lnTo>
                  <a:pt x="4814" y="1954"/>
                </a:lnTo>
                <a:lnTo>
                  <a:pt x="4808" y="1990"/>
                </a:lnTo>
                <a:lnTo>
                  <a:pt x="4803" y="2027"/>
                </a:lnTo>
                <a:lnTo>
                  <a:pt x="4797" y="2062"/>
                </a:lnTo>
                <a:lnTo>
                  <a:pt x="4789" y="2098"/>
                </a:lnTo>
                <a:lnTo>
                  <a:pt x="4781" y="2134"/>
                </a:lnTo>
                <a:lnTo>
                  <a:pt x="4772" y="2169"/>
                </a:lnTo>
                <a:lnTo>
                  <a:pt x="4763" y="2204"/>
                </a:lnTo>
                <a:lnTo>
                  <a:pt x="4752" y="2240"/>
                </a:lnTo>
                <a:lnTo>
                  <a:pt x="4740" y="2274"/>
                </a:lnTo>
                <a:lnTo>
                  <a:pt x="4729" y="2308"/>
                </a:lnTo>
                <a:lnTo>
                  <a:pt x="4716" y="2342"/>
                </a:lnTo>
                <a:lnTo>
                  <a:pt x="4702" y="2376"/>
                </a:lnTo>
                <a:lnTo>
                  <a:pt x="4688" y="2410"/>
                </a:lnTo>
                <a:lnTo>
                  <a:pt x="4673" y="2443"/>
                </a:lnTo>
                <a:lnTo>
                  <a:pt x="4657" y="2476"/>
                </a:lnTo>
                <a:lnTo>
                  <a:pt x="4641" y="2508"/>
                </a:lnTo>
                <a:lnTo>
                  <a:pt x="4624" y="2541"/>
                </a:lnTo>
                <a:lnTo>
                  <a:pt x="4605" y="2573"/>
                </a:lnTo>
                <a:lnTo>
                  <a:pt x="4586" y="2606"/>
                </a:lnTo>
                <a:lnTo>
                  <a:pt x="4566" y="2638"/>
                </a:lnTo>
                <a:lnTo>
                  <a:pt x="4546" y="2669"/>
                </a:lnTo>
                <a:lnTo>
                  <a:pt x="4525" y="2701"/>
                </a:lnTo>
                <a:lnTo>
                  <a:pt x="4502" y="2732"/>
                </a:lnTo>
                <a:lnTo>
                  <a:pt x="4480" y="2763"/>
                </a:lnTo>
                <a:lnTo>
                  <a:pt x="4456" y="2793"/>
                </a:lnTo>
                <a:lnTo>
                  <a:pt x="4431" y="2824"/>
                </a:lnTo>
                <a:lnTo>
                  <a:pt x="4407" y="2853"/>
                </a:lnTo>
                <a:lnTo>
                  <a:pt x="4381" y="2883"/>
                </a:lnTo>
                <a:lnTo>
                  <a:pt x="4356" y="2910"/>
                </a:lnTo>
                <a:lnTo>
                  <a:pt x="4329" y="2938"/>
                </a:lnTo>
                <a:lnTo>
                  <a:pt x="4303" y="2965"/>
                </a:lnTo>
                <a:lnTo>
                  <a:pt x="4276" y="2991"/>
                </a:lnTo>
                <a:lnTo>
                  <a:pt x="4249" y="3017"/>
                </a:lnTo>
                <a:lnTo>
                  <a:pt x="4220" y="3041"/>
                </a:lnTo>
                <a:lnTo>
                  <a:pt x="4192" y="3066"/>
                </a:lnTo>
                <a:lnTo>
                  <a:pt x="4164" y="3089"/>
                </a:lnTo>
                <a:lnTo>
                  <a:pt x="4134" y="3112"/>
                </a:lnTo>
                <a:lnTo>
                  <a:pt x="4105" y="3134"/>
                </a:lnTo>
                <a:lnTo>
                  <a:pt x="4075" y="3155"/>
                </a:lnTo>
                <a:lnTo>
                  <a:pt x="4045" y="3176"/>
                </a:lnTo>
                <a:lnTo>
                  <a:pt x="4014" y="3196"/>
                </a:lnTo>
                <a:lnTo>
                  <a:pt x="3982" y="3215"/>
                </a:lnTo>
                <a:lnTo>
                  <a:pt x="3950" y="3233"/>
                </a:lnTo>
                <a:lnTo>
                  <a:pt x="3919" y="3252"/>
                </a:lnTo>
                <a:lnTo>
                  <a:pt x="3887" y="3269"/>
                </a:lnTo>
                <a:lnTo>
                  <a:pt x="3854" y="3286"/>
                </a:lnTo>
                <a:lnTo>
                  <a:pt x="3820" y="3301"/>
                </a:lnTo>
                <a:lnTo>
                  <a:pt x="3786" y="3316"/>
                </a:lnTo>
                <a:lnTo>
                  <a:pt x="3752" y="3331"/>
                </a:lnTo>
                <a:lnTo>
                  <a:pt x="3718" y="3344"/>
                </a:lnTo>
                <a:lnTo>
                  <a:pt x="3683" y="3358"/>
                </a:lnTo>
                <a:lnTo>
                  <a:pt x="3647" y="3370"/>
                </a:lnTo>
                <a:lnTo>
                  <a:pt x="3611" y="3381"/>
                </a:lnTo>
                <a:lnTo>
                  <a:pt x="3575" y="3393"/>
                </a:lnTo>
                <a:lnTo>
                  <a:pt x="3538" y="3402"/>
                </a:lnTo>
                <a:lnTo>
                  <a:pt x="3500" y="3412"/>
                </a:lnTo>
                <a:lnTo>
                  <a:pt x="3463" y="3421"/>
                </a:lnTo>
                <a:lnTo>
                  <a:pt x="3425" y="3429"/>
                </a:lnTo>
                <a:lnTo>
                  <a:pt x="3438" y="3443"/>
                </a:lnTo>
                <a:lnTo>
                  <a:pt x="3449" y="3456"/>
                </a:lnTo>
                <a:lnTo>
                  <a:pt x="3459" y="3468"/>
                </a:lnTo>
                <a:lnTo>
                  <a:pt x="3466" y="3480"/>
                </a:lnTo>
                <a:lnTo>
                  <a:pt x="3473" y="3491"/>
                </a:lnTo>
                <a:lnTo>
                  <a:pt x="3477" y="3501"/>
                </a:lnTo>
                <a:lnTo>
                  <a:pt x="3479" y="3512"/>
                </a:lnTo>
                <a:lnTo>
                  <a:pt x="3480" y="3522"/>
                </a:lnTo>
                <a:close/>
              </a:path>
            </a:pathLst>
          </a:custGeom>
          <a:solidFill>
            <a:schemeClr val="accent2"/>
          </a:solidFill>
          <a:ln w="9525">
            <a:noFill/>
            <a:round/>
            <a:headEnd/>
            <a:tailEnd/>
          </a:ln>
        </p:spPr>
        <p:txBody>
          <a:bodyPr/>
          <a:lstStyle>
            <a:defPPr>
              <a:defRPr lang="en-US"/>
            </a:defPPr>
            <a:lvl1pPr marL="0" algn="l" defTabSz="1018824" rtl="0" eaLnBrk="1" latinLnBrk="0" hangingPunct="1">
              <a:defRPr sz="2000" kern="1200">
                <a:solidFill>
                  <a:schemeClr val="tx1"/>
                </a:solidFill>
                <a:latin typeface="+mn-lt"/>
                <a:ea typeface="+mn-ea"/>
                <a:cs typeface="+mn-cs"/>
              </a:defRPr>
            </a:lvl1pPr>
            <a:lvl2pPr marL="509412" algn="l" defTabSz="1018824" rtl="0" eaLnBrk="1" latinLnBrk="0" hangingPunct="1">
              <a:defRPr sz="2000" kern="1200">
                <a:solidFill>
                  <a:schemeClr val="tx1"/>
                </a:solidFill>
                <a:latin typeface="+mn-lt"/>
                <a:ea typeface="+mn-ea"/>
                <a:cs typeface="+mn-cs"/>
              </a:defRPr>
            </a:lvl2pPr>
            <a:lvl3pPr marL="1018824" algn="l" defTabSz="1018824" rtl="0" eaLnBrk="1" latinLnBrk="0" hangingPunct="1">
              <a:defRPr sz="2000" kern="1200">
                <a:solidFill>
                  <a:schemeClr val="tx1"/>
                </a:solidFill>
                <a:latin typeface="+mn-lt"/>
                <a:ea typeface="+mn-ea"/>
                <a:cs typeface="+mn-cs"/>
              </a:defRPr>
            </a:lvl3pPr>
            <a:lvl4pPr marL="1528237" algn="l" defTabSz="1018824" rtl="0" eaLnBrk="1" latinLnBrk="0" hangingPunct="1">
              <a:defRPr sz="2000" kern="1200">
                <a:solidFill>
                  <a:schemeClr val="tx1"/>
                </a:solidFill>
                <a:latin typeface="+mn-lt"/>
                <a:ea typeface="+mn-ea"/>
                <a:cs typeface="+mn-cs"/>
              </a:defRPr>
            </a:lvl4pPr>
            <a:lvl5pPr marL="2037649" algn="l" defTabSz="1018824" rtl="0" eaLnBrk="1" latinLnBrk="0" hangingPunct="1">
              <a:defRPr sz="2000" kern="1200">
                <a:solidFill>
                  <a:schemeClr val="tx1"/>
                </a:solidFill>
                <a:latin typeface="+mn-lt"/>
                <a:ea typeface="+mn-ea"/>
                <a:cs typeface="+mn-cs"/>
              </a:defRPr>
            </a:lvl5pPr>
            <a:lvl6pPr marL="2547061" algn="l" defTabSz="1018824" rtl="0" eaLnBrk="1" latinLnBrk="0" hangingPunct="1">
              <a:defRPr sz="2000" kern="1200">
                <a:solidFill>
                  <a:schemeClr val="tx1"/>
                </a:solidFill>
                <a:latin typeface="+mn-lt"/>
                <a:ea typeface="+mn-ea"/>
                <a:cs typeface="+mn-cs"/>
              </a:defRPr>
            </a:lvl6pPr>
            <a:lvl7pPr marL="3056473" algn="l" defTabSz="1018824" rtl="0" eaLnBrk="1" latinLnBrk="0" hangingPunct="1">
              <a:defRPr sz="2000" kern="1200">
                <a:solidFill>
                  <a:schemeClr val="tx1"/>
                </a:solidFill>
                <a:latin typeface="+mn-lt"/>
                <a:ea typeface="+mn-ea"/>
                <a:cs typeface="+mn-cs"/>
              </a:defRPr>
            </a:lvl7pPr>
            <a:lvl8pPr marL="3565886" algn="l" defTabSz="1018824" rtl="0" eaLnBrk="1" latinLnBrk="0" hangingPunct="1">
              <a:defRPr sz="2000" kern="1200">
                <a:solidFill>
                  <a:schemeClr val="tx1"/>
                </a:solidFill>
                <a:latin typeface="+mn-lt"/>
                <a:ea typeface="+mn-ea"/>
                <a:cs typeface="+mn-cs"/>
              </a:defRPr>
            </a:lvl8pPr>
            <a:lvl9pPr marL="4075298" algn="l" defTabSz="1018824" rtl="0" eaLnBrk="1" latinLnBrk="0" hangingPunct="1">
              <a:defRPr sz="2000" kern="1200">
                <a:solidFill>
                  <a:schemeClr val="tx1"/>
                </a:solidFill>
                <a:latin typeface="+mn-lt"/>
                <a:ea typeface="+mn-ea"/>
                <a:cs typeface="+mn-cs"/>
              </a:defRPr>
            </a:lvl9pPr>
          </a:lstStyle>
          <a:p>
            <a:pPr marL="0" marR="0" lvl="0" indent="0" algn="l" defTabSz="1018824" rtl="0" eaLnBrk="1" fontAlgn="auto" latinLnBrk="0" hangingPunct="1">
              <a:lnSpc>
                <a:spcPct val="100000"/>
              </a:lnSpc>
              <a:spcBef>
                <a:spcPts val="0"/>
              </a:spcBef>
              <a:spcAft>
                <a:spcPts val="0"/>
              </a:spcAft>
              <a:buClrTx/>
              <a:buSzTx/>
              <a:buFontTx/>
              <a:buNone/>
              <a:tabLst/>
              <a:defRPr/>
            </a:pPr>
            <a:endParaRPr kumimoji="0" lang="en-GB" sz="1589"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30">
            <a:extLst>
              <a:ext uri="{FF2B5EF4-FFF2-40B4-BE49-F238E27FC236}">
                <a16:creationId xmlns:a16="http://schemas.microsoft.com/office/drawing/2014/main" id="{398355AD-1741-470C-9E76-DE2B3D2CCDCD}"/>
              </a:ext>
            </a:extLst>
          </p:cNvPr>
          <p:cNvSpPr>
            <a:spLocks/>
          </p:cNvSpPr>
          <p:nvPr/>
        </p:nvSpPr>
        <p:spPr bwMode="auto">
          <a:xfrm>
            <a:off x="2542532" y="4302966"/>
            <a:ext cx="197037" cy="470851"/>
          </a:xfrm>
          <a:custGeom>
            <a:avLst/>
            <a:gdLst>
              <a:gd name="T0" fmla="*/ 13344091 w 6132"/>
              <a:gd name="T1" fmla="*/ 10441401 h 16980"/>
              <a:gd name="T2" fmla="*/ 14439013 w 6132"/>
              <a:gd name="T3" fmla="*/ 10808942 h 16980"/>
              <a:gd name="T4" fmla="*/ 15478309 w 6132"/>
              <a:gd name="T5" fmla="*/ 11467619 h 16980"/>
              <a:gd name="T6" fmla="*/ 16450295 w 6132"/>
              <a:gd name="T7" fmla="*/ 12408541 h 16980"/>
              <a:gd name="T8" fmla="*/ 17214401 w 6132"/>
              <a:gd name="T9" fmla="*/ 13481773 h 16980"/>
              <a:gd name="T10" fmla="*/ 17709159 w 6132"/>
              <a:gd name="T11" fmla="*/ 14605004 h 16980"/>
              <a:gd name="T12" fmla="*/ 17937493 w 6132"/>
              <a:gd name="T13" fmla="*/ 15789994 h 16980"/>
              <a:gd name="T14" fmla="*/ 17922884 w 6132"/>
              <a:gd name="T15" fmla="*/ 28795453 h 16980"/>
              <a:gd name="T16" fmla="*/ 17720901 w 6132"/>
              <a:gd name="T17" fmla="*/ 29724608 h 16980"/>
              <a:gd name="T18" fmla="*/ 17322724 w 6132"/>
              <a:gd name="T19" fmla="*/ 30571448 h 16980"/>
              <a:gd name="T20" fmla="*/ 16731329 w 6132"/>
              <a:gd name="T21" fmla="*/ 31344758 h 16980"/>
              <a:gd name="T22" fmla="*/ 15970146 w 6132"/>
              <a:gd name="T23" fmla="*/ 32000508 h 16980"/>
              <a:gd name="T24" fmla="*/ 15062602 w 6132"/>
              <a:gd name="T25" fmla="*/ 32509198 h 16980"/>
              <a:gd name="T26" fmla="*/ 14014483 w 6132"/>
              <a:gd name="T27" fmla="*/ 32867899 h 16980"/>
              <a:gd name="T28" fmla="*/ 4168927 w 6132"/>
              <a:gd name="T29" fmla="*/ 32935519 h 16980"/>
              <a:gd name="T30" fmla="*/ 3003722 w 6132"/>
              <a:gd name="T31" fmla="*/ 32515054 h 16980"/>
              <a:gd name="T32" fmla="*/ 2104943 w 6132"/>
              <a:gd name="T33" fmla="*/ 32053432 h 16980"/>
              <a:gd name="T34" fmla="*/ 1334994 w 6132"/>
              <a:gd name="T35" fmla="*/ 31503585 h 16980"/>
              <a:gd name="T36" fmla="*/ 723146 w 6132"/>
              <a:gd name="T37" fmla="*/ 30883136 h 16980"/>
              <a:gd name="T38" fmla="*/ 295697 w 6132"/>
              <a:gd name="T39" fmla="*/ 30230369 h 16980"/>
              <a:gd name="T40" fmla="*/ 55622 w 6132"/>
              <a:gd name="T41" fmla="*/ 29542302 h 16980"/>
              <a:gd name="T42" fmla="*/ 2922 w 6132"/>
              <a:gd name="T43" fmla="*/ 16034064 h 16980"/>
              <a:gd name="T44" fmla="*/ 166867 w 6132"/>
              <a:gd name="T45" fmla="*/ 14637376 h 16980"/>
              <a:gd name="T46" fmla="*/ 608925 w 6132"/>
              <a:gd name="T47" fmla="*/ 13408297 h 16980"/>
              <a:gd name="T48" fmla="*/ 1326228 w 6132"/>
              <a:gd name="T49" fmla="*/ 12352689 h 16980"/>
              <a:gd name="T50" fmla="*/ 2309902 w 6132"/>
              <a:gd name="T51" fmla="*/ 11479386 h 16980"/>
              <a:gd name="T52" fmla="*/ 3495559 w 6132"/>
              <a:gd name="T53" fmla="*/ 10853081 h 16980"/>
              <a:gd name="T54" fmla="*/ 4889097 w 6132"/>
              <a:gd name="T55" fmla="*/ 10479630 h 16980"/>
              <a:gd name="T56" fmla="*/ 6475906 w 6132"/>
              <a:gd name="T57" fmla="*/ 10356104 h 16980"/>
              <a:gd name="T58" fmla="*/ 6768627 w 6132"/>
              <a:gd name="T59" fmla="*/ 10332625 h 16980"/>
              <a:gd name="T60" fmla="*/ 7661564 w 6132"/>
              <a:gd name="T61" fmla="*/ 10323786 h 16980"/>
              <a:gd name="T62" fmla="*/ 7863602 w 6132"/>
              <a:gd name="T63" fmla="*/ 10085627 h 16980"/>
              <a:gd name="T64" fmla="*/ 7032131 w 6132"/>
              <a:gd name="T65" fmla="*/ 9768029 h 16980"/>
              <a:gd name="T66" fmla="*/ 6197794 w 6132"/>
              <a:gd name="T67" fmla="*/ 9285801 h 16980"/>
              <a:gd name="T68" fmla="*/ 5471726 w 6132"/>
              <a:gd name="T69" fmla="*/ 8674191 h 16980"/>
              <a:gd name="T70" fmla="*/ 4859825 w 6132"/>
              <a:gd name="T71" fmla="*/ 7936181 h 16980"/>
              <a:gd name="T72" fmla="*/ 4409002 w 6132"/>
              <a:gd name="T73" fmla="*/ 7115803 h 16980"/>
              <a:gd name="T74" fmla="*/ 4122070 w 6132"/>
              <a:gd name="T75" fmla="*/ 6242499 h 16980"/>
              <a:gd name="T76" fmla="*/ 4002059 w 6132"/>
              <a:gd name="T77" fmla="*/ 5304506 h 16980"/>
              <a:gd name="T78" fmla="*/ 4069369 w 6132"/>
              <a:gd name="T79" fmla="*/ 4195974 h 16980"/>
              <a:gd name="T80" fmla="*/ 4370910 w 6132"/>
              <a:gd name="T81" fmla="*/ 3140364 h 16980"/>
              <a:gd name="T82" fmla="*/ 4906682 w 6132"/>
              <a:gd name="T83" fmla="*/ 2181765 h 16980"/>
              <a:gd name="T84" fmla="*/ 5679553 w 6132"/>
              <a:gd name="T85" fmla="*/ 1317301 h 16980"/>
              <a:gd name="T86" fmla="*/ 6578332 w 6132"/>
              <a:gd name="T87" fmla="*/ 643928 h 16980"/>
              <a:gd name="T88" fmla="*/ 7576670 w 6132"/>
              <a:gd name="T89" fmla="*/ 208768 h 16980"/>
              <a:gd name="T90" fmla="*/ 8671588 w 6132"/>
              <a:gd name="T91" fmla="*/ 11767 h 16980"/>
              <a:gd name="T92" fmla="*/ 9825105 w 6132"/>
              <a:gd name="T93" fmla="*/ 52924 h 16980"/>
              <a:gd name="T94" fmla="*/ 10893673 w 6132"/>
              <a:gd name="T95" fmla="*/ 326384 h 16980"/>
              <a:gd name="T96" fmla="*/ 11865659 w 6132"/>
              <a:gd name="T97" fmla="*/ 843912 h 16980"/>
              <a:gd name="T98" fmla="*/ 12743931 w 6132"/>
              <a:gd name="T99" fmla="*/ 1593689 h 16980"/>
              <a:gd name="T100" fmla="*/ 13431908 w 6132"/>
              <a:gd name="T101" fmla="*/ 2490525 h 16980"/>
              <a:gd name="T102" fmla="*/ 13891551 w 6132"/>
              <a:gd name="T103" fmla="*/ 3481443 h 16980"/>
              <a:gd name="T104" fmla="*/ 14111119 w 6132"/>
              <a:gd name="T105" fmla="*/ 4572353 h 16980"/>
              <a:gd name="T106" fmla="*/ 14105275 w 6132"/>
              <a:gd name="T107" fmla="*/ 5636746 h 16980"/>
              <a:gd name="T108" fmla="*/ 13912057 w 6132"/>
              <a:gd name="T109" fmla="*/ 6586506 h 16980"/>
              <a:gd name="T110" fmla="*/ 13537309 w 6132"/>
              <a:gd name="T111" fmla="*/ 7471577 h 16980"/>
              <a:gd name="T112" fmla="*/ 12972265 w 6132"/>
              <a:gd name="T113" fmla="*/ 8303722 h 16980"/>
              <a:gd name="T114" fmla="*/ 12272601 w 6132"/>
              <a:gd name="T115" fmla="*/ 9015324 h 16980"/>
              <a:gd name="T116" fmla="*/ 11473326 w 6132"/>
              <a:gd name="T117" fmla="*/ 9562188 h 16980"/>
              <a:gd name="T118" fmla="*/ 10571626 w 6132"/>
              <a:gd name="T119" fmla="*/ 9941550 h 16980"/>
              <a:gd name="T120" fmla="*/ 10147098 w 6132"/>
              <a:gd name="T121" fmla="*/ 10232633 h 1698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6132"/>
              <a:gd name="T184" fmla="*/ 0 h 16980"/>
              <a:gd name="T185" fmla="*/ 6132 w 6132"/>
              <a:gd name="T186" fmla="*/ 16980 h 16980"/>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6132" h="16980">
                <a:moveTo>
                  <a:pt x="3480" y="3522"/>
                </a:moveTo>
                <a:lnTo>
                  <a:pt x="4254" y="3522"/>
                </a:lnTo>
                <a:lnTo>
                  <a:pt x="4298" y="3522"/>
                </a:lnTo>
                <a:lnTo>
                  <a:pt x="4342" y="3524"/>
                </a:lnTo>
                <a:lnTo>
                  <a:pt x="4386" y="3527"/>
                </a:lnTo>
                <a:lnTo>
                  <a:pt x="4429" y="3531"/>
                </a:lnTo>
                <a:lnTo>
                  <a:pt x="4473" y="3536"/>
                </a:lnTo>
                <a:lnTo>
                  <a:pt x="4515" y="3543"/>
                </a:lnTo>
                <a:lnTo>
                  <a:pt x="4558" y="3551"/>
                </a:lnTo>
                <a:lnTo>
                  <a:pt x="4601" y="3560"/>
                </a:lnTo>
                <a:lnTo>
                  <a:pt x="4643" y="3570"/>
                </a:lnTo>
                <a:lnTo>
                  <a:pt x="4685" y="3582"/>
                </a:lnTo>
                <a:lnTo>
                  <a:pt x="4727" y="3595"/>
                </a:lnTo>
                <a:lnTo>
                  <a:pt x="4769" y="3609"/>
                </a:lnTo>
                <a:lnTo>
                  <a:pt x="4809" y="3624"/>
                </a:lnTo>
                <a:lnTo>
                  <a:pt x="4851" y="3640"/>
                </a:lnTo>
                <a:lnTo>
                  <a:pt x="4892" y="3658"/>
                </a:lnTo>
                <a:lnTo>
                  <a:pt x="4932" y="3676"/>
                </a:lnTo>
                <a:lnTo>
                  <a:pt x="4973" y="3696"/>
                </a:lnTo>
                <a:lnTo>
                  <a:pt x="5013" y="3717"/>
                </a:lnTo>
                <a:lnTo>
                  <a:pt x="5052" y="3739"/>
                </a:lnTo>
                <a:lnTo>
                  <a:pt x="5093" y="3763"/>
                </a:lnTo>
                <a:lnTo>
                  <a:pt x="5132" y="3788"/>
                </a:lnTo>
                <a:lnTo>
                  <a:pt x="5171" y="3814"/>
                </a:lnTo>
                <a:lnTo>
                  <a:pt x="5210" y="3842"/>
                </a:lnTo>
                <a:lnTo>
                  <a:pt x="5249" y="3870"/>
                </a:lnTo>
                <a:lnTo>
                  <a:pt x="5287" y="3900"/>
                </a:lnTo>
                <a:lnTo>
                  <a:pt x="5325" y="3931"/>
                </a:lnTo>
                <a:lnTo>
                  <a:pt x="5364" y="3963"/>
                </a:lnTo>
                <a:lnTo>
                  <a:pt x="5401" y="3997"/>
                </a:lnTo>
                <a:lnTo>
                  <a:pt x="5438" y="4031"/>
                </a:lnTo>
                <a:lnTo>
                  <a:pt x="5475" y="4067"/>
                </a:lnTo>
                <a:lnTo>
                  <a:pt x="5512" y="4104"/>
                </a:lnTo>
                <a:lnTo>
                  <a:pt x="5549" y="4142"/>
                </a:lnTo>
                <a:lnTo>
                  <a:pt x="5584" y="4181"/>
                </a:lnTo>
                <a:lnTo>
                  <a:pt x="5619" y="4220"/>
                </a:lnTo>
                <a:lnTo>
                  <a:pt x="5652" y="4260"/>
                </a:lnTo>
                <a:lnTo>
                  <a:pt x="5685" y="4300"/>
                </a:lnTo>
                <a:lnTo>
                  <a:pt x="5716" y="4339"/>
                </a:lnTo>
                <a:lnTo>
                  <a:pt x="5747" y="4379"/>
                </a:lnTo>
                <a:lnTo>
                  <a:pt x="5775" y="4420"/>
                </a:lnTo>
                <a:lnTo>
                  <a:pt x="5803" y="4460"/>
                </a:lnTo>
                <a:lnTo>
                  <a:pt x="5830" y="4502"/>
                </a:lnTo>
                <a:lnTo>
                  <a:pt x="5855" y="4543"/>
                </a:lnTo>
                <a:lnTo>
                  <a:pt x="5880" y="4585"/>
                </a:lnTo>
                <a:lnTo>
                  <a:pt x="5904" y="4626"/>
                </a:lnTo>
                <a:lnTo>
                  <a:pt x="5925" y="4667"/>
                </a:lnTo>
                <a:lnTo>
                  <a:pt x="5946" y="4710"/>
                </a:lnTo>
                <a:lnTo>
                  <a:pt x="5967" y="4752"/>
                </a:lnTo>
                <a:lnTo>
                  <a:pt x="5986" y="4795"/>
                </a:lnTo>
                <a:lnTo>
                  <a:pt x="6004" y="4838"/>
                </a:lnTo>
                <a:lnTo>
                  <a:pt x="6020" y="4880"/>
                </a:lnTo>
                <a:lnTo>
                  <a:pt x="6036" y="4924"/>
                </a:lnTo>
                <a:lnTo>
                  <a:pt x="6049" y="4967"/>
                </a:lnTo>
                <a:lnTo>
                  <a:pt x="6063" y="5011"/>
                </a:lnTo>
                <a:lnTo>
                  <a:pt x="6075" y="5055"/>
                </a:lnTo>
                <a:lnTo>
                  <a:pt x="6085" y="5100"/>
                </a:lnTo>
                <a:lnTo>
                  <a:pt x="6095" y="5144"/>
                </a:lnTo>
                <a:lnTo>
                  <a:pt x="6104" y="5189"/>
                </a:lnTo>
                <a:lnTo>
                  <a:pt x="6111" y="5234"/>
                </a:lnTo>
                <a:lnTo>
                  <a:pt x="6117" y="5280"/>
                </a:lnTo>
                <a:lnTo>
                  <a:pt x="6123" y="5324"/>
                </a:lnTo>
                <a:lnTo>
                  <a:pt x="6127" y="5370"/>
                </a:lnTo>
                <a:lnTo>
                  <a:pt x="6130" y="5417"/>
                </a:lnTo>
                <a:lnTo>
                  <a:pt x="6131" y="5463"/>
                </a:lnTo>
                <a:lnTo>
                  <a:pt x="6132" y="5509"/>
                </a:lnTo>
                <a:lnTo>
                  <a:pt x="6132" y="9605"/>
                </a:lnTo>
                <a:lnTo>
                  <a:pt x="6132" y="9643"/>
                </a:lnTo>
                <a:lnTo>
                  <a:pt x="6130" y="9682"/>
                </a:lnTo>
                <a:lnTo>
                  <a:pt x="6129" y="9719"/>
                </a:lnTo>
                <a:lnTo>
                  <a:pt x="6126" y="9756"/>
                </a:lnTo>
                <a:lnTo>
                  <a:pt x="6122" y="9793"/>
                </a:lnTo>
                <a:lnTo>
                  <a:pt x="6117" y="9829"/>
                </a:lnTo>
                <a:lnTo>
                  <a:pt x="6112" y="9866"/>
                </a:lnTo>
                <a:lnTo>
                  <a:pt x="6107" y="9901"/>
                </a:lnTo>
                <a:lnTo>
                  <a:pt x="6099" y="9937"/>
                </a:lnTo>
                <a:lnTo>
                  <a:pt x="6092" y="9972"/>
                </a:lnTo>
                <a:lnTo>
                  <a:pt x="6083" y="10007"/>
                </a:lnTo>
                <a:lnTo>
                  <a:pt x="6074" y="10041"/>
                </a:lnTo>
                <a:lnTo>
                  <a:pt x="6063" y="10075"/>
                </a:lnTo>
                <a:lnTo>
                  <a:pt x="6053" y="10109"/>
                </a:lnTo>
                <a:lnTo>
                  <a:pt x="6041" y="10142"/>
                </a:lnTo>
                <a:lnTo>
                  <a:pt x="6028" y="10175"/>
                </a:lnTo>
                <a:lnTo>
                  <a:pt x="6014" y="10208"/>
                </a:lnTo>
                <a:lnTo>
                  <a:pt x="6001" y="10241"/>
                </a:lnTo>
                <a:lnTo>
                  <a:pt x="5986" y="10273"/>
                </a:lnTo>
                <a:lnTo>
                  <a:pt x="5970" y="10305"/>
                </a:lnTo>
                <a:lnTo>
                  <a:pt x="5953" y="10335"/>
                </a:lnTo>
                <a:lnTo>
                  <a:pt x="5935" y="10366"/>
                </a:lnTo>
                <a:lnTo>
                  <a:pt x="5917" y="10397"/>
                </a:lnTo>
                <a:lnTo>
                  <a:pt x="5898" y="10428"/>
                </a:lnTo>
                <a:lnTo>
                  <a:pt x="5877" y="10458"/>
                </a:lnTo>
                <a:lnTo>
                  <a:pt x="5857" y="10487"/>
                </a:lnTo>
                <a:lnTo>
                  <a:pt x="5835" y="10517"/>
                </a:lnTo>
                <a:lnTo>
                  <a:pt x="5813" y="10546"/>
                </a:lnTo>
                <a:lnTo>
                  <a:pt x="5789" y="10575"/>
                </a:lnTo>
                <a:lnTo>
                  <a:pt x="5766" y="10603"/>
                </a:lnTo>
                <a:lnTo>
                  <a:pt x="5740" y="10632"/>
                </a:lnTo>
                <a:lnTo>
                  <a:pt x="5715" y="10660"/>
                </a:lnTo>
                <a:lnTo>
                  <a:pt x="5688" y="10687"/>
                </a:lnTo>
                <a:lnTo>
                  <a:pt x="5661" y="10714"/>
                </a:lnTo>
                <a:lnTo>
                  <a:pt x="5633" y="10739"/>
                </a:lnTo>
                <a:lnTo>
                  <a:pt x="5606" y="10765"/>
                </a:lnTo>
                <a:lnTo>
                  <a:pt x="5576" y="10790"/>
                </a:lnTo>
                <a:lnTo>
                  <a:pt x="5546" y="10814"/>
                </a:lnTo>
                <a:lnTo>
                  <a:pt x="5516" y="10838"/>
                </a:lnTo>
                <a:lnTo>
                  <a:pt x="5486" y="10860"/>
                </a:lnTo>
                <a:lnTo>
                  <a:pt x="5455" y="10883"/>
                </a:lnTo>
                <a:lnTo>
                  <a:pt x="5422" y="10905"/>
                </a:lnTo>
                <a:lnTo>
                  <a:pt x="5390" y="10925"/>
                </a:lnTo>
                <a:lnTo>
                  <a:pt x="5357" y="10947"/>
                </a:lnTo>
                <a:lnTo>
                  <a:pt x="5323" y="10966"/>
                </a:lnTo>
                <a:lnTo>
                  <a:pt x="5288" y="10985"/>
                </a:lnTo>
                <a:lnTo>
                  <a:pt x="5253" y="11004"/>
                </a:lnTo>
                <a:lnTo>
                  <a:pt x="5218" y="11022"/>
                </a:lnTo>
                <a:lnTo>
                  <a:pt x="5182" y="11039"/>
                </a:lnTo>
                <a:lnTo>
                  <a:pt x="5145" y="11056"/>
                </a:lnTo>
                <a:lnTo>
                  <a:pt x="5108" y="11072"/>
                </a:lnTo>
                <a:lnTo>
                  <a:pt x="5069" y="11087"/>
                </a:lnTo>
                <a:lnTo>
                  <a:pt x="5031" y="11102"/>
                </a:lnTo>
                <a:lnTo>
                  <a:pt x="4992" y="11117"/>
                </a:lnTo>
                <a:lnTo>
                  <a:pt x="4952" y="11130"/>
                </a:lnTo>
                <a:lnTo>
                  <a:pt x="4911" y="11143"/>
                </a:lnTo>
                <a:lnTo>
                  <a:pt x="4871" y="11155"/>
                </a:lnTo>
                <a:lnTo>
                  <a:pt x="4828" y="11167"/>
                </a:lnTo>
                <a:lnTo>
                  <a:pt x="4787" y="11178"/>
                </a:lnTo>
                <a:lnTo>
                  <a:pt x="4743" y="11189"/>
                </a:lnTo>
                <a:lnTo>
                  <a:pt x="4701" y="11199"/>
                </a:lnTo>
                <a:lnTo>
                  <a:pt x="4656" y="11208"/>
                </a:lnTo>
                <a:lnTo>
                  <a:pt x="4612" y="11217"/>
                </a:lnTo>
                <a:lnTo>
                  <a:pt x="4567" y="11225"/>
                </a:lnTo>
                <a:lnTo>
                  <a:pt x="4567" y="16980"/>
                </a:lnTo>
                <a:lnTo>
                  <a:pt x="1510" y="16980"/>
                </a:lnTo>
                <a:lnTo>
                  <a:pt x="1510" y="11225"/>
                </a:lnTo>
                <a:lnTo>
                  <a:pt x="1424" y="11201"/>
                </a:lnTo>
                <a:lnTo>
                  <a:pt x="1340" y="11175"/>
                </a:lnTo>
                <a:lnTo>
                  <a:pt x="1298" y="11161"/>
                </a:lnTo>
                <a:lnTo>
                  <a:pt x="1258" y="11148"/>
                </a:lnTo>
                <a:lnTo>
                  <a:pt x="1218" y="11134"/>
                </a:lnTo>
                <a:lnTo>
                  <a:pt x="1178" y="11120"/>
                </a:lnTo>
                <a:lnTo>
                  <a:pt x="1139" y="11105"/>
                </a:lnTo>
                <a:lnTo>
                  <a:pt x="1101" y="11089"/>
                </a:lnTo>
                <a:lnTo>
                  <a:pt x="1064" y="11074"/>
                </a:lnTo>
                <a:lnTo>
                  <a:pt x="1026" y="11058"/>
                </a:lnTo>
                <a:lnTo>
                  <a:pt x="990" y="11042"/>
                </a:lnTo>
                <a:lnTo>
                  <a:pt x="954" y="11025"/>
                </a:lnTo>
                <a:lnTo>
                  <a:pt x="918" y="11009"/>
                </a:lnTo>
                <a:lnTo>
                  <a:pt x="884" y="10991"/>
                </a:lnTo>
                <a:lnTo>
                  <a:pt x="849" y="10974"/>
                </a:lnTo>
                <a:lnTo>
                  <a:pt x="816" y="10956"/>
                </a:lnTo>
                <a:lnTo>
                  <a:pt x="782" y="10938"/>
                </a:lnTo>
                <a:lnTo>
                  <a:pt x="750" y="10920"/>
                </a:lnTo>
                <a:lnTo>
                  <a:pt x="719" y="10901"/>
                </a:lnTo>
                <a:lnTo>
                  <a:pt x="687" y="10882"/>
                </a:lnTo>
                <a:lnTo>
                  <a:pt x="656" y="10862"/>
                </a:lnTo>
                <a:lnTo>
                  <a:pt x="626" y="10841"/>
                </a:lnTo>
                <a:lnTo>
                  <a:pt x="596" y="10821"/>
                </a:lnTo>
                <a:lnTo>
                  <a:pt x="567" y="10801"/>
                </a:lnTo>
                <a:lnTo>
                  <a:pt x="539" y="10780"/>
                </a:lnTo>
                <a:lnTo>
                  <a:pt x="510" y="10758"/>
                </a:lnTo>
                <a:lnTo>
                  <a:pt x="484" y="10736"/>
                </a:lnTo>
                <a:lnTo>
                  <a:pt x="456" y="10714"/>
                </a:lnTo>
                <a:lnTo>
                  <a:pt x="431" y="10691"/>
                </a:lnTo>
                <a:lnTo>
                  <a:pt x="405" y="10668"/>
                </a:lnTo>
                <a:lnTo>
                  <a:pt x="380" y="10646"/>
                </a:lnTo>
                <a:lnTo>
                  <a:pt x="355" y="10622"/>
                </a:lnTo>
                <a:lnTo>
                  <a:pt x="332" y="10599"/>
                </a:lnTo>
                <a:lnTo>
                  <a:pt x="310" y="10576"/>
                </a:lnTo>
                <a:lnTo>
                  <a:pt x="289" y="10551"/>
                </a:lnTo>
                <a:lnTo>
                  <a:pt x="267" y="10528"/>
                </a:lnTo>
                <a:lnTo>
                  <a:pt x="247" y="10503"/>
                </a:lnTo>
                <a:lnTo>
                  <a:pt x="228" y="10480"/>
                </a:lnTo>
                <a:lnTo>
                  <a:pt x="209" y="10455"/>
                </a:lnTo>
                <a:lnTo>
                  <a:pt x="191" y="10431"/>
                </a:lnTo>
                <a:lnTo>
                  <a:pt x="174" y="10407"/>
                </a:lnTo>
                <a:lnTo>
                  <a:pt x="158" y="10382"/>
                </a:lnTo>
                <a:lnTo>
                  <a:pt x="142" y="10357"/>
                </a:lnTo>
                <a:lnTo>
                  <a:pt x="128" y="10332"/>
                </a:lnTo>
                <a:lnTo>
                  <a:pt x="114" y="10307"/>
                </a:lnTo>
                <a:lnTo>
                  <a:pt x="101" y="10281"/>
                </a:lnTo>
                <a:lnTo>
                  <a:pt x="89" y="10256"/>
                </a:lnTo>
                <a:lnTo>
                  <a:pt x="77" y="10230"/>
                </a:lnTo>
                <a:lnTo>
                  <a:pt x="67" y="10205"/>
                </a:lnTo>
                <a:lnTo>
                  <a:pt x="57" y="10179"/>
                </a:lnTo>
                <a:lnTo>
                  <a:pt x="48" y="10153"/>
                </a:lnTo>
                <a:lnTo>
                  <a:pt x="39" y="10127"/>
                </a:lnTo>
                <a:lnTo>
                  <a:pt x="32" y="10100"/>
                </a:lnTo>
                <a:lnTo>
                  <a:pt x="25" y="10074"/>
                </a:lnTo>
                <a:lnTo>
                  <a:pt x="19" y="10047"/>
                </a:lnTo>
                <a:lnTo>
                  <a:pt x="14" y="10021"/>
                </a:lnTo>
                <a:lnTo>
                  <a:pt x="9" y="9994"/>
                </a:lnTo>
                <a:lnTo>
                  <a:pt x="6" y="9967"/>
                </a:lnTo>
                <a:lnTo>
                  <a:pt x="3" y="9940"/>
                </a:lnTo>
                <a:lnTo>
                  <a:pt x="1" y="9912"/>
                </a:lnTo>
                <a:lnTo>
                  <a:pt x="0" y="9885"/>
                </a:lnTo>
                <a:lnTo>
                  <a:pt x="0" y="9857"/>
                </a:lnTo>
                <a:lnTo>
                  <a:pt x="0" y="5509"/>
                </a:lnTo>
                <a:lnTo>
                  <a:pt x="1" y="5453"/>
                </a:lnTo>
                <a:lnTo>
                  <a:pt x="2" y="5398"/>
                </a:lnTo>
                <a:lnTo>
                  <a:pt x="5" y="5342"/>
                </a:lnTo>
                <a:lnTo>
                  <a:pt x="9" y="5288"/>
                </a:lnTo>
                <a:lnTo>
                  <a:pt x="15" y="5235"/>
                </a:lnTo>
                <a:lnTo>
                  <a:pt x="21" y="5182"/>
                </a:lnTo>
                <a:lnTo>
                  <a:pt x="28" y="5130"/>
                </a:lnTo>
                <a:lnTo>
                  <a:pt x="37" y="5079"/>
                </a:lnTo>
                <a:lnTo>
                  <a:pt x="47" y="5028"/>
                </a:lnTo>
                <a:lnTo>
                  <a:pt x="57" y="4978"/>
                </a:lnTo>
                <a:lnTo>
                  <a:pt x="70" y="4929"/>
                </a:lnTo>
                <a:lnTo>
                  <a:pt x="83" y="4880"/>
                </a:lnTo>
                <a:lnTo>
                  <a:pt x="97" y="4832"/>
                </a:lnTo>
                <a:lnTo>
                  <a:pt x="112" y="4785"/>
                </a:lnTo>
                <a:lnTo>
                  <a:pt x="129" y="4739"/>
                </a:lnTo>
                <a:lnTo>
                  <a:pt x="147" y="4693"/>
                </a:lnTo>
                <a:lnTo>
                  <a:pt x="166" y="4648"/>
                </a:lnTo>
                <a:lnTo>
                  <a:pt x="187" y="4604"/>
                </a:lnTo>
                <a:lnTo>
                  <a:pt x="208" y="4560"/>
                </a:lnTo>
                <a:lnTo>
                  <a:pt x="230" y="4518"/>
                </a:lnTo>
                <a:lnTo>
                  <a:pt x="255" y="4476"/>
                </a:lnTo>
                <a:lnTo>
                  <a:pt x="279" y="4435"/>
                </a:lnTo>
                <a:lnTo>
                  <a:pt x="306" y="4393"/>
                </a:lnTo>
                <a:lnTo>
                  <a:pt x="332" y="4354"/>
                </a:lnTo>
                <a:lnTo>
                  <a:pt x="361" y="4315"/>
                </a:lnTo>
                <a:lnTo>
                  <a:pt x="391" y="4275"/>
                </a:lnTo>
                <a:lnTo>
                  <a:pt x="421" y="4238"/>
                </a:lnTo>
                <a:lnTo>
                  <a:pt x="453" y="4201"/>
                </a:lnTo>
                <a:lnTo>
                  <a:pt x="486" y="4165"/>
                </a:lnTo>
                <a:lnTo>
                  <a:pt x="520" y="4129"/>
                </a:lnTo>
                <a:lnTo>
                  <a:pt x="556" y="4093"/>
                </a:lnTo>
                <a:lnTo>
                  <a:pt x="592" y="4059"/>
                </a:lnTo>
                <a:lnTo>
                  <a:pt x="629" y="4025"/>
                </a:lnTo>
                <a:lnTo>
                  <a:pt x="668" y="3994"/>
                </a:lnTo>
                <a:lnTo>
                  <a:pt x="707" y="3963"/>
                </a:lnTo>
                <a:lnTo>
                  <a:pt x="747" y="3933"/>
                </a:lnTo>
                <a:lnTo>
                  <a:pt x="789" y="3904"/>
                </a:lnTo>
                <a:lnTo>
                  <a:pt x="830" y="3876"/>
                </a:lnTo>
                <a:lnTo>
                  <a:pt x="873" y="3849"/>
                </a:lnTo>
                <a:lnTo>
                  <a:pt x="916" y="3823"/>
                </a:lnTo>
                <a:lnTo>
                  <a:pt x="961" y="3799"/>
                </a:lnTo>
                <a:lnTo>
                  <a:pt x="1005" y="3775"/>
                </a:lnTo>
                <a:lnTo>
                  <a:pt x="1052" y="3752"/>
                </a:lnTo>
                <a:lnTo>
                  <a:pt x="1099" y="3731"/>
                </a:lnTo>
                <a:lnTo>
                  <a:pt x="1146" y="3711"/>
                </a:lnTo>
                <a:lnTo>
                  <a:pt x="1194" y="3691"/>
                </a:lnTo>
                <a:lnTo>
                  <a:pt x="1244" y="3672"/>
                </a:lnTo>
                <a:lnTo>
                  <a:pt x="1294" y="3655"/>
                </a:lnTo>
                <a:lnTo>
                  <a:pt x="1345" y="3640"/>
                </a:lnTo>
                <a:lnTo>
                  <a:pt x="1397" y="3624"/>
                </a:lnTo>
                <a:lnTo>
                  <a:pt x="1450" y="3610"/>
                </a:lnTo>
                <a:lnTo>
                  <a:pt x="1503" y="3597"/>
                </a:lnTo>
                <a:lnTo>
                  <a:pt x="1558" y="3584"/>
                </a:lnTo>
                <a:lnTo>
                  <a:pt x="1614" y="3574"/>
                </a:lnTo>
                <a:lnTo>
                  <a:pt x="1670" y="3564"/>
                </a:lnTo>
                <a:lnTo>
                  <a:pt x="1726" y="3554"/>
                </a:lnTo>
                <a:lnTo>
                  <a:pt x="1785" y="3547"/>
                </a:lnTo>
                <a:lnTo>
                  <a:pt x="1843" y="3540"/>
                </a:lnTo>
                <a:lnTo>
                  <a:pt x="1902" y="3534"/>
                </a:lnTo>
                <a:lnTo>
                  <a:pt x="1963" y="3530"/>
                </a:lnTo>
                <a:lnTo>
                  <a:pt x="2024" y="3526"/>
                </a:lnTo>
                <a:lnTo>
                  <a:pt x="2086" y="3524"/>
                </a:lnTo>
                <a:lnTo>
                  <a:pt x="2149" y="3522"/>
                </a:lnTo>
                <a:lnTo>
                  <a:pt x="2212" y="3522"/>
                </a:lnTo>
                <a:lnTo>
                  <a:pt x="2218" y="3517"/>
                </a:lnTo>
                <a:lnTo>
                  <a:pt x="2224" y="3514"/>
                </a:lnTo>
                <a:lnTo>
                  <a:pt x="2230" y="3513"/>
                </a:lnTo>
                <a:lnTo>
                  <a:pt x="2237" y="3512"/>
                </a:lnTo>
                <a:lnTo>
                  <a:pt x="2243" y="3512"/>
                </a:lnTo>
                <a:lnTo>
                  <a:pt x="2251" y="3512"/>
                </a:lnTo>
                <a:lnTo>
                  <a:pt x="2261" y="3512"/>
                </a:lnTo>
                <a:lnTo>
                  <a:pt x="2274" y="3512"/>
                </a:lnTo>
                <a:lnTo>
                  <a:pt x="2312" y="3514"/>
                </a:lnTo>
                <a:lnTo>
                  <a:pt x="2353" y="3516"/>
                </a:lnTo>
                <a:lnTo>
                  <a:pt x="2393" y="3517"/>
                </a:lnTo>
                <a:lnTo>
                  <a:pt x="2435" y="3519"/>
                </a:lnTo>
                <a:lnTo>
                  <a:pt x="2479" y="3520"/>
                </a:lnTo>
                <a:lnTo>
                  <a:pt x="2522" y="3520"/>
                </a:lnTo>
                <a:lnTo>
                  <a:pt x="2568" y="3522"/>
                </a:lnTo>
                <a:lnTo>
                  <a:pt x="2615" y="3522"/>
                </a:lnTo>
                <a:lnTo>
                  <a:pt x="2616" y="3516"/>
                </a:lnTo>
                <a:lnTo>
                  <a:pt x="2617" y="3511"/>
                </a:lnTo>
                <a:lnTo>
                  <a:pt x="2620" y="3505"/>
                </a:lnTo>
                <a:lnTo>
                  <a:pt x="2623" y="3498"/>
                </a:lnTo>
                <a:lnTo>
                  <a:pt x="2634" y="3483"/>
                </a:lnTo>
                <a:lnTo>
                  <a:pt x="2649" y="3466"/>
                </a:lnTo>
                <a:lnTo>
                  <a:pt x="2663" y="3450"/>
                </a:lnTo>
                <a:lnTo>
                  <a:pt x="2674" y="3439"/>
                </a:lnTo>
                <a:lnTo>
                  <a:pt x="2678" y="3434"/>
                </a:lnTo>
                <a:lnTo>
                  <a:pt x="2683" y="3431"/>
                </a:lnTo>
                <a:lnTo>
                  <a:pt x="2686" y="3430"/>
                </a:lnTo>
                <a:lnTo>
                  <a:pt x="2688" y="3429"/>
                </a:lnTo>
                <a:lnTo>
                  <a:pt x="2651" y="3417"/>
                </a:lnTo>
                <a:lnTo>
                  <a:pt x="2614" y="3406"/>
                </a:lnTo>
                <a:lnTo>
                  <a:pt x="2578" y="3393"/>
                </a:lnTo>
                <a:lnTo>
                  <a:pt x="2542" y="3380"/>
                </a:lnTo>
                <a:lnTo>
                  <a:pt x="2506" y="3366"/>
                </a:lnTo>
                <a:lnTo>
                  <a:pt x="2471" y="3351"/>
                </a:lnTo>
                <a:lnTo>
                  <a:pt x="2436" y="3337"/>
                </a:lnTo>
                <a:lnTo>
                  <a:pt x="2402" y="3322"/>
                </a:lnTo>
                <a:lnTo>
                  <a:pt x="2368" y="3306"/>
                </a:lnTo>
                <a:lnTo>
                  <a:pt x="2336" y="3289"/>
                </a:lnTo>
                <a:lnTo>
                  <a:pt x="2303" y="3272"/>
                </a:lnTo>
                <a:lnTo>
                  <a:pt x="2271" y="3255"/>
                </a:lnTo>
                <a:lnTo>
                  <a:pt x="2239" y="3237"/>
                </a:lnTo>
                <a:lnTo>
                  <a:pt x="2208" y="3218"/>
                </a:lnTo>
                <a:lnTo>
                  <a:pt x="2177" y="3198"/>
                </a:lnTo>
                <a:lnTo>
                  <a:pt x="2147" y="3178"/>
                </a:lnTo>
                <a:lnTo>
                  <a:pt x="2117" y="3158"/>
                </a:lnTo>
                <a:lnTo>
                  <a:pt x="2087" y="3137"/>
                </a:lnTo>
                <a:lnTo>
                  <a:pt x="2058" y="3115"/>
                </a:lnTo>
                <a:lnTo>
                  <a:pt x="2030" y="3093"/>
                </a:lnTo>
                <a:lnTo>
                  <a:pt x="2002" y="3071"/>
                </a:lnTo>
                <a:lnTo>
                  <a:pt x="1975" y="3047"/>
                </a:lnTo>
                <a:lnTo>
                  <a:pt x="1948" y="3024"/>
                </a:lnTo>
                <a:lnTo>
                  <a:pt x="1921" y="3000"/>
                </a:lnTo>
                <a:lnTo>
                  <a:pt x="1895" y="2975"/>
                </a:lnTo>
                <a:lnTo>
                  <a:pt x="1869" y="2950"/>
                </a:lnTo>
                <a:lnTo>
                  <a:pt x="1844" y="2924"/>
                </a:lnTo>
                <a:lnTo>
                  <a:pt x="1820" y="2898"/>
                </a:lnTo>
                <a:lnTo>
                  <a:pt x="1795" y="2871"/>
                </a:lnTo>
                <a:lnTo>
                  <a:pt x="1771" y="2843"/>
                </a:lnTo>
                <a:lnTo>
                  <a:pt x="1747" y="2816"/>
                </a:lnTo>
                <a:lnTo>
                  <a:pt x="1725" y="2787"/>
                </a:lnTo>
                <a:lnTo>
                  <a:pt x="1703" y="2757"/>
                </a:lnTo>
                <a:lnTo>
                  <a:pt x="1682" y="2729"/>
                </a:lnTo>
                <a:lnTo>
                  <a:pt x="1660" y="2699"/>
                </a:lnTo>
                <a:lnTo>
                  <a:pt x="1640" y="2669"/>
                </a:lnTo>
                <a:lnTo>
                  <a:pt x="1621" y="2638"/>
                </a:lnTo>
                <a:lnTo>
                  <a:pt x="1603" y="2608"/>
                </a:lnTo>
                <a:lnTo>
                  <a:pt x="1585" y="2578"/>
                </a:lnTo>
                <a:lnTo>
                  <a:pt x="1568" y="2547"/>
                </a:lnTo>
                <a:lnTo>
                  <a:pt x="1551" y="2516"/>
                </a:lnTo>
                <a:lnTo>
                  <a:pt x="1535" y="2484"/>
                </a:lnTo>
                <a:lnTo>
                  <a:pt x="1520" y="2452"/>
                </a:lnTo>
                <a:lnTo>
                  <a:pt x="1506" y="2420"/>
                </a:lnTo>
                <a:lnTo>
                  <a:pt x="1493" y="2388"/>
                </a:lnTo>
                <a:lnTo>
                  <a:pt x="1479" y="2356"/>
                </a:lnTo>
                <a:lnTo>
                  <a:pt x="1467" y="2324"/>
                </a:lnTo>
                <a:lnTo>
                  <a:pt x="1455" y="2291"/>
                </a:lnTo>
                <a:lnTo>
                  <a:pt x="1445" y="2258"/>
                </a:lnTo>
                <a:lnTo>
                  <a:pt x="1434" y="2225"/>
                </a:lnTo>
                <a:lnTo>
                  <a:pt x="1425" y="2191"/>
                </a:lnTo>
                <a:lnTo>
                  <a:pt x="1416" y="2157"/>
                </a:lnTo>
                <a:lnTo>
                  <a:pt x="1408" y="2123"/>
                </a:lnTo>
                <a:lnTo>
                  <a:pt x="1400" y="2089"/>
                </a:lnTo>
                <a:lnTo>
                  <a:pt x="1394" y="2054"/>
                </a:lnTo>
                <a:lnTo>
                  <a:pt x="1389" y="2018"/>
                </a:lnTo>
                <a:lnTo>
                  <a:pt x="1383" y="1983"/>
                </a:lnTo>
                <a:lnTo>
                  <a:pt x="1378" y="1948"/>
                </a:lnTo>
                <a:lnTo>
                  <a:pt x="1375" y="1912"/>
                </a:lnTo>
                <a:lnTo>
                  <a:pt x="1372" y="1876"/>
                </a:lnTo>
                <a:lnTo>
                  <a:pt x="1368" y="1840"/>
                </a:lnTo>
                <a:lnTo>
                  <a:pt x="1367" y="1804"/>
                </a:lnTo>
                <a:lnTo>
                  <a:pt x="1366" y="1767"/>
                </a:lnTo>
                <a:lnTo>
                  <a:pt x="1365" y="1729"/>
                </a:lnTo>
                <a:lnTo>
                  <a:pt x="1366" y="1686"/>
                </a:lnTo>
                <a:lnTo>
                  <a:pt x="1367" y="1641"/>
                </a:lnTo>
                <a:lnTo>
                  <a:pt x="1370" y="1598"/>
                </a:lnTo>
                <a:lnTo>
                  <a:pt x="1374" y="1555"/>
                </a:lnTo>
                <a:lnTo>
                  <a:pt x="1378" y="1511"/>
                </a:lnTo>
                <a:lnTo>
                  <a:pt x="1383" y="1469"/>
                </a:lnTo>
                <a:lnTo>
                  <a:pt x="1390" y="1427"/>
                </a:lnTo>
                <a:lnTo>
                  <a:pt x="1397" y="1386"/>
                </a:lnTo>
                <a:lnTo>
                  <a:pt x="1405" y="1345"/>
                </a:lnTo>
                <a:lnTo>
                  <a:pt x="1415" y="1304"/>
                </a:lnTo>
                <a:lnTo>
                  <a:pt x="1426" y="1264"/>
                </a:lnTo>
                <a:lnTo>
                  <a:pt x="1437" y="1223"/>
                </a:lnTo>
                <a:lnTo>
                  <a:pt x="1449" y="1184"/>
                </a:lnTo>
                <a:lnTo>
                  <a:pt x="1463" y="1145"/>
                </a:lnTo>
                <a:lnTo>
                  <a:pt x="1477" y="1106"/>
                </a:lnTo>
                <a:lnTo>
                  <a:pt x="1493" y="1068"/>
                </a:lnTo>
                <a:lnTo>
                  <a:pt x="1508" y="1030"/>
                </a:lnTo>
                <a:lnTo>
                  <a:pt x="1527" y="993"/>
                </a:lnTo>
                <a:lnTo>
                  <a:pt x="1545" y="955"/>
                </a:lnTo>
                <a:lnTo>
                  <a:pt x="1564" y="919"/>
                </a:lnTo>
                <a:lnTo>
                  <a:pt x="1585" y="883"/>
                </a:lnTo>
                <a:lnTo>
                  <a:pt x="1606" y="847"/>
                </a:lnTo>
                <a:lnTo>
                  <a:pt x="1628" y="811"/>
                </a:lnTo>
                <a:lnTo>
                  <a:pt x="1652" y="776"/>
                </a:lnTo>
                <a:lnTo>
                  <a:pt x="1676" y="742"/>
                </a:lnTo>
                <a:lnTo>
                  <a:pt x="1702" y="708"/>
                </a:lnTo>
                <a:lnTo>
                  <a:pt x="1728" y="674"/>
                </a:lnTo>
                <a:lnTo>
                  <a:pt x="1756" y="640"/>
                </a:lnTo>
                <a:lnTo>
                  <a:pt x="1783" y="607"/>
                </a:lnTo>
                <a:lnTo>
                  <a:pt x="1813" y="574"/>
                </a:lnTo>
                <a:lnTo>
                  <a:pt x="1844" y="542"/>
                </a:lnTo>
                <a:lnTo>
                  <a:pt x="1875" y="510"/>
                </a:lnTo>
                <a:lnTo>
                  <a:pt x="1907" y="478"/>
                </a:lnTo>
                <a:lnTo>
                  <a:pt x="1940" y="448"/>
                </a:lnTo>
                <a:lnTo>
                  <a:pt x="1971" y="419"/>
                </a:lnTo>
                <a:lnTo>
                  <a:pt x="2005" y="390"/>
                </a:lnTo>
                <a:lnTo>
                  <a:pt x="2038" y="362"/>
                </a:lnTo>
                <a:lnTo>
                  <a:pt x="2072" y="336"/>
                </a:lnTo>
                <a:lnTo>
                  <a:pt x="2106" y="311"/>
                </a:lnTo>
                <a:lnTo>
                  <a:pt x="2141" y="287"/>
                </a:lnTo>
                <a:lnTo>
                  <a:pt x="2176" y="263"/>
                </a:lnTo>
                <a:lnTo>
                  <a:pt x="2211" y="240"/>
                </a:lnTo>
                <a:lnTo>
                  <a:pt x="2247" y="219"/>
                </a:lnTo>
                <a:lnTo>
                  <a:pt x="2284" y="199"/>
                </a:lnTo>
                <a:lnTo>
                  <a:pt x="2320" y="179"/>
                </a:lnTo>
                <a:lnTo>
                  <a:pt x="2357" y="160"/>
                </a:lnTo>
                <a:lnTo>
                  <a:pt x="2395" y="143"/>
                </a:lnTo>
                <a:lnTo>
                  <a:pt x="2432" y="127"/>
                </a:lnTo>
                <a:lnTo>
                  <a:pt x="2470" y="111"/>
                </a:lnTo>
                <a:lnTo>
                  <a:pt x="2510" y="98"/>
                </a:lnTo>
                <a:lnTo>
                  <a:pt x="2549" y="84"/>
                </a:lnTo>
                <a:lnTo>
                  <a:pt x="2588" y="71"/>
                </a:lnTo>
                <a:lnTo>
                  <a:pt x="2628" y="60"/>
                </a:lnTo>
                <a:lnTo>
                  <a:pt x="2668" y="50"/>
                </a:lnTo>
                <a:lnTo>
                  <a:pt x="2709" y="40"/>
                </a:lnTo>
                <a:lnTo>
                  <a:pt x="2750" y="32"/>
                </a:lnTo>
                <a:lnTo>
                  <a:pt x="2791" y="24"/>
                </a:lnTo>
                <a:lnTo>
                  <a:pt x="2833" y="18"/>
                </a:lnTo>
                <a:lnTo>
                  <a:pt x="2876" y="13"/>
                </a:lnTo>
                <a:lnTo>
                  <a:pt x="2918" y="7"/>
                </a:lnTo>
                <a:lnTo>
                  <a:pt x="2962" y="4"/>
                </a:lnTo>
                <a:lnTo>
                  <a:pt x="3005" y="2"/>
                </a:lnTo>
                <a:lnTo>
                  <a:pt x="3049" y="1"/>
                </a:lnTo>
                <a:lnTo>
                  <a:pt x="3094" y="0"/>
                </a:lnTo>
                <a:lnTo>
                  <a:pt x="3138" y="1"/>
                </a:lnTo>
                <a:lnTo>
                  <a:pt x="3183" y="2"/>
                </a:lnTo>
                <a:lnTo>
                  <a:pt x="3226" y="4"/>
                </a:lnTo>
                <a:lnTo>
                  <a:pt x="3270" y="7"/>
                </a:lnTo>
                <a:lnTo>
                  <a:pt x="3312" y="13"/>
                </a:lnTo>
                <a:lnTo>
                  <a:pt x="3356" y="18"/>
                </a:lnTo>
                <a:lnTo>
                  <a:pt x="3397" y="24"/>
                </a:lnTo>
                <a:lnTo>
                  <a:pt x="3440" y="32"/>
                </a:lnTo>
                <a:lnTo>
                  <a:pt x="3481" y="40"/>
                </a:lnTo>
                <a:lnTo>
                  <a:pt x="3521" y="50"/>
                </a:lnTo>
                <a:lnTo>
                  <a:pt x="3563" y="60"/>
                </a:lnTo>
                <a:lnTo>
                  <a:pt x="3602" y="71"/>
                </a:lnTo>
                <a:lnTo>
                  <a:pt x="3643" y="84"/>
                </a:lnTo>
                <a:lnTo>
                  <a:pt x="3682" y="98"/>
                </a:lnTo>
                <a:lnTo>
                  <a:pt x="3721" y="111"/>
                </a:lnTo>
                <a:lnTo>
                  <a:pt x="3759" y="127"/>
                </a:lnTo>
                <a:lnTo>
                  <a:pt x="3798" y="143"/>
                </a:lnTo>
                <a:lnTo>
                  <a:pt x="3835" y="160"/>
                </a:lnTo>
                <a:lnTo>
                  <a:pt x="3873" y="179"/>
                </a:lnTo>
                <a:lnTo>
                  <a:pt x="3909" y="199"/>
                </a:lnTo>
                <a:lnTo>
                  <a:pt x="3946" y="219"/>
                </a:lnTo>
                <a:lnTo>
                  <a:pt x="3982" y="240"/>
                </a:lnTo>
                <a:lnTo>
                  <a:pt x="4017" y="263"/>
                </a:lnTo>
                <a:lnTo>
                  <a:pt x="4053" y="287"/>
                </a:lnTo>
                <a:lnTo>
                  <a:pt x="4088" y="311"/>
                </a:lnTo>
                <a:lnTo>
                  <a:pt x="4122" y="336"/>
                </a:lnTo>
                <a:lnTo>
                  <a:pt x="4156" y="362"/>
                </a:lnTo>
                <a:lnTo>
                  <a:pt x="4190" y="390"/>
                </a:lnTo>
                <a:lnTo>
                  <a:pt x="4223" y="419"/>
                </a:lnTo>
                <a:lnTo>
                  <a:pt x="4256" y="448"/>
                </a:lnTo>
                <a:lnTo>
                  <a:pt x="4289" y="478"/>
                </a:lnTo>
                <a:lnTo>
                  <a:pt x="4321" y="510"/>
                </a:lnTo>
                <a:lnTo>
                  <a:pt x="4353" y="542"/>
                </a:lnTo>
                <a:lnTo>
                  <a:pt x="4383" y="574"/>
                </a:lnTo>
                <a:lnTo>
                  <a:pt x="4412" y="607"/>
                </a:lnTo>
                <a:lnTo>
                  <a:pt x="4440" y="640"/>
                </a:lnTo>
                <a:lnTo>
                  <a:pt x="4467" y="674"/>
                </a:lnTo>
                <a:lnTo>
                  <a:pt x="4493" y="708"/>
                </a:lnTo>
                <a:lnTo>
                  <a:pt x="4518" y="742"/>
                </a:lnTo>
                <a:lnTo>
                  <a:pt x="4543" y="776"/>
                </a:lnTo>
                <a:lnTo>
                  <a:pt x="4566" y="811"/>
                </a:lnTo>
                <a:lnTo>
                  <a:pt x="4588" y="847"/>
                </a:lnTo>
                <a:lnTo>
                  <a:pt x="4610" y="883"/>
                </a:lnTo>
                <a:lnTo>
                  <a:pt x="4630" y="919"/>
                </a:lnTo>
                <a:lnTo>
                  <a:pt x="4649" y="955"/>
                </a:lnTo>
                <a:lnTo>
                  <a:pt x="4667" y="993"/>
                </a:lnTo>
                <a:lnTo>
                  <a:pt x="4685" y="1030"/>
                </a:lnTo>
                <a:lnTo>
                  <a:pt x="4701" y="1068"/>
                </a:lnTo>
                <a:lnTo>
                  <a:pt x="4716" y="1106"/>
                </a:lnTo>
                <a:lnTo>
                  <a:pt x="4731" y="1145"/>
                </a:lnTo>
                <a:lnTo>
                  <a:pt x="4745" y="1184"/>
                </a:lnTo>
                <a:lnTo>
                  <a:pt x="4756" y="1223"/>
                </a:lnTo>
                <a:lnTo>
                  <a:pt x="4768" y="1264"/>
                </a:lnTo>
                <a:lnTo>
                  <a:pt x="4779" y="1304"/>
                </a:lnTo>
                <a:lnTo>
                  <a:pt x="4788" y="1345"/>
                </a:lnTo>
                <a:lnTo>
                  <a:pt x="4797" y="1386"/>
                </a:lnTo>
                <a:lnTo>
                  <a:pt x="4803" y="1427"/>
                </a:lnTo>
                <a:lnTo>
                  <a:pt x="4810" y="1469"/>
                </a:lnTo>
                <a:lnTo>
                  <a:pt x="4816" y="1511"/>
                </a:lnTo>
                <a:lnTo>
                  <a:pt x="4820" y="1555"/>
                </a:lnTo>
                <a:lnTo>
                  <a:pt x="4823" y="1598"/>
                </a:lnTo>
                <a:lnTo>
                  <a:pt x="4825" y="1641"/>
                </a:lnTo>
                <a:lnTo>
                  <a:pt x="4827" y="1686"/>
                </a:lnTo>
                <a:lnTo>
                  <a:pt x="4827" y="1729"/>
                </a:lnTo>
                <a:lnTo>
                  <a:pt x="4827" y="1768"/>
                </a:lnTo>
                <a:lnTo>
                  <a:pt x="4826" y="1806"/>
                </a:lnTo>
                <a:lnTo>
                  <a:pt x="4824" y="1843"/>
                </a:lnTo>
                <a:lnTo>
                  <a:pt x="4822" y="1880"/>
                </a:lnTo>
                <a:lnTo>
                  <a:pt x="4818" y="1917"/>
                </a:lnTo>
                <a:lnTo>
                  <a:pt x="4814" y="1954"/>
                </a:lnTo>
                <a:lnTo>
                  <a:pt x="4808" y="1990"/>
                </a:lnTo>
                <a:lnTo>
                  <a:pt x="4803" y="2027"/>
                </a:lnTo>
                <a:lnTo>
                  <a:pt x="4797" y="2062"/>
                </a:lnTo>
                <a:lnTo>
                  <a:pt x="4789" y="2098"/>
                </a:lnTo>
                <a:lnTo>
                  <a:pt x="4781" y="2134"/>
                </a:lnTo>
                <a:lnTo>
                  <a:pt x="4772" y="2169"/>
                </a:lnTo>
                <a:lnTo>
                  <a:pt x="4763" y="2204"/>
                </a:lnTo>
                <a:lnTo>
                  <a:pt x="4752" y="2240"/>
                </a:lnTo>
                <a:lnTo>
                  <a:pt x="4740" y="2274"/>
                </a:lnTo>
                <a:lnTo>
                  <a:pt x="4729" y="2308"/>
                </a:lnTo>
                <a:lnTo>
                  <a:pt x="4716" y="2342"/>
                </a:lnTo>
                <a:lnTo>
                  <a:pt x="4702" y="2376"/>
                </a:lnTo>
                <a:lnTo>
                  <a:pt x="4688" y="2410"/>
                </a:lnTo>
                <a:lnTo>
                  <a:pt x="4673" y="2443"/>
                </a:lnTo>
                <a:lnTo>
                  <a:pt x="4657" y="2476"/>
                </a:lnTo>
                <a:lnTo>
                  <a:pt x="4641" y="2508"/>
                </a:lnTo>
                <a:lnTo>
                  <a:pt x="4624" y="2541"/>
                </a:lnTo>
                <a:lnTo>
                  <a:pt x="4605" y="2573"/>
                </a:lnTo>
                <a:lnTo>
                  <a:pt x="4586" y="2606"/>
                </a:lnTo>
                <a:lnTo>
                  <a:pt x="4566" y="2638"/>
                </a:lnTo>
                <a:lnTo>
                  <a:pt x="4546" y="2669"/>
                </a:lnTo>
                <a:lnTo>
                  <a:pt x="4525" y="2701"/>
                </a:lnTo>
                <a:lnTo>
                  <a:pt x="4502" y="2732"/>
                </a:lnTo>
                <a:lnTo>
                  <a:pt x="4480" y="2763"/>
                </a:lnTo>
                <a:lnTo>
                  <a:pt x="4456" y="2793"/>
                </a:lnTo>
                <a:lnTo>
                  <a:pt x="4431" y="2824"/>
                </a:lnTo>
                <a:lnTo>
                  <a:pt x="4407" y="2853"/>
                </a:lnTo>
                <a:lnTo>
                  <a:pt x="4381" y="2883"/>
                </a:lnTo>
                <a:lnTo>
                  <a:pt x="4356" y="2910"/>
                </a:lnTo>
                <a:lnTo>
                  <a:pt x="4329" y="2938"/>
                </a:lnTo>
                <a:lnTo>
                  <a:pt x="4303" y="2965"/>
                </a:lnTo>
                <a:lnTo>
                  <a:pt x="4276" y="2991"/>
                </a:lnTo>
                <a:lnTo>
                  <a:pt x="4249" y="3017"/>
                </a:lnTo>
                <a:lnTo>
                  <a:pt x="4220" y="3041"/>
                </a:lnTo>
                <a:lnTo>
                  <a:pt x="4192" y="3066"/>
                </a:lnTo>
                <a:lnTo>
                  <a:pt x="4164" y="3089"/>
                </a:lnTo>
                <a:lnTo>
                  <a:pt x="4134" y="3112"/>
                </a:lnTo>
                <a:lnTo>
                  <a:pt x="4105" y="3134"/>
                </a:lnTo>
                <a:lnTo>
                  <a:pt x="4075" y="3155"/>
                </a:lnTo>
                <a:lnTo>
                  <a:pt x="4045" y="3176"/>
                </a:lnTo>
                <a:lnTo>
                  <a:pt x="4014" y="3196"/>
                </a:lnTo>
                <a:lnTo>
                  <a:pt x="3982" y="3215"/>
                </a:lnTo>
                <a:lnTo>
                  <a:pt x="3950" y="3233"/>
                </a:lnTo>
                <a:lnTo>
                  <a:pt x="3919" y="3252"/>
                </a:lnTo>
                <a:lnTo>
                  <a:pt x="3887" y="3269"/>
                </a:lnTo>
                <a:lnTo>
                  <a:pt x="3854" y="3286"/>
                </a:lnTo>
                <a:lnTo>
                  <a:pt x="3820" y="3301"/>
                </a:lnTo>
                <a:lnTo>
                  <a:pt x="3786" y="3316"/>
                </a:lnTo>
                <a:lnTo>
                  <a:pt x="3752" y="3331"/>
                </a:lnTo>
                <a:lnTo>
                  <a:pt x="3718" y="3344"/>
                </a:lnTo>
                <a:lnTo>
                  <a:pt x="3683" y="3358"/>
                </a:lnTo>
                <a:lnTo>
                  <a:pt x="3647" y="3370"/>
                </a:lnTo>
                <a:lnTo>
                  <a:pt x="3611" y="3381"/>
                </a:lnTo>
                <a:lnTo>
                  <a:pt x="3575" y="3393"/>
                </a:lnTo>
                <a:lnTo>
                  <a:pt x="3538" y="3402"/>
                </a:lnTo>
                <a:lnTo>
                  <a:pt x="3500" y="3412"/>
                </a:lnTo>
                <a:lnTo>
                  <a:pt x="3463" y="3421"/>
                </a:lnTo>
                <a:lnTo>
                  <a:pt x="3425" y="3429"/>
                </a:lnTo>
                <a:lnTo>
                  <a:pt x="3438" y="3443"/>
                </a:lnTo>
                <a:lnTo>
                  <a:pt x="3449" y="3456"/>
                </a:lnTo>
                <a:lnTo>
                  <a:pt x="3459" y="3468"/>
                </a:lnTo>
                <a:lnTo>
                  <a:pt x="3466" y="3480"/>
                </a:lnTo>
                <a:lnTo>
                  <a:pt x="3473" y="3491"/>
                </a:lnTo>
                <a:lnTo>
                  <a:pt x="3477" y="3501"/>
                </a:lnTo>
                <a:lnTo>
                  <a:pt x="3479" y="3512"/>
                </a:lnTo>
                <a:lnTo>
                  <a:pt x="3480" y="3522"/>
                </a:lnTo>
                <a:close/>
              </a:path>
            </a:pathLst>
          </a:custGeom>
          <a:gradFill flip="none" rotWithShape="1">
            <a:gsLst>
              <a:gs pos="0">
                <a:schemeClr val="accent2"/>
              </a:gs>
              <a:gs pos="74000">
                <a:schemeClr val="accent1">
                  <a:lumMod val="45000"/>
                  <a:lumOff val="55000"/>
                </a:schemeClr>
              </a:gs>
              <a:gs pos="83000">
                <a:schemeClr val="accent1">
                  <a:lumMod val="45000"/>
                  <a:lumOff val="55000"/>
                </a:schemeClr>
              </a:gs>
              <a:gs pos="100000">
                <a:schemeClr val="accent1">
                  <a:lumMod val="30000"/>
                  <a:lumOff val="70000"/>
                </a:schemeClr>
              </a:gs>
            </a:gsLst>
            <a:lin ang="0" scaled="1"/>
            <a:tileRect/>
          </a:gradFill>
          <a:ln w="9525">
            <a:noFill/>
            <a:round/>
            <a:headEnd/>
            <a:tailEnd/>
          </a:ln>
        </p:spPr>
        <p:txBody>
          <a:bodyPr/>
          <a:lstStyle/>
          <a:p>
            <a:pPr marL="0" marR="0" lvl="0" indent="0" algn="l" defTabSz="674255" rtl="0" eaLnBrk="1" fontAlgn="auto" latinLnBrk="0" hangingPunct="1">
              <a:lnSpc>
                <a:spcPct val="100000"/>
              </a:lnSpc>
              <a:spcBef>
                <a:spcPts val="0"/>
              </a:spcBef>
              <a:spcAft>
                <a:spcPts val="0"/>
              </a:spcAft>
              <a:buClrTx/>
              <a:buSzTx/>
              <a:buFontTx/>
              <a:buNone/>
              <a:tabLst/>
              <a:defRPr/>
            </a:pPr>
            <a:endParaRPr kumimoji="0" lang="en-GB" sz="1589"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 name="Freeform 14">
            <a:extLst>
              <a:ext uri="{FF2B5EF4-FFF2-40B4-BE49-F238E27FC236}">
                <a16:creationId xmlns:a16="http://schemas.microsoft.com/office/drawing/2014/main" id="{04C5A7AD-2626-49F8-AAC6-AAA71BFC5657}"/>
              </a:ext>
            </a:extLst>
          </p:cNvPr>
          <p:cNvSpPr>
            <a:spLocks/>
          </p:cNvSpPr>
          <p:nvPr/>
        </p:nvSpPr>
        <p:spPr bwMode="auto">
          <a:xfrm>
            <a:off x="2790272" y="4835747"/>
            <a:ext cx="197037" cy="470851"/>
          </a:xfrm>
          <a:custGeom>
            <a:avLst/>
            <a:gdLst>
              <a:gd name="T0" fmla="*/ 13344091 w 6132"/>
              <a:gd name="T1" fmla="*/ 10441401 h 16980"/>
              <a:gd name="T2" fmla="*/ 14439013 w 6132"/>
              <a:gd name="T3" fmla="*/ 10808942 h 16980"/>
              <a:gd name="T4" fmla="*/ 15478309 w 6132"/>
              <a:gd name="T5" fmla="*/ 11467619 h 16980"/>
              <a:gd name="T6" fmla="*/ 16450295 w 6132"/>
              <a:gd name="T7" fmla="*/ 12408541 h 16980"/>
              <a:gd name="T8" fmla="*/ 17214401 w 6132"/>
              <a:gd name="T9" fmla="*/ 13481773 h 16980"/>
              <a:gd name="T10" fmla="*/ 17709159 w 6132"/>
              <a:gd name="T11" fmla="*/ 14605004 h 16980"/>
              <a:gd name="T12" fmla="*/ 17937493 w 6132"/>
              <a:gd name="T13" fmla="*/ 15789994 h 16980"/>
              <a:gd name="T14" fmla="*/ 17922884 w 6132"/>
              <a:gd name="T15" fmla="*/ 28795453 h 16980"/>
              <a:gd name="T16" fmla="*/ 17720901 w 6132"/>
              <a:gd name="T17" fmla="*/ 29724608 h 16980"/>
              <a:gd name="T18" fmla="*/ 17322724 w 6132"/>
              <a:gd name="T19" fmla="*/ 30571448 h 16980"/>
              <a:gd name="T20" fmla="*/ 16731329 w 6132"/>
              <a:gd name="T21" fmla="*/ 31344758 h 16980"/>
              <a:gd name="T22" fmla="*/ 15970146 w 6132"/>
              <a:gd name="T23" fmla="*/ 32000508 h 16980"/>
              <a:gd name="T24" fmla="*/ 15062602 w 6132"/>
              <a:gd name="T25" fmla="*/ 32509198 h 16980"/>
              <a:gd name="T26" fmla="*/ 14014483 w 6132"/>
              <a:gd name="T27" fmla="*/ 32867899 h 16980"/>
              <a:gd name="T28" fmla="*/ 4168927 w 6132"/>
              <a:gd name="T29" fmla="*/ 32935519 h 16980"/>
              <a:gd name="T30" fmla="*/ 3003722 w 6132"/>
              <a:gd name="T31" fmla="*/ 32515054 h 16980"/>
              <a:gd name="T32" fmla="*/ 2104943 w 6132"/>
              <a:gd name="T33" fmla="*/ 32053432 h 16980"/>
              <a:gd name="T34" fmla="*/ 1334994 w 6132"/>
              <a:gd name="T35" fmla="*/ 31503585 h 16980"/>
              <a:gd name="T36" fmla="*/ 723146 w 6132"/>
              <a:gd name="T37" fmla="*/ 30883136 h 16980"/>
              <a:gd name="T38" fmla="*/ 295697 w 6132"/>
              <a:gd name="T39" fmla="*/ 30230369 h 16980"/>
              <a:gd name="T40" fmla="*/ 55622 w 6132"/>
              <a:gd name="T41" fmla="*/ 29542302 h 16980"/>
              <a:gd name="T42" fmla="*/ 2922 w 6132"/>
              <a:gd name="T43" fmla="*/ 16034064 h 16980"/>
              <a:gd name="T44" fmla="*/ 166867 w 6132"/>
              <a:gd name="T45" fmla="*/ 14637376 h 16980"/>
              <a:gd name="T46" fmla="*/ 608925 w 6132"/>
              <a:gd name="T47" fmla="*/ 13408297 h 16980"/>
              <a:gd name="T48" fmla="*/ 1326228 w 6132"/>
              <a:gd name="T49" fmla="*/ 12352689 h 16980"/>
              <a:gd name="T50" fmla="*/ 2309902 w 6132"/>
              <a:gd name="T51" fmla="*/ 11479386 h 16980"/>
              <a:gd name="T52" fmla="*/ 3495559 w 6132"/>
              <a:gd name="T53" fmla="*/ 10853081 h 16980"/>
              <a:gd name="T54" fmla="*/ 4889097 w 6132"/>
              <a:gd name="T55" fmla="*/ 10479630 h 16980"/>
              <a:gd name="T56" fmla="*/ 6475906 w 6132"/>
              <a:gd name="T57" fmla="*/ 10356104 h 16980"/>
              <a:gd name="T58" fmla="*/ 6768627 w 6132"/>
              <a:gd name="T59" fmla="*/ 10332625 h 16980"/>
              <a:gd name="T60" fmla="*/ 7661564 w 6132"/>
              <a:gd name="T61" fmla="*/ 10323786 h 16980"/>
              <a:gd name="T62" fmla="*/ 7863602 w 6132"/>
              <a:gd name="T63" fmla="*/ 10085627 h 16980"/>
              <a:gd name="T64" fmla="*/ 7032131 w 6132"/>
              <a:gd name="T65" fmla="*/ 9768029 h 16980"/>
              <a:gd name="T66" fmla="*/ 6197794 w 6132"/>
              <a:gd name="T67" fmla="*/ 9285801 h 16980"/>
              <a:gd name="T68" fmla="*/ 5471726 w 6132"/>
              <a:gd name="T69" fmla="*/ 8674191 h 16980"/>
              <a:gd name="T70" fmla="*/ 4859825 w 6132"/>
              <a:gd name="T71" fmla="*/ 7936181 h 16980"/>
              <a:gd name="T72" fmla="*/ 4409002 w 6132"/>
              <a:gd name="T73" fmla="*/ 7115803 h 16980"/>
              <a:gd name="T74" fmla="*/ 4122070 w 6132"/>
              <a:gd name="T75" fmla="*/ 6242499 h 16980"/>
              <a:gd name="T76" fmla="*/ 4002059 w 6132"/>
              <a:gd name="T77" fmla="*/ 5304506 h 16980"/>
              <a:gd name="T78" fmla="*/ 4069369 w 6132"/>
              <a:gd name="T79" fmla="*/ 4195974 h 16980"/>
              <a:gd name="T80" fmla="*/ 4370910 w 6132"/>
              <a:gd name="T81" fmla="*/ 3140364 h 16980"/>
              <a:gd name="T82" fmla="*/ 4906682 w 6132"/>
              <a:gd name="T83" fmla="*/ 2181765 h 16980"/>
              <a:gd name="T84" fmla="*/ 5679553 w 6132"/>
              <a:gd name="T85" fmla="*/ 1317301 h 16980"/>
              <a:gd name="T86" fmla="*/ 6578332 w 6132"/>
              <a:gd name="T87" fmla="*/ 643928 h 16980"/>
              <a:gd name="T88" fmla="*/ 7576670 w 6132"/>
              <a:gd name="T89" fmla="*/ 208768 h 16980"/>
              <a:gd name="T90" fmla="*/ 8671588 w 6132"/>
              <a:gd name="T91" fmla="*/ 11767 h 16980"/>
              <a:gd name="T92" fmla="*/ 9825105 w 6132"/>
              <a:gd name="T93" fmla="*/ 52924 h 16980"/>
              <a:gd name="T94" fmla="*/ 10893673 w 6132"/>
              <a:gd name="T95" fmla="*/ 326384 h 16980"/>
              <a:gd name="T96" fmla="*/ 11865659 w 6132"/>
              <a:gd name="T97" fmla="*/ 843912 h 16980"/>
              <a:gd name="T98" fmla="*/ 12743931 w 6132"/>
              <a:gd name="T99" fmla="*/ 1593689 h 16980"/>
              <a:gd name="T100" fmla="*/ 13431908 w 6132"/>
              <a:gd name="T101" fmla="*/ 2490525 h 16980"/>
              <a:gd name="T102" fmla="*/ 13891551 w 6132"/>
              <a:gd name="T103" fmla="*/ 3481443 h 16980"/>
              <a:gd name="T104" fmla="*/ 14111119 w 6132"/>
              <a:gd name="T105" fmla="*/ 4572353 h 16980"/>
              <a:gd name="T106" fmla="*/ 14105275 w 6132"/>
              <a:gd name="T107" fmla="*/ 5636746 h 16980"/>
              <a:gd name="T108" fmla="*/ 13912057 w 6132"/>
              <a:gd name="T109" fmla="*/ 6586506 h 16980"/>
              <a:gd name="T110" fmla="*/ 13537309 w 6132"/>
              <a:gd name="T111" fmla="*/ 7471577 h 16980"/>
              <a:gd name="T112" fmla="*/ 12972265 w 6132"/>
              <a:gd name="T113" fmla="*/ 8303722 h 16980"/>
              <a:gd name="T114" fmla="*/ 12272601 w 6132"/>
              <a:gd name="T115" fmla="*/ 9015324 h 16980"/>
              <a:gd name="T116" fmla="*/ 11473326 w 6132"/>
              <a:gd name="T117" fmla="*/ 9562188 h 16980"/>
              <a:gd name="T118" fmla="*/ 10571626 w 6132"/>
              <a:gd name="T119" fmla="*/ 9941550 h 16980"/>
              <a:gd name="T120" fmla="*/ 10147098 w 6132"/>
              <a:gd name="T121" fmla="*/ 10232633 h 1698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6132"/>
              <a:gd name="T184" fmla="*/ 0 h 16980"/>
              <a:gd name="T185" fmla="*/ 6132 w 6132"/>
              <a:gd name="T186" fmla="*/ 16980 h 16980"/>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6132" h="16980">
                <a:moveTo>
                  <a:pt x="3480" y="3522"/>
                </a:moveTo>
                <a:lnTo>
                  <a:pt x="4254" y="3522"/>
                </a:lnTo>
                <a:lnTo>
                  <a:pt x="4298" y="3522"/>
                </a:lnTo>
                <a:lnTo>
                  <a:pt x="4342" y="3524"/>
                </a:lnTo>
                <a:lnTo>
                  <a:pt x="4386" y="3527"/>
                </a:lnTo>
                <a:lnTo>
                  <a:pt x="4429" y="3531"/>
                </a:lnTo>
                <a:lnTo>
                  <a:pt x="4473" y="3536"/>
                </a:lnTo>
                <a:lnTo>
                  <a:pt x="4515" y="3543"/>
                </a:lnTo>
                <a:lnTo>
                  <a:pt x="4558" y="3551"/>
                </a:lnTo>
                <a:lnTo>
                  <a:pt x="4601" y="3560"/>
                </a:lnTo>
                <a:lnTo>
                  <a:pt x="4643" y="3570"/>
                </a:lnTo>
                <a:lnTo>
                  <a:pt x="4685" y="3582"/>
                </a:lnTo>
                <a:lnTo>
                  <a:pt x="4727" y="3595"/>
                </a:lnTo>
                <a:lnTo>
                  <a:pt x="4769" y="3609"/>
                </a:lnTo>
                <a:lnTo>
                  <a:pt x="4809" y="3624"/>
                </a:lnTo>
                <a:lnTo>
                  <a:pt x="4851" y="3640"/>
                </a:lnTo>
                <a:lnTo>
                  <a:pt x="4892" y="3658"/>
                </a:lnTo>
                <a:lnTo>
                  <a:pt x="4932" y="3676"/>
                </a:lnTo>
                <a:lnTo>
                  <a:pt x="4973" y="3696"/>
                </a:lnTo>
                <a:lnTo>
                  <a:pt x="5013" y="3717"/>
                </a:lnTo>
                <a:lnTo>
                  <a:pt x="5052" y="3739"/>
                </a:lnTo>
                <a:lnTo>
                  <a:pt x="5093" y="3763"/>
                </a:lnTo>
                <a:lnTo>
                  <a:pt x="5132" y="3788"/>
                </a:lnTo>
                <a:lnTo>
                  <a:pt x="5171" y="3814"/>
                </a:lnTo>
                <a:lnTo>
                  <a:pt x="5210" y="3842"/>
                </a:lnTo>
                <a:lnTo>
                  <a:pt x="5249" y="3870"/>
                </a:lnTo>
                <a:lnTo>
                  <a:pt x="5287" y="3900"/>
                </a:lnTo>
                <a:lnTo>
                  <a:pt x="5325" y="3931"/>
                </a:lnTo>
                <a:lnTo>
                  <a:pt x="5364" y="3963"/>
                </a:lnTo>
                <a:lnTo>
                  <a:pt x="5401" y="3997"/>
                </a:lnTo>
                <a:lnTo>
                  <a:pt x="5438" y="4031"/>
                </a:lnTo>
                <a:lnTo>
                  <a:pt x="5475" y="4067"/>
                </a:lnTo>
                <a:lnTo>
                  <a:pt x="5512" y="4104"/>
                </a:lnTo>
                <a:lnTo>
                  <a:pt x="5549" y="4142"/>
                </a:lnTo>
                <a:lnTo>
                  <a:pt x="5584" y="4181"/>
                </a:lnTo>
                <a:lnTo>
                  <a:pt x="5619" y="4220"/>
                </a:lnTo>
                <a:lnTo>
                  <a:pt x="5652" y="4260"/>
                </a:lnTo>
                <a:lnTo>
                  <a:pt x="5685" y="4300"/>
                </a:lnTo>
                <a:lnTo>
                  <a:pt x="5716" y="4339"/>
                </a:lnTo>
                <a:lnTo>
                  <a:pt x="5747" y="4379"/>
                </a:lnTo>
                <a:lnTo>
                  <a:pt x="5775" y="4420"/>
                </a:lnTo>
                <a:lnTo>
                  <a:pt x="5803" y="4460"/>
                </a:lnTo>
                <a:lnTo>
                  <a:pt x="5830" y="4502"/>
                </a:lnTo>
                <a:lnTo>
                  <a:pt x="5855" y="4543"/>
                </a:lnTo>
                <a:lnTo>
                  <a:pt x="5880" y="4585"/>
                </a:lnTo>
                <a:lnTo>
                  <a:pt x="5904" y="4626"/>
                </a:lnTo>
                <a:lnTo>
                  <a:pt x="5925" y="4667"/>
                </a:lnTo>
                <a:lnTo>
                  <a:pt x="5946" y="4710"/>
                </a:lnTo>
                <a:lnTo>
                  <a:pt x="5967" y="4752"/>
                </a:lnTo>
                <a:lnTo>
                  <a:pt x="5986" y="4795"/>
                </a:lnTo>
                <a:lnTo>
                  <a:pt x="6004" y="4838"/>
                </a:lnTo>
                <a:lnTo>
                  <a:pt x="6020" y="4880"/>
                </a:lnTo>
                <a:lnTo>
                  <a:pt x="6036" y="4924"/>
                </a:lnTo>
                <a:lnTo>
                  <a:pt x="6049" y="4967"/>
                </a:lnTo>
                <a:lnTo>
                  <a:pt x="6063" y="5011"/>
                </a:lnTo>
                <a:lnTo>
                  <a:pt x="6075" y="5055"/>
                </a:lnTo>
                <a:lnTo>
                  <a:pt x="6085" y="5100"/>
                </a:lnTo>
                <a:lnTo>
                  <a:pt x="6095" y="5144"/>
                </a:lnTo>
                <a:lnTo>
                  <a:pt x="6104" y="5189"/>
                </a:lnTo>
                <a:lnTo>
                  <a:pt x="6111" y="5234"/>
                </a:lnTo>
                <a:lnTo>
                  <a:pt x="6117" y="5280"/>
                </a:lnTo>
                <a:lnTo>
                  <a:pt x="6123" y="5324"/>
                </a:lnTo>
                <a:lnTo>
                  <a:pt x="6127" y="5370"/>
                </a:lnTo>
                <a:lnTo>
                  <a:pt x="6130" y="5417"/>
                </a:lnTo>
                <a:lnTo>
                  <a:pt x="6131" y="5463"/>
                </a:lnTo>
                <a:lnTo>
                  <a:pt x="6132" y="5509"/>
                </a:lnTo>
                <a:lnTo>
                  <a:pt x="6132" y="9605"/>
                </a:lnTo>
                <a:lnTo>
                  <a:pt x="6132" y="9643"/>
                </a:lnTo>
                <a:lnTo>
                  <a:pt x="6130" y="9682"/>
                </a:lnTo>
                <a:lnTo>
                  <a:pt x="6129" y="9719"/>
                </a:lnTo>
                <a:lnTo>
                  <a:pt x="6126" y="9756"/>
                </a:lnTo>
                <a:lnTo>
                  <a:pt x="6122" y="9793"/>
                </a:lnTo>
                <a:lnTo>
                  <a:pt x="6117" y="9829"/>
                </a:lnTo>
                <a:lnTo>
                  <a:pt x="6112" y="9866"/>
                </a:lnTo>
                <a:lnTo>
                  <a:pt x="6107" y="9901"/>
                </a:lnTo>
                <a:lnTo>
                  <a:pt x="6099" y="9937"/>
                </a:lnTo>
                <a:lnTo>
                  <a:pt x="6092" y="9972"/>
                </a:lnTo>
                <a:lnTo>
                  <a:pt x="6083" y="10007"/>
                </a:lnTo>
                <a:lnTo>
                  <a:pt x="6074" y="10041"/>
                </a:lnTo>
                <a:lnTo>
                  <a:pt x="6063" y="10075"/>
                </a:lnTo>
                <a:lnTo>
                  <a:pt x="6053" y="10109"/>
                </a:lnTo>
                <a:lnTo>
                  <a:pt x="6041" y="10142"/>
                </a:lnTo>
                <a:lnTo>
                  <a:pt x="6028" y="10175"/>
                </a:lnTo>
                <a:lnTo>
                  <a:pt x="6014" y="10208"/>
                </a:lnTo>
                <a:lnTo>
                  <a:pt x="6001" y="10241"/>
                </a:lnTo>
                <a:lnTo>
                  <a:pt x="5986" y="10273"/>
                </a:lnTo>
                <a:lnTo>
                  <a:pt x="5970" y="10305"/>
                </a:lnTo>
                <a:lnTo>
                  <a:pt x="5953" y="10335"/>
                </a:lnTo>
                <a:lnTo>
                  <a:pt x="5935" y="10366"/>
                </a:lnTo>
                <a:lnTo>
                  <a:pt x="5917" y="10397"/>
                </a:lnTo>
                <a:lnTo>
                  <a:pt x="5898" y="10428"/>
                </a:lnTo>
                <a:lnTo>
                  <a:pt x="5877" y="10458"/>
                </a:lnTo>
                <a:lnTo>
                  <a:pt x="5857" y="10487"/>
                </a:lnTo>
                <a:lnTo>
                  <a:pt x="5835" y="10517"/>
                </a:lnTo>
                <a:lnTo>
                  <a:pt x="5813" y="10546"/>
                </a:lnTo>
                <a:lnTo>
                  <a:pt x="5789" y="10575"/>
                </a:lnTo>
                <a:lnTo>
                  <a:pt x="5766" y="10603"/>
                </a:lnTo>
                <a:lnTo>
                  <a:pt x="5740" y="10632"/>
                </a:lnTo>
                <a:lnTo>
                  <a:pt x="5715" y="10660"/>
                </a:lnTo>
                <a:lnTo>
                  <a:pt x="5688" y="10687"/>
                </a:lnTo>
                <a:lnTo>
                  <a:pt x="5661" y="10714"/>
                </a:lnTo>
                <a:lnTo>
                  <a:pt x="5633" y="10739"/>
                </a:lnTo>
                <a:lnTo>
                  <a:pt x="5606" y="10765"/>
                </a:lnTo>
                <a:lnTo>
                  <a:pt x="5576" y="10790"/>
                </a:lnTo>
                <a:lnTo>
                  <a:pt x="5546" y="10814"/>
                </a:lnTo>
                <a:lnTo>
                  <a:pt x="5516" y="10838"/>
                </a:lnTo>
                <a:lnTo>
                  <a:pt x="5486" y="10860"/>
                </a:lnTo>
                <a:lnTo>
                  <a:pt x="5455" y="10883"/>
                </a:lnTo>
                <a:lnTo>
                  <a:pt x="5422" y="10905"/>
                </a:lnTo>
                <a:lnTo>
                  <a:pt x="5390" y="10925"/>
                </a:lnTo>
                <a:lnTo>
                  <a:pt x="5357" y="10947"/>
                </a:lnTo>
                <a:lnTo>
                  <a:pt x="5323" y="10966"/>
                </a:lnTo>
                <a:lnTo>
                  <a:pt x="5288" y="10985"/>
                </a:lnTo>
                <a:lnTo>
                  <a:pt x="5253" y="11004"/>
                </a:lnTo>
                <a:lnTo>
                  <a:pt x="5218" y="11022"/>
                </a:lnTo>
                <a:lnTo>
                  <a:pt x="5182" y="11039"/>
                </a:lnTo>
                <a:lnTo>
                  <a:pt x="5145" y="11056"/>
                </a:lnTo>
                <a:lnTo>
                  <a:pt x="5108" y="11072"/>
                </a:lnTo>
                <a:lnTo>
                  <a:pt x="5069" y="11087"/>
                </a:lnTo>
                <a:lnTo>
                  <a:pt x="5031" y="11102"/>
                </a:lnTo>
                <a:lnTo>
                  <a:pt x="4992" y="11117"/>
                </a:lnTo>
                <a:lnTo>
                  <a:pt x="4952" y="11130"/>
                </a:lnTo>
                <a:lnTo>
                  <a:pt x="4911" y="11143"/>
                </a:lnTo>
                <a:lnTo>
                  <a:pt x="4871" y="11155"/>
                </a:lnTo>
                <a:lnTo>
                  <a:pt x="4828" y="11167"/>
                </a:lnTo>
                <a:lnTo>
                  <a:pt x="4787" y="11178"/>
                </a:lnTo>
                <a:lnTo>
                  <a:pt x="4743" y="11189"/>
                </a:lnTo>
                <a:lnTo>
                  <a:pt x="4701" y="11199"/>
                </a:lnTo>
                <a:lnTo>
                  <a:pt x="4656" y="11208"/>
                </a:lnTo>
                <a:lnTo>
                  <a:pt x="4612" y="11217"/>
                </a:lnTo>
                <a:lnTo>
                  <a:pt x="4567" y="11225"/>
                </a:lnTo>
                <a:lnTo>
                  <a:pt x="4567" y="16980"/>
                </a:lnTo>
                <a:lnTo>
                  <a:pt x="1510" y="16980"/>
                </a:lnTo>
                <a:lnTo>
                  <a:pt x="1510" y="11225"/>
                </a:lnTo>
                <a:lnTo>
                  <a:pt x="1424" y="11201"/>
                </a:lnTo>
                <a:lnTo>
                  <a:pt x="1340" y="11175"/>
                </a:lnTo>
                <a:lnTo>
                  <a:pt x="1298" y="11161"/>
                </a:lnTo>
                <a:lnTo>
                  <a:pt x="1258" y="11148"/>
                </a:lnTo>
                <a:lnTo>
                  <a:pt x="1218" y="11134"/>
                </a:lnTo>
                <a:lnTo>
                  <a:pt x="1178" y="11120"/>
                </a:lnTo>
                <a:lnTo>
                  <a:pt x="1139" y="11105"/>
                </a:lnTo>
                <a:lnTo>
                  <a:pt x="1101" y="11089"/>
                </a:lnTo>
                <a:lnTo>
                  <a:pt x="1064" y="11074"/>
                </a:lnTo>
                <a:lnTo>
                  <a:pt x="1026" y="11058"/>
                </a:lnTo>
                <a:lnTo>
                  <a:pt x="990" y="11042"/>
                </a:lnTo>
                <a:lnTo>
                  <a:pt x="954" y="11025"/>
                </a:lnTo>
                <a:lnTo>
                  <a:pt x="918" y="11009"/>
                </a:lnTo>
                <a:lnTo>
                  <a:pt x="884" y="10991"/>
                </a:lnTo>
                <a:lnTo>
                  <a:pt x="849" y="10974"/>
                </a:lnTo>
                <a:lnTo>
                  <a:pt x="816" y="10956"/>
                </a:lnTo>
                <a:lnTo>
                  <a:pt x="782" y="10938"/>
                </a:lnTo>
                <a:lnTo>
                  <a:pt x="750" y="10920"/>
                </a:lnTo>
                <a:lnTo>
                  <a:pt x="719" y="10901"/>
                </a:lnTo>
                <a:lnTo>
                  <a:pt x="687" y="10882"/>
                </a:lnTo>
                <a:lnTo>
                  <a:pt x="656" y="10862"/>
                </a:lnTo>
                <a:lnTo>
                  <a:pt x="626" y="10841"/>
                </a:lnTo>
                <a:lnTo>
                  <a:pt x="596" y="10821"/>
                </a:lnTo>
                <a:lnTo>
                  <a:pt x="567" y="10801"/>
                </a:lnTo>
                <a:lnTo>
                  <a:pt x="539" y="10780"/>
                </a:lnTo>
                <a:lnTo>
                  <a:pt x="510" y="10758"/>
                </a:lnTo>
                <a:lnTo>
                  <a:pt x="484" y="10736"/>
                </a:lnTo>
                <a:lnTo>
                  <a:pt x="456" y="10714"/>
                </a:lnTo>
                <a:lnTo>
                  <a:pt x="431" y="10691"/>
                </a:lnTo>
                <a:lnTo>
                  <a:pt x="405" y="10668"/>
                </a:lnTo>
                <a:lnTo>
                  <a:pt x="380" y="10646"/>
                </a:lnTo>
                <a:lnTo>
                  <a:pt x="355" y="10622"/>
                </a:lnTo>
                <a:lnTo>
                  <a:pt x="332" y="10599"/>
                </a:lnTo>
                <a:lnTo>
                  <a:pt x="310" y="10576"/>
                </a:lnTo>
                <a:lnTo>
                  <a:pt x="289" y="10551"/>
                </a:lnTo>
                <a:lnTo>
                  <a:pt x="267" y="10528"/>
                </a:lnTo>
                <a:lnTo>
                  <a:pt x="247" y="10503"/>
                </a:lnTo>
                <a:lnTo>
                  <a:pt x="228" y="10480"/>
                </a:lnTo>
                <a:lnTo>
                  <a:pt x="209" y="10455"/>
                </a:lnTo>
                <a:lnTo>
                  <a:pt x="191" y="10431"/>
                </a:lnTo>
                <a:lnTo>
                  <a:pt x="174" y="10407"/>
                </a:lnTo>
                <a:lnTo>
                  <a:pt x="158" y="10382"/>
                </a:lnTo>
                <a:lnTo>
                  <a:pt x="142" y="10357"/>
                </a:lnTo>
                <a:lnTo>
                  <a:pt x="128" y="10332"/>
                </a:lnTo>
                <a:lnTo>
                  <a:pt x="114" y="10307"/>
                </a:lnTo>
                <a:lnTo>
                  <a:pt x="101" y="10281"/>
                </a:lnTo>
                <a:lnTo>
                  <a:pt x="89" y="10256"/>
                </a:lnTo>
                <a:lnTo>
                  <a:pt x="77" y="10230"/>
                </a:lnTo>
                <a:lnTo>
                  <a:pt x="67" y="10205"/>
                </a:lnTo>
                <a:lnTo>
                  <a:pt x="57" y="10179"/>
                </a:lnTo>
                <a:lnTo>
                  <a:pt x="48" y="10153"/>
                </a:lnTo>
                <a:lnTo>
                  <a:pt x="39" y="10127"/>
                </a:lnTo>
                <a:lnTo>
                  <a:pt x="32" y="10100"/>
                </a:lnTo>
                <a:lnTo>
                  <a:pt x="25" y="10074"/>
                </a:lnTo>
                <a:lnTo>
                  <a:pt x="19" y="10047"/>
                </a:lnTo>
                <a:lnTo>
                  <a:pt x="14" y="10021"/>
                </a:lnTo>
                <a:lnTo>
                  <a:pt x="9" y="9994"/>
                </a:lnTo>
                <a:lnTo>
                  <a:pt x="6" y="9967"/>
                </a:lnTo>
                <a:lnTo>
                  <a:pt x="3" y="9940"/>
                </a:lnTo>
                <a:lnTo>
                  <a:pt x="1" y="9912"/>
                </a:lnTo>
                <a:lnTo>
                  <a:pt x="0" y="9885"/>
                </a:lnTo>
                <a:lnTo>
                  <a:pt x="0" y="9857"/>
                </a:lnTo>
                <a:lnTo>
                  <a:pt x="0" y="5509"/>
                </a:lnTo>
                <a:lnTo>
                  <a:pt x="1" y="5453"/>
                </a:lnTo>
                <a:lnTo>
                  <a:pt x="2" y="5398"/>
                </a:lnTo>
                <a:lnTo>
                  <a:pt x="5" y="5342"/>
                </a:lnTo>
                <a:lnTo>
                  <a:pt x="9" y="5288"/>
                </a:lnTo>
                <a:lnTo>
                  <a:pt x="15" y="5235"/>
                </a:lnTo>
                <a:lnTo>
                  <a:pt x="21" y="5182"/>
                </a:lnTo>
                <a:lnTo>
                  <a:pt x="28" y="5130"/>
                </a:lnTo>
                <a:lnTo>
                  <a:pt x="37" y="5079"/>
                </a:lnTo>
                <a:lnTo>
                  <a:pt x="47" y="5028"/>
                </a:lnTo>
                <a:lnTo>
                  <a:pt x="57" y="4978"/>
                </a:lnTo>
                <a:lnTo>
                  <a:pt x="70" y="4929"/>
                </a:lnTo>
                <a:lnTo>
                  <a:pt x="83" y="4880"/>
                </a:lnTo>
                <a:lnTo>
                  <a:pt x="97" y="4832"/>
                </a:lnTo>
                <a:lnTo>
                  <a:pt x="112" y="4785"/>
                </a:lnTo>
                <a:lnTo>
                  <a:pt x="129" y="4739"/>
                </a:lnTo>
                <a:lnTo>
                  <a:pt x="147" y="4693"/>
                </a:lnTo>
                <a:lnTo>
                  <a:pt x="166" y="4648"/>
                </a:lnTo>
                <a:lnTo>
                  <a:pt x="187" y="4604"/>
                </a:lnTo>
                <a:lnTo>
                  <a:pt x="208" y="4560"/>
                </a:lnTo>
                <a:lnTo>
                  <a:pt x="230" y="4518"/>
                </a:lnTo>
                <a:lnTo>
                  <a:pt x="255" y="4476"/>
                </a:lnTo>
                <a:lnTo>
                  <a:pt x="279" y="4435"/>
                </a:lnTo>
                <a:lnTo>
                  <a:pt x="306" y="4393"/>
                </a:lnTo>
                <a:lnTo>
                  <a:pt x="332" y="4354"/>
                </a:lnTo>
                <a:lnTo>
                  <a:pt x="361" y="4315"/>
                </a:lnTo>
                <a:lnTo>
                  <a:pt x="391" y="4275"/>
                </a:lnTo>
                <a:lnTo>
                  <a:pt x="421" y="4238"/>
                </a:lnTo>
                <a:lnTo>
                  <a:pt x="453" y="4201"/>
                </a:lnTo>
                <a:lnTo>
                  <a:pt x="486" y="4165"/>
                </a:lnTo>
                <a:lnTo>
                  <a:pt x="520" y="4129"/>
                </a:lnTo>
                <a:lnTo>
                  <a:pt x="556" y="4093"/>
                </a:lnTo>
                <a:lnTo>
                  <a:pt x="592" y="4059"/>
                </a:lnTo>
                <a:lnTo>
                  <a:pt x="629" y="4025"/>
                </a:lnTo>
                <a:lnTo>
                  <a:pt x="668" y="3994"/>
                </a:lnTo>
                <a:lnTo>
                  <a:pt x="707" y="3963"/>
                </a:lnTo>
                <a:lnTo>
                  <a:pt x="747" y="3933"/>
                </a:lnTo>
                <a:lnTo>
                  <a:pt x="789" y="3904"/>
                </a:lnTo>
                <a:lnTo>
                  <a:pt x="830" y="3876"/>
                </a:lnTo>
                <a:lnTo>
                  <a:pt x="873" y="3849"/>
                </a:lnTo>
                <a:lnTo>
                  <a:pt x="916" y="3823"/>
                </a:lnTo>
                <a:lnTo>
                  <a:pt x="961" y="3799"/>
                </a:lnTo>
                <a:lnTo>
                  <a:pt x="1005" y="3775"/>
                </a:lnTo>
                <a:lnTo>
                  <a:pt x="1052" y="3752"/>
                </a:lnTo>
                <a:lnTo>
                  <a:pt x="1099" y="3731"/>
                </a:lnTo>
                <a:lnTo>
                  <a:pt x="1146" y="3711"/>
                </a:lnTo>
                <a:lnTo>
                  <a:pt x="1194" y="3691"/>
                </a:lnTo>
                <a:lnTo>
                  <a:pt x="1244" y="3672"/>
                </a:lnTo>
                <a:lnTo>
                  <a:pt x="1294" y="3655"/>
                </a:lnTo>
                <a:lnTo>
                  <a:pt x="1345" y="3640"/>
                </a:lnTo>
                <a:lnTo>
                  <a:pt x="1397" y="3624"/>
                </a:lnTo>
                <a:lnTo>
                  <a:pt x="1450" y="3610"/>
                </a:lnTo>
                <a:lnTo>
                  <a:pt x="1503" y="3597"/>
                </a:lnTo>
                <a:lnTo>
                  <a:pt x="1558" y="3584"/>
                </a:lnTo>
                <a:lnTo>
                  <a:pt x="1614" y="3574"/>
                </a:lnTo>
                <a:lnTo>
                  <a:pt x="1670" y="3564"/>
                </a:lnTo>
                <a:lnTo>
                  <a:pt x="1726" y="3554"/>
                </a:lnTo>
                <a:lnTo>
                  <a:pt x="1785" y="3547"/>
                </a:lnTo>
                <a:lnTo>
                  <a:pt x="1843" y="3540"/>
                </a:lnTo>
                <a:lnTo>
                  <a:pt x="1902" y="3534"/>
                </a:lnTo>
                <a:lnTo>
                  <a:pt x="1963" y="3530"/>
                </a:lnTo>
                <a:lnTo>
                  <a:pt x="2024" y="3526"/>
                </a:lnTo>
                <a:lnTo>
                  <a:pt x="2086" y="3524"/>
                </a:lnTo>
                <a:lnTo>
                  <a:pt x="2149" y="3522"/>
                </a:lnTo>
                <a:lnTo>
                  <a:pt x="2212" y="3522"/>
                </a:lnTo>
                <a:lnTo>
                  <a:pt x="2218" y="3517"/>
                </a:lnTo>
                <a:lnTo>
                  <a:pt x="2224" y="3514"/>
                </a:lnTo>
                <a:lnTo>
                  <a:pt x="2230" y="3513"/>
                </a:lnTo>
                <a:lnTo>
                  <a:pt x="2237" y="3512"/>
                </a:lnTo>
                <a:lnTo>
                  <a:pt x="2243" y="3512"/>
                </a:lnTo>
                <a:lnTo>
                  <a:pt x="2251" y="3512"/>
                </a:lnTo>
                <a:lnTo>
                  <a:pt x="2261" y="3512"/>
                </a:lnTo>
                <a:lnTo>
                  <a:pt x="2274" y="3512"/>
                </a:lnTo>
                <a:lnTo>
                  <a:pt x="2312" y="3514"/>
                </a:lnTo>
                <a:lnTo>
                  <a:pt x="2353" y="3516"/>
                </a:lnTo>
                <a:lnTo>
                  <a:pt x="2393" y="3517"/>
                </a:lnTo>
                <a:lnTo>
                  <a:pt x="2435" y="3519"/>
                </a:lnTo>
                <a:lnTo>
                  <a:pt x="2479" y="3520"/>
                </a:lnTo>
                <a:lnTo>
                  <a:pt x="2522" y="3520"/>
                </a:lnTo>
                <a:lnTo>
                  <a:pt x="2568" y="3522"/>
                </a:lnTo>
                <a:lnTo>
                  <a:pt x="2615" y="3522"/>
                </a:lnTo>
                <a:lnTo>
                  <a:pt x="2616" y="3516"/>
                </a:lnTo>
                <a:lnTo>
                  <a:pt x="2617" y="3511"/>
                </a:lnTo>
                <a:lnTo>
                  <a:pt x="2620" y="3505"/>
                </a:lnTo>
                <a:lnTo>
                  <a:pt x="2623" y="3498"/>
                </a:lnTo>
                <a:lnTo>
                  <a:pt x="2634" y="3483"/>
                </a:lnTo>
                <a:lnTo>
                  <a:pt x="2649" y="3466"/>
                </a:lnTo>
                <a:lnTo>
                  <a:pt x="2663" y="3450"/>
                </a:lnTo>
                <a:lnTo>
                  <a:pt x="2674" y="3439"/>
                </a:lnTo>
                <a:lnTo>
                  <a:pt x="2678" y="3434"/>
                </a:lnTo>
                <a:lnTo>
                  <a:pt x="2683" y="3431"/>
                </a:lnTo>
                <a:lnTo>
                  <a:pt x="2686" y="3430"/>
                </a:lnTo>
                <a:lnTo>
                  <a:pt x="2688" y="3429"/>
                </a:lnTo>
                <a:lnTo>
                  <a:pt x="2651" y="3417"/>
                </a:lnTo>
                <a:lnTo>
                  <a:pt x="2614" y="3406"/>
                </a:lnTo>
                <a:lnTo>
                  <a:pt x="2578" y="3393"/>
                </a:lnTo>
                <a:lnTo>
                  <a:pt x="2542" y="3380"/>
                </a:lnTo>
                <a:lnTo>
                  <a:pt x="2506" y="3366"/>
                </a:lnTo>
                <a:lnTo>
                  <a:pt x="2471" y="3351"/>
                </a:lnTo>
                <a:lnTo>
                  <a:pt x="2436" y="3337"/>
                </a:lnTo>
                <a:lnTo>
                  <a:pt x="2402" y="3322"/>
                </a:lnTo>
                <a:lnTo>
                  <a:pt x="2368" y="3306"/>
                </a:lnTo>
                <a:lnTo>
                  <a:pt x="2336" y="3289"/>
                </a:lnTo>
                <a:lnTo>
                  <a:pt x="2303" y="3272"/>
                </a:lnTo>
                <a:lnTo>
                  <a:pt x="2271" y="3255"/>
                </a:lnTo>
                <a:lnTo>
                  <a:pt x="2239" y="3237"/>
                </a:lnTo>
                <a:lnTo>
                  <a:pt x="2208" y="3218"/>
                </a:lnTo>
                <a:lnTo>
                  <a:pt x="2177" y="3198"/>
                </a:lnTo>
                <a:lnTo>
                  <a:pt x="2147" y="3178"/>
                </a:lnTo>
                <a:lnTo>
                  <a:pt x="2117" y="3158"/>
                </a:lnTo>
                <a:lnTo>
                  <a:pt x="2087" y="3137"/>
                </a:lnTo>
                <a:lnTo>
                  <a:pt x="2058" y="3115"/>
                </a:lnTo>
                <a:lnTo>
                  <a:pt x="2030" y="3093"/>
                </a:lnTo>
                <a:lnTo>
                  <a:pt x="2002" y="3071"/>
                </a:lnTo>
                <a:lnTo>
                  <a:pt x="1975" y="3047"/>
                </a:lnTo>
                <a:lnTo>
                  <a:pt x="1948" y="3024"/>
                </a:lnTo>
                <a:lnTo>
                  <a:pt x="1921" y="3000"/>
                </a:lnTo>
                <a:lnTo>
                  <a:pt x="1895" y="2975"/>
                </a:lnTo>
                <a:lnTo>
                  <a:pt x="1869" y="2950"/>
                </a:lnTo>
                <a:lnTo>
                  <a:pt x="1844" y="2924"/>
                </a:lnTo>
                <a:lnTo>
                  <a:pt x="1820" y="2898"/>
                </a:lnTo>
                <a:lnTo>
                  <a:pt x="1795" y="2871"/>
                </a:lnTo>
                <a:lnTo>
                  <a:pt x="1771" y="2843"/>
                </a:lnTo>
                <a:lnTo>
                  <a:pt x="1747" y="2816"/>
                </a:lnTo>
                <a:lnTo>
                  <a:pt x="1725" y="2787"/>
                </a:lnTo>
                <a:lnTo>
                  <a:pt x="1703" y="2757"/>
                </a:lnTo>
                <a:lnTo>
                  <a:pt x="1682" y="2729"/>
                </a:lnTo>
                <a:lnTo>
                  <a:pt x="1660" y="2699"/>
                </a:lnTo>
                <a:lnTo>
                  <a:pt x="1640" y="2669"/>
                </a:lnTo>
                <a:lnTo>
                  <a:pt x="1621" y="2638"/>
                </a:lnTo>
                <a:lnTo>
                  <a:pt x="1603" y="2608"/>
                </a:lnTo>
                <a:lnTo>
                  <a:pt x="1585" y="2578"/>
                </a:lnTo>
                <a:lnTo>
                  <a:pt x="1568" y="2547"/>
                </a:lnTo>
                <a:lnTo>
                  <a:pt x="1551" y="2516"/>
                </a:lnTo>
                <a:lnTo>
                  <a:pt x="1535" y="2484"/>
                </a:lnTo>
                <a:lnTo>
                  <a:pt x="1520" y="2452"/>
                </a:lnTo>
                <a:lnTo>
                  <a:pt x="1506" y="2420"/>
                </a:lnTo>
                <a:lnTo>
                  <a:pt x="1493" y="2388"/>
                </a:lnTo>
                <a:lnTo>
                  <a:pt x="1479" y="2356"/>
                </a:lnTo>
                <a:lnTo>
                  <a:pt x="1467" y="2324"/>
                </a:lnTo>
                <a:lnTo>
                  <a:pt x="1455" y="2291"/>
                </a:lnTo>
                <a:lnTo>
                  <a:pt x="1445" y="2258"/>
                </a:lnTo>
                <a:lnTo>
                  <a:pt x="1434" y="2225"/>
                </a:lnTo>
                <a:lnTo>
                  <a:pt x="1425" y="2191"/>
                </a:lnTo>
                <a:lnTo>
                  <a:pt x="1416" y="2157"/>
                </a:lnTo>
                <a:lnTo>
                  <a:pt x="1408" y="2123"/>
                </a:lnTo>
                <a:lnTo>
                  <a:pt x="1400" y="2089"/>
                </a:lnTo>
                <a:lnTo>
                  <a:pt x="1394" y="2054"/>
                </a:lnTo>
                <a:lnTo>
                  <a:pt x="1389" y="2018"/>
                </a:lnTo>
                <a:lnTo>
                  <a:pt x="1383" y="1983"/>
                </a:lnTo>
                <a:lnTo>
                  <a:pt x="1378" y="1948"/>
                </a:lnTo>
                <a:lnTo>
                  <a:pt x="1375" y="1912"/>
                </a:lnTo>
                <a:lnTo>
                  <a:pt x="1372" y="1876"/>
                </a:lnTo>
                <a:lnTo>
                  <a:pt x="1368" y="1840"/>
                </a:lnTo>
                <a:lnTo>
                  <a:pt x="1367" y="1804"/>
                </a:lnTo>
                <a:lnTo>
                  <a:pt x="1366" y="1767"/>
                </a:lnTo>
                <a:lnTo>
                  <a:pt x="1365" y="1729"/>
                </a:lnTo>
                <a:lnTo>
                  <a:pt x="1366" y="1686"/>
                </a:lnTo>
                <a:lnTo>
                  <a:pt x="1367" y="1641"/>
                </a:lnTo>
                <a:lnTo>
                  <a:pt x="1370" y="1598"/>
                </a:lnTo>
                <a:lnTo>
                  <a:pt x="1374" y="1555"/>
                </a:lnTo>
                <a:lnTo>
                  <a:pt x="1378" y="1511"/>
                </a:lnTo>
                <a:lnTo>
                  <a:pt x="1383" y="1469"/>
                </a:lnTo>
                <a:lnTo>
                  <a:pt x="1390" y="1427"/>
                </a:lnTo>
                <a:lnTo>
                  <a:pt x="1397" y="1386"/>
                </a:lnTo>
                <a:lnTo>
                  <a:pt x="1405" y="1345"/>
                </a:lnTo>
                <a:lnTo>
                  <a:pt x="1415" y="1304"/>
                </a:lnTo>
                <a:lnTo>
                  <a:pt x="1426" y="1264"/>
                </a:lnTo>
                <a:lnTo>
                  <a:pt x="1437" y="1223"/>
                </a:lnTo>
                <a:lnTo>
                  <a:pt x="1449" y="1184"/>
                </a:lnTo>
                <a:lnTo>
                  <a:pt x="1463" y="1145"/>
                </a:lnTo>
                <a:lnTo>
                  <a:pt x="1477" y="1106"/>
                </a:lnTo>
                <a:lnTo>
                  <a:pt x="1493" y="1068"/>
                </a:lnTo>
                <a:lnTo>
                  <a:pt x="1508" y="1030"/>
                </a:lnTo>
                <a:lnTo>
                  <a:pt x="1527" y="993"/>
                </a:lnTo>
                <a:lnTo>
                  <a:pt x="1545" y="955"/>
                </a:lnTo>
                <a:lnTo>
                  <a:pt x="1564" y="919"/>
                </a:lnTo>
                <a:lnTo>
                  <a:pt x="1585" y="883"/>
                </a:lnTo>
                <a:lnTo>
                  <a:pt x="1606" y="847"/>
                </a:lnTo>
                <a:lnTo>
                  <a:pt x="1628" y="811"/>
                </a:lnTo>
                <a:lnTo>
                  <a:pt x="1652" y="776"/>
                </a:lnTo>
                <a:lnTo>
                  <a:pt x="1676" y="742"/>
                </a:lnTo>
                <a:lnTo>
                  <a:pt x="1702" y="708"/>
                </a:lnTo>
                <a:lnTo>
                  <a:pt x="1728" y="674"/>
                </a:lnTo>
                <a:lnTo>
                  <a:pt x="1756" y="640"/>
                </a:lnTo>
                <a:lnTo>
                  <a:pt x="1783" y="607"/>
                </a:lnTo>
                <a:lnTo>
                  <a:pt x="1813" y="574"/>
                </a:lnTo>
                <a:lnTo>
                  <a:pt x="1844" y="542"/>
                </a:lnTo>
                <a:lnTo>
                  <a:pt x="1875" y="510"/>
                </a:lnTo>
                <a:lnTo>
                  <a:pt x="1907" y="478"/>
                </a:lnTo>
                <a:lnTo>
                  <a:pt x="1940" y="448"/>
                </a:lnTo>
                <a:lnTo>
                  <a:pt x="1971" y="419"/>
                </a:lnTo>
                <a:lnTo>
                  <a:pt x="2005" y="390"/>
                </a:lnTo>
                <a:lnTo>
                  <a:pt x="2038" y="362"/>
                </a:lnTo>
                <a:lnTo>
                  <a:pt x="2072" y="336"/>
                </a:lnTo>
                <a:lnTo>
                  <a:pt x="2106" y="311"/>
                </a:lnTo>
                <a:lnTo>
                  <a:pt x="2141" y="287"/>
                </a:lnTo>
                <a:lnTo>
                  <a:pt x="2176" y="263"/>
                </a:lnTo>
                <a:lnTo>
                  <a:pt x="2211" y="240"/>
                </a:lnTo>
                <a:lnTo>
                  <a:pt x="2247" y="219"/>
                </a:lnTo>
                <a:lnTo>
                  <a:pt x="2284" y="199"/>
                </a:lnTo>
                <a:lnTo>
                  <a:pt x="2320" y="179"/>
                </a:lnTo>
                <a:lnTo>
                  <a:pt x="2357" y="160"/>
                </a:lnTo>
                <a:lnTo>
                  <a:pt x="2395" y="143"/>
                </a:lnTo>
                <a:lnTo>
                  <a:pt x="2432" y="127"/>
                </a:lnTo>
                <a:lnTo>
                  <a:pt x="2470" y="111"/>
                </a:lnTo>
                <a:lnTo>
                  <a:pt x="2510" y="98"/>
                </a:lnTo>
                <a:lnTo>
                  <a:pt x="2549" y="84"/>
                </a:lnTo>
                <a:lnTo>
                  <a:pt x="2588" y="71"/>
                </a:lnTo>
                <a:lnTo>
                  <a:pt x="2628" y="60"/>
                </a:lnTo>
                <a:lnTo>
                  <a:pt x="2668" y="50"/>
                </a:lnTo>
                <a:lnTo>
                  <a:pt x="2709" y="40"/>
                </a:lnTo>
                <a:lnTo>
                  <a:pt x="2750" y="32"/>
                </a:lnTo>
                <a:lnTo>
                  <a:pt x="2791" y="24"/>
                </a:lnTo>
                <a:lnTo>
                  <a:pt x="2833" y="18"/>
                </a:lnTo>
                <a:lnTo>
                  <a:pt x="2876" y="13"/>
                </a:lnTo>
                <a:lnTo>
                  <a:pt x="2918" y="7"/>
                </a:lnTo>
                <a:lnTo>
                  <a:pt x="2962" y="4"/>
                </a:lnTo>
                <a:lnTo>
                  <a:pt x="3005" y="2"/>
                </a:lnTo>
                <a:lnTo>
                  <a:pt x="3049" y="1"/>
                </a:lnTo>
                <a:lnTo>
                  <a:pt x="3094" y="0"/>
                </a:lnTo>
                <a:lnTo>
                  <a:pt x="3138" y="1"/>
                </a:lnTo>
                <a:lnTo>
                  <a:pt x="3183" y="2"/>
                </a:lnTo>
                <a:lnTo>
                  <a:pt x="3226" y="4"/>
                </a:lnTo>
                <a:lnTo>
                  <a:pt x="3270" y="7"/>
                </a:lnTo>
                <a:lnTo>
                  <a:pt x="3312" y="13"/>
                </a:lnTo>
                <a:lnTo>
                  <a:pt x="3356" y="18"/>
                </a:lnTo>
                <a:lnTo>
                  <a:pt x="3397" y="24"/>
                </a:lnTo>
                <a:lnTo>
                  <a:pt x="3440" y="32"/>
                </a:lnTo>
                <a:lnTo>
                  <a:pt x="3481" y="40"/>
                </a:lnTo>
                <a:lnTo>
                  <a:pt x="3521" y="50"/>
                </a:lnTo>
                <a:lnTo>
                  <a:pt x="3563" y="60"/>
                </a:lnTo>
                <a:lnTo>
                  <a:pt x="3602" y="71"/>
                </a:lnTo>
                <a:lnTo>
                  <a:pt x="3643" y="84"/>
                </a:lnTo>
                <a:lnTo>
                  <a:pt x="3682" y="98"/>
                </a:lnTo>
                <a:lnTo>
                  <a:pt x="3721" y="111"/>
                </a:lnTo>
                <a:lnTo>
                  <a:pt x="3759" y="127"/>
                </a:lnTo>
                <a:lnTo>
                  <a:pt x="3798" y="143"/>
                </a:lnTo>
                <a:lnTo>
                  <a:pt x="3835" y="160"/>
                </a:lnTo>
                <a:lnTo>
                  <a:pt x="3873" y="179"/>
                </a:lnTo>
                <a:lnTo>
                  <a:pt x="3909" y="199"/>
                </a:lnTo>
                <a:lnTo>
                  <a:pt x="3946" y="219"/>
                </a:lnTo>
                <a:lnTo>
                  <a:pt x="3982" y="240"/>
                </a:lnTo>
                <a:lnTo>
                  <a:pt x="4017" y="263"/>
                </a:lnTo>
                <a:lnTo>
                  <a:pt x="4053" y="287"/>
                </a:lnTo>
                <a:lnTo>
                  <a:pt x="4088" y="311"/>
                </a:lnTo>
                <a:lnTo>
                  <a:pt x="4122" y="336"/>
                </a:lnTo>
                <a:lnTo>
                  <a:pt x="4156" y="362"/>
                </a:lnTo>
                <a:lnTo>
                  <a:pt x="4190" y="390"/>
                </a:lnTo>
                <a:lnTo>
                  <a:pt x="4223" y="419"/>
                </a:lnTo>
                <a:lnTo>
                  <a:pt x="4256" y="448"/>
                </a:lnTo>
                <a:lnTo>
                  <a:pt x="4289" y="478"/>
                </a:lnTo>
                <a:lnTo>
                  <a:pt x="4321" y="510"/>
                </a:lnTo>
                <a:lnTo>
                  <a:pt x="4353" y="542"/>
                </a:lnTo>
                <a:lnTo>
                  <a:pt x="4383" y="574"/>
                </a:lnTo>
                <a:lnTo>
                  <a:pt x="4412" y="607"/>
                </a:lnTo>
                <a:lnTo>
                  <a:pt x="4440" y="640"/>
                </a:lnTo>
                <a:lnTo>
                  <a:pt x="4467" y="674"/>
                </a:lnTo>
                <a:lnTo>
                  <a:pt x="4493" y="708"/>
                </a:lnTo>
                <a:lnTo>
                  <a:pt x="4518" y="742"/>
                </a:lnTo>
                <a:lnTo>
                  <a:pt x="4543" y="776"/>
                </a:lnTo>
                <a:lnTo>
                  <a:pt x="4566" y="811"/>
                </a:lnTo>
                <a:lnTo>
                  <a:pt x="4588" y="847"/>
                </a:lnTo>
                <a:lnTo>
                  <a:pt x="4610" y="883"/>
                </a:lnTo>
                <a:lnTo>
                  <a:pt x="4630" y="919"/>
                </a:lnTo>
                <a:lnTo>
                  <a:pt x="4649" y="955"/>
                </a:lnTo>
                <a:lnTo>
                  <a:pt x="4667" y="993"/>
                </a:lnTo>
                <a:lnTo>
                  <a:pt x="4685" y="1030"/>
                </a:lnTo>
                <a:lnTo>
                  <a:pt x="4701" y="1068"/>
                </a:lnTo>
                <a:lnTo>
                  <a:pt x="4716" y="1106"/>
                </a:lnTo>
                <a:lnTo>
                  <a:pt x="4731" y="1145"/>
                </a:lnTo>
                <a:lnTo>
                  <a:pt x="4745" y="1184"/>
                </a:lnTo>
                <a:lnTo>
                  <a:pt x="4756" y="1223"/>
                </a:lnTo>
                <a:lnTo>
                  <a:pt x="4768" y="1264"/>
                </a:lnTo>
                <a:lnTo>
                  <a:pt x="4779" y="1304"/>
                </a:lnTo>
                <a:lnTo>
                  <a:pt x="4788" y="1345"/>
                </a:lnTo>
                <a:lnTo>
                  <a:pt x="4797" y="1386"/>
                </a:lnTo>
                <a:lnTo>
                  <a:pt x="4803" y="1427"/>
                </a:lnTo>
                <a:lnTo>
                  <a:pt x="4810" y="1469"/>
                </a:lnTo>
                <a:lnTo>
                  <a:pt x="4816" y="1511"/>
                </a:lnTo>
                <a:lnTo>
                  <a:pt x="4820" y="1555"/>
                </a:lnTo>
                <a:lnTo>
                  <a:pt x="4823" y="1598"/>
                </a:lnTo>
                <a:lnTo>
                  <a:pt x="4825" y="1641"/>
                </a:lnTo>
                <a:lnTo>
                  <a:pt x="4827" y="1686"/>
                </a:lnTo>
                <a:lnTo>
                  <a:pt x="4827" y="1729"/>
                </a:lnTo>
                <a:lnTo>
                  <a:pt x="4827" y="1768"/>
                </a:lnTo>
                <a:lnTo>
                  <a:pt x="4826" y="1806"/>
                </a:lnTo>
                <a:lnTo>
                  <a:pt x="4824" y="1843"/>
                </a:lnTo>
                <a:lnTo>
                  <a:pt x="4822" y="1880"/>
                </a:lnTo>
                <a:lnTo>
                  <a:pt x="4818" y="1917"/>
                </a:lnTo>
                <a:lnTo>
                  <a:pt x="4814" y="1954"/>
                </a:lnTo>
                <a:lnTo>
                  <a:pt x="4808" y="1990"/>
                </a:lnTo>
                <a:lnTo>
                  <a:pt x="4803" y="2027"/>
                </a:lnTo>
                <a:lnTo>
                  <a:pt x="4797" y="2062"/>
                </a:lnTo>
                <a:lnTo>
                  <a:pt x="4789" y="2098"/>
                </a:lnTo>
                <a:lnTo>
                  <a:pt x="4781" y="2134"/>
                </a:lnTo>
                <a:lnTo>
                  <a:pt x="4772" y="2169"/>
                </a:lnTo>
                <a:lnTo>
                  <a:pt x="4763" y="2204"/>
                </a:lnTo>
                <a:lnTo>
                  <a:pt x="4752" y="2240"/>
                </a:lnTo>
                <a:lnTo>
                  <a:pt x="4740" y="2274"/>
                </a:lnTo>
                <a:lnTo>
                  <a:pt x="4729" y="2308"/>
                </a:lnTo>
                <a:lnTo>
                  <a:pt x="4716" y="2342"/>
                </a:lnTo>
                <a:lnTo>
                  <a:pt x="4702" y="2376"/>
                </a:lnTo>
                <a:lnTo>
                  <a:pt x="4688" y="2410"/>
                </a:lnTo>
                <a:lnTo>
                  <a:pt x="4673" y="2443"/>
                </a:lnTo>
                <a:lnTo>
                  <a:pt x="4657" y="2476"/>
                </a:lnTo>
                <a:lnTo>
                  <a:pt x="4641" y="2508"/>
                </a:lnTo>
                <a:lnTo>
                  <a:pt x="4624" y="2541"/>
                </a:lnTo>
                <a:lnTo>
                  <a:pt x="4605" y="2573"/>
                </a:lnTo>
                <a:lnTo>
                  <a:pt x="4586" y="2606"/>
                </a:lnTo>
                <a:lnTo>
                  <a:pt x="4566" y="2638"/>
                </a:lnTo>
                <a:lnTo>
                  <a:pt x="4546" y="2669"/>
                </a:lnTo>
                <a:lnTo>
                  <a:pt x="4525" y="2701"/>
                </a:lnTo>
                <a:lnTo>
                  <a:pt x="4502" y="2732"/>
                </a:lnTo>
                <a:lnTo>
                  <a:pt x="4480" y="2763"/>
                </a:lnTo>
                <a:lnTo>
                  <a:pt x="4456" y="2793"/>
                </a:lnTo>
                <a:lnTo>
                  <a:pt x="4431" y="2824"/>
                </a:lnTo>
                <a:lnTo>
                  <a:pt x="4407" y="2853"/>
                </a:lnTo>
                <a:lnTo>
                  <a:pt x="4381" y="2883"/>
                </a:lnTo>
                <a:lnTo>
                  <a:pt x="4356" y="2910"/>
                </a:lnTo>
                <a:lnTo>
                  <a:pt x="4329" y="2938"/>
                </a:lnTo>
                <a:lnTo>
                  <a:pt x="4303" y="2965"/>
                </a:lnTo>
                <a:lnTo>
                  <a:pt x="4276" y="2991"/>
                </a:lnTo>
                <a:lnTo>
                  <a:pt x="4249" y="3017"/>
                </a:lnTo>
                <a:lnTo>
                  <a:pt x="4220" y="3041"/>
                </a:lnTo>
                <a:lnTo>
                  <a:pt x="4192" y="3066"/>
                </a:lnTo>
                <a:lnTo>
                  <a:pt x="4164" y="3089"/>
                </a:lnTo>
                <a:lnTo>
                  <a:pt x="4134" y="3112"/>
                </a:lnTo>
                <a:lnTo>
                  <a:pt x="4105" y="3134"/>
                </a:lnTo>
                <a:lnTo>
                  <a:pt x="4075" y="3155"/>
                </a:lnTo>
                <a:lnTo>
                  <a:pt x="4045" y="3176"/>
                </a:lnTo>
                <a:lnTo>
                  <a:pt x="4014" y="3196"/>
                </a:lnTo>
                <a:lnTo>
                  <a:pt x="3982" y="3215"/>
                </a:lnTo>
                <a:lnTo>
                  <a:pt x="3950" y="3233"/>
                </a:lnTo>
                <a:lnTo>
                  <a:pt x="3919" y="3252"/>
                </a:lnTo>
                <a:lnTo>
                  <a:pt x="3887" y="3269"/>
                </a:lnTo>
                <a:lnTo>
                  <a:pt x="3854" y="3286"/>
                </a:lnTo>
                <a:lnTo>
                  <a:pt x="3820" y="3301"/>
                </a:lnTo>
                <a:lnTo>
                  <a:pt x="3786" y="3316"/>
                </a:lnTo>
                <a:lnTo>
                  <a:pt x="3752" y="3331"/>
                </a:lnTo>
                <a:lnTo>
                  <a:pt x="3718" y="3344"/>
                </a:lnTo>
                <a:lnTo>
                  <a:pt x="3683" y="3358"/>
                </a:lnTo>
                <a:lnTo>
                  <a:pt x="3647" y="3370"/>
                </a:lnTo>
                <a:lnTo>
                  <a:pt x="3611" y="3381"/>
                </a:lnTo>
                <a:lnTo>
                  <a:pt x="3575" y="3393"/>
                </a:lnTo>
                <a:lnTo>
                  <a:pt x="3538" y="3402"/>
                </a:lnTo>
                <a:lnTo>
                  <a:pt x="3500" y="3412"/>
                </a:lnTo>
                <a:lnTo>
                  <a:pt x="3463" y="3421"/>
                </a:lnTo>
                <a:lnTo>
                  <a:pt x="3425" y="3429"/>
                </a:lnTo>
                <a:lnTo>
                  <a:pt x="3438" y="3443"/>
                </a:lnTo>
                <a:lnTo>
                  <a:pt x="3449" y="3456"/>
                </a:lnTo>
                <a:lnTo>
                  <a:pt x="3459" y="3468"/>
                </a:lnTo>
                <a:lnTo>
                  <a:pt x="3466" y="3480"/>
                </a:lnTo>
                <a:lnTo>
                  <a:pt x="3473" y="3491"/>
                </a:lnTo>
                <a:lnTo>
                  <a:pt x="3477" y="3501"/>
                </a:lnTo>
                <a:lnTo>
                  <a:pt x="3479" y="3512"/>
                </a:lnTo>
                <a:lnTo>
                  <a:pt x="3480" y="3522"/>
                </a:lnTo>
                <a:close/>
              </a:path>
            </a:pathLst>
          </a:custGeom>
          <a:solidFill>
            <a:schemeClr val="bg1">
              <a:lumMod val="75000"/>
            </a:schemeClr>
          </a:solidFill>
          <a:ln w="9525">
            <a:noFill/>
            <a:round/>
            <a:headEnd/>
            <a:tailEnd/>
          </a:ln>
        </p:spPr>
        <p:txBody>
          <a:bodyPr/>
          <a:lstStyle>
            <a:defPPr>
              <a:defRPr lang="en-US"/>
            </a:defPPr>
            <a:lvl1pPr marL="0" algn="l" defTabSz="1018824" rtl="0" eaLnBrk="1" latinLnBrk="0" hangingPunct="1">
              <a:defRPr sz="2000" kern="1200">
                <a:solidFill>
                  <a:schemeClr val="tx1"/>
                </a:solidFill>
                <a:latin typeface="+mn-lt"/>
                <a:ea typeface="+mn-ea"/>
                <a:cs typeface="+mn-cs"/>
              </a:defRPr>
            </a:lvl1pPr>
            <a:lvl2pPr marL="509412" algn="l" defTabSz="1018824" rtl="0" eaLnBrk="1" latinLnBrk="0" hangingPunct="1">
              <a:defRPr sz="2000" kern="1200">
                <a:solidFill>
                  <a:schemeClr val="tx1"/>
                </a:solidFill>
                <a:latin typeface="+mn-lt"/>
                <a:ea typeface="+mn-ea"/>
                <a:cs typeface="+mn-cs"/>
              </a:defRPr>
            </a:lvl2pPr>
            <a:lvl3pPr marL="1018824" algn="l" defTabSz="1018824" rtl="0" eaLnBrk="1" latinLnBrk="0" hangingPunct="1">
              <a:defRPr sz="2000" kern="1200">
                <a:solidFill>
                  <a:schemeClr val="tx1"/>
                </a:solidFill>
                <a:latin typeface="+mn-lt"/>
                <a:ea typeface="+mn-ea"/>
                <a:cs typeface="+mn-cs"/>
              </a:defRPr>
            </a:lvl3pPr>
            <a:lvl4pPr marL="1528237" algn="l" defTabSz="1018824" rtl="0" eaLnBrk="1" latinLnBrk="0" hangingPunct="1">
              <a:defRPr sz="2000" kern="1200">
                <a:solidFill>
                  <a:schemeClr val="tx1"/>
                </a:solidFill>
                <a:latin typeface="+mn-lt"/>
                <a:ea typeface="+mn-ea"/>
                <a:cs typeface="+mn-cs"/>
              </a:defRPr>
            </a:lvl4pPr>
            <a:lvl5pPr marL="2037649" algn="l" defTabSz="1018824" rtl="0" eaLnBrk="1" latinLnBrk="0" hangingPunct="1">
              <a:defRPr sz="2000" kern="1200">
                <a:solidFill>
                  <a:schemeClr val="tx1"/>
                </a:solidFill>
                <a:latin typeface="+mn-lt"/>
                <a:ea typeface="+mn-ea"/>
                <a:cs typeface="+mn-cs"/>
              </a:defRPr>
            </a:lvl5pPr>
            <a:lvl6pPr marL="2547061" algn="l" defTabSz="1018824" rtl="0" eaLnBrk="1" latinLnBrk="0" hangingPunct="1">
              <a:defRPr sz="2000" kern="1200">
                <a:solidFill>
                  <a:schemeClr val="tx1"/>
                </a:solidFill>
                <a:latin typeface="+mn-lt"/>
                <a:ea typeface="+mn-ea"/>
                <a:cs typeface="+mn-cs"/>
              </a:defRPr>
            </a:lvl6pPr>
            <a:lvl7pPr marL="3056473" algn="l" defTabSz="1018824" rtl="0" eaLnBrk="1" latinLnBrk="0" hangingPunct="1">
              <a:defRPr sz="2000" kern="1200">
                <a:solidFill>
                  <a:schemeClr val="tx1"/>
                </a:solidFill>
                <a:latin typeface="+mn-lt"/>
                <a:ea typeface="+mn-ea"/>
                <a:cs typeface="+mn-cs"/>
              </a:defRPr>
            </a:lvl7pPr>
            <a:lvl8pPr marL="3565886" algn="l" defTabSz="1018824" rtl="0" eaLnBrk="1" latinLnBrk="0" hangingPunct="1">
              <a:defRPr sz="2000" kern="1200">
                <a:solidFill>
                  <a:schemeClr val="tx1"/>
                </a:solidFill>
                <a:latin typeface="+mn-lt"/>
                <a:ea typeface="+mn-ea"/>
                <a:cs typeface="+mn-cs"/>
              </a:defRPr>
            </a:lvl8pPr>
            <a:lvl9pPr marL="4075298" algn="l" defTabSz="1018824" rtl="0" eaLnBrk="1" latinLnBrk="0" hangingPunct="1">
              <a:defRPr sz="2000" kern="1200">
                <a:solidFill>
                  <a:schemeClr val="tx1"/>
                </a:solidFill>
                <a:latin typeface="+mn-lt"/>
                <a:ea typeface="+mn-ea"/>
                <a:cs typeface="+mn-cs"/>
              </a:defRPr>
            </a:lvl9pPr>
          </a:lstStyle>
          <a:p>
            <a:pPr marL="0" marR="0" lvl="0" indent="0" algn="l" defTabSz="1018824" rtl="0" eaLnBrk="1" fontAlgn="auto" latinLnBrk="0" hangingPunct="1">
              <a:lnSpc>
                <a:spcPct val="100000"/>
              </a:lnSpc>
              <a:spcBef>
                <a:spcPts val="0"/>
              </a:spcBef>
              <a:spcAft>
                <a:spcPts val="0"/>
              </a:spcAft>
              <a:buClrTx/>
              <a:buSzTx/>
              <a:buFontTx/>
              <a:buNone/>
              <a:tabLst/>
              <a:defRPr/>
            </a:pPr>
            <a:endParaRPr kumimoji="0" lang="en-GB" sz="1589"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Freeform 16">
            <a:extLst>
              <a:ext uri="{FF2B5EF4-FFF2-40B4-BE49-F238E27FC236}">
                <a16:creationId xmlns:a16="http://schemas.microsoft.com/office/drawing/2014/main" id="{D28F4EA3-B7EC-4763-9659-D9F2E1518C9A}"/>
              </a:ext>
            </a:extLst>
          </p:cNvPr>
          <p:cNvSpPr>
            <a:spLocks/>
          </p:cNvSpPr>
          <p:nvPr/>
        </p:nvSpPr>
        <p:spPr bwMode="auto">
          <a:xfrm>
            <a:off x="2790272" y="4302966"/>
            <a:ext cx="197037" cy="470851"/>
          </a:xfrm>
          <a:custGeom>
            <a:avLst/>
            <a:gdLst>
              <a:gd name="T0" fmla="*/ 13344091 w 6132"/>
              <a:gd name="T1" fmla="*/ 10441401 h 16980"/>
              <a:gd name="T2" fmla="*/ 14439013 w 6132"/>
              <a:gd name="T3" fmla="*/ 10808942 h 16980"/>
              <a:gd name="T4" fmla="*/ 15478309 w 6132"/>
              <a:gd name="T5" fmla="*/ 11467619 h 16980"/>
              <a:gd name="T6" fmla="*/ 16450295 w 6132"/>
              <a:gd name="T7" fmla="*/ 12408541 h 16980"/>
              <a:gd name="T8" fmla="*/ 17214401 w 6132"/>
              <a:gd name="T9" fmla="*/ 13481773 h 16980"/>
              <a:gd name="T10" fmla="*/ 17709159 w 6132"/>
              <a:gd name="T11" fmla="*/ 14605004 h 16980"/>
              <a:gd name="T12" fmla="*/ 17937493 w 6132"/>
              <a:gd name="T13" fmla="*/ 15789994 h 16980"/>
              <a:gd name="T14" fmla="*/ 17922884 w 6132"/>
              <a:gd name="T15" fmla="*/ 28795453 h 16980"/>
              <a:gd name="T16" fmla="*/ 17720901 w 6132"/>
              <a:gd name="T17" fmla="*/ 29724608 h 16980"/>
              <a:gd name="T18" fmla="*/ 17322724 w 6132"/>
              <a:gd name="T19" fmla="*/ 30571448 h 16980"/>
              <a:gd name="T20" fmla="*/ 16731329 w 6132"/>
              <a:gd name="T21" fmla="*/ 31344758 h 16980"/>
              <a:gd name="T22" fmla="*/ 15970146 w 6132"/>
              <a:gd name="T23" fmla="*/ 32000508 h 16980"/>
              <a:gd name="T24" fmla="*/ 15062602 w 6132"/>
              <a:gd name="T25" fmla="*/ 32509198 h 16980"/>
              <a:gd name="T26" fmla="*/ 14014483 w 6132"/>
              <a:gd name="T27" fmla="*/ 32867899 h 16980"/>
              <a:gd name="T28" fmla="*/ 4168927 w 6132"/>
              <a:gd name="T29" fmla="*/ 32935519 h 16980"/>
              <a:gd name="T30" fmla="*/ 3003722 w 6132"/>
              <a:gd name="T31" fmla="*/ 32515054 h 16980"/>
              <a:gd name="T32" fmla="*/ 2104943 w 6132"/>
              <a:gd name="T33" fmla="*/ 32053432 h 16980"/>
              <a:gd name="T34" fmla="*/ 1334994 w 6132"/>
              <a:gd name="T35" fmla="*/ 31503585 h 16980"/>
              <a:gd name="T36" fmla="*/ 723146 w 6132"/>
              <a:gd name="T37" fmla="*/ 30883136 h 16980"/>
              <a:gd name="T38" fmla="*/ 295697 w 6132"/>
              <a:gd name="T39" fmla="*/ 30230369 h 16980"/>
              <a:gd name="T40" fmla="*/ 55622 w 6132"/>
              <a:gd name="T41" fmla="*/ 29542302 h 16980"/>
              <a:gd name="T42" fmla="*/ 2922 w 6132"/>
              <a:gd name="T43" fmla="*/ 16034064 h 16980"/>
              <a:gd name="T44" fmla="*/ 166867 w 6132"/>
              <a:gd name="T45" fmla="*/ 14637376 h 16980"/>
              <a:gd name="T46" fmla="*/ 608925 w 6132"/>
              <a:gd name="T47" fmla="*/ 13408297 h 16980"/>
              <a:gd name="T48" fmla="*/ 1326228 w 6132"/>
              <a:gd name="T49" fmla="*/ 12352689 h 16980"/>
              <a:gd name="T50" fmla="*/ 2309902 w 6132"/>
              <a:gd name="T51" fmla="*/ 11479386 h 16980"/>
              <a:gd name="T52" fmla="*/ 3495559 w 6132"/>
              <a:gd name="T53" fmla="*/ 10853081 h 16980"/>
              <a:gd name="T54" fmla="*/ 4889097 w 6132"/>
              <a:gd name="T55" fmla="*/ 10479630 h 16980"/>
              <a:gd name="T56" fmla="*/ 6475906 w 6132"/>
              <a:gd name="T57" fmla="*/ 10356104 h 16980"/>
              <a:gd name="T58" fmla="*/ 6768627 w 6132"/>
              <a:gd name="T59" fmla="*/ 10332625 h 16980"/>
              <a:gd name="T60" fmla="*/ 7661564 w 6132"/>
              <a:gd name="T61" fmla="*/ 10323786 h 16980"/>
              <a:gd name="T62" fmla="*/ 7863602 w 6132"/>
              <a:gd name="T63" fmla="*/ 10085627 h 16980"/>
              <a:gd name="T64" fmla="*/ 7032131 w 6132"/>
              <a:gd name="T65" fmla="*/ 9768029 h 16980"/>
              <a:gd name="T66" fmla="*/ 6197794 w 6132"/>
              <a:gd name="T67" fmla="*/ 9285801 h 16980"/>
              <a:gd name="T68" fmla="*/ 5471726 w 6132"/>
              <a:gd name="T69" fmla="*/ 8674191 h 16980"/>
              <a:gd name="T70" fmla="*/ 4859825 w 6132"/>
              <a:gd name="T71" fmla="*/ 7936181 h 16980"/>
              <a:gd name="T72" fmla="*/ 4409002 w 6132"/>
              <a:gd name="T73" fmla="*/ 7115803 h 16980"/>
              <a:gd name="T74" fmla="*/ 4122070 w 6132"/>
              <a:gd name="T75" fmla="*/ 6242499 h 16980"/>
              <a:gd name="T76" fmla="*/ 4002059 w 6132"/>
              <a:gd name="T77" fmla="*/ 5304506 h 16980"/>
              <a:gd name="T78" fmla="*/ 4069369 w 6132"/>
              <a:gd name="T79" fmla="*/ 4195974 h 16980"/>
              <a:gd name="T80" fmla="*/ 4370910 w 6132"/>
              <a:gd name="T81" fmla="*/ 3140364 h 16980"/>
              <a:gd name="T82" fmla="*/ 4906682 w 6132"/>
              <a:gd name="T83" fmla="*/ 2181765 h 16980"/>
              <a:gd name="T84" fmla="*/ 5679553 w 6132"/>
              <a:gd name="T85" fmla="*/ 1317301 h 16980"/>
              <a:gd name="T86" fmla="*/ 6578332 w 6132"/>
              <a:gd name="T87" fmla="*/ 643928 h 16980"/>
              <a:gd name="T88" fmla="*/ 7576670 w 6132"/>
              <a:gd name="T89" fmla="*/ 208768 h 16980"/>
              <a:gd name="T90" fmla="*/ 8671588 w 6132"/>
              <a:gd name="T91" fmla="*/ 11767 h 16980"/>
              <a:gd name="T92" fmla="*/ 9825105 w 6132"/>
              <a:gd name="T93" fmla="*/ 52924 h 16980"/>
              <a:gd name="T94" fmla="*/ 10893673 w 6132"/>
              <a:gd name="T95" fmla="*/ 326384 h 16980"/>
              <a:gd name="T96" fmla="*/ 11865659 w 6132"/>
              <a:gd name="T97" fmla="*/ 843912 h 16980"/>
              <a:gd name="T98" fmla="*/ 12743931 w 6132"/>
              <a:gd name="T99" fmla="*/ 1593689 h 16980"/>
              <a:gd name="T100" fmla="*/ 13431908 w 6132"/>
              <a:gd name="T101" fmla="*/ 2490525 h 16980"/>
              <a:gd name="T102" fmla="*/ 13891551 w 6132"/>
              <a:gd name="T103" fmla="*/ 3481443 h 16980"/>
              <a:gd name="T104" fmla="*/ 14111119 w 6132"/>
              <a:gd name="T105" fmla="*/ 4572353 h 16980"/>
              <a:gd name="T106" fmla="*/ 14105275 w 6132"/>
              <a:gd name="T107" fmla="*/ 5636746 h 16980"/>
              <a:gd name="T108" fmla="*/ 13912057 w 6132"/>
              <a:gd name="T109" fmla="*/ 6586506 h 16980"/>
              <a:gd name="T110" fmla="*/ 13537309 w 6132"/>
              <a:gd name="T111" fmla="*/ 7471577 h 16980"/>
              <a:gd name="T112" fmla="*/ 12972265 w 6132"/>
              <a:gd name="T113" fmla="*/ 8303722 h 16980"/>
              <a:gd name="T114" fmla="*/ 12272601 w 6132"/>
              <a:gd name="T115" fmla="*/ 9015324 h 16980"/>
              <a:gd name="T116" fmla="*/ 11473326 w 6132"/>
              <a:gd name="T117" fmla="*/ 9562188 h 16980"/>
              <a:gd name="T118" fmla="*/ 10571626 w 6132"/>
              <a:gd name="T119" fmla="*/ 9941550 h 16980"/>
              <a:gd name="T120" fmla="*/ 10147098 w 6132"/>
              <a:gd name="T121" fmla="*/ 10232633 h 1698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6132"/>
              <a:gd name="T184" fmla="*/ 0 h 16980"/>
              <a:gd name="T185" fmla="*/ 6132 w 6132"/>
              <a:gd name="T186" fmla="*/ 16980 h 16980"/>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6132" h="16980">
                <a:moveTo>
                  <a:pt x="3480" y="3522"/>
                </a:moveTo>
                <a:lnTo>
                  <a:pt x="4254" y="3522"/>
                </a:lnTo>
                <a:lnTo>
                  <a:pt x="4298" y="3522"/>
                </a:lnTo>
                <a:lnTo>
                  <a:pt x="4342" y="3524"/>
                </a:lnTo>
                <a:lnTo>
                  <a:pt x="4386" y="3527"/>
                </a:lnTo>
                <a:lnTo>
                  <a:pt x="4429" y="3531"/>
                </a:lnTo>
                <a:lnTo>
                  <a:pt x="4473" y="3536"/>
                </a:lnTo>
                <a:lnTo>
                  <a:pt x="4515" y="3543"/>
                </a:lnTo>
                <a:lnTo>
                  <a:pt x="4558" y="3551"/>
                </a:lnTo>
                <a:lnTo>
                  <a:pt x="4601" y="3560"/>
                </a:lnTo>
                <a:lnTo>
                  <a:pt x="4643" y="3570"/>
                </a:lnTo>
                <a:lnTo>
                  <a:pt x="4685" y="3582"/>
                </a:lnTo>
                <a:lnTo>
                  <a:pt x="4727" y="3595"/>
                </a:lnTo>
                <a:lnTo>
                  <a:pt x="4769" y="3609"/>
                </a:lnTo>
                <a:lnTo>
                  <a:pt x="4809" y="3624"/>
                </a:lnTo>
                <a:lnTo>
                  <a:pt x="4851" y="3640"/>
                </a:lnTo>
                <a:lnTo>
                  <a:pt x="4892" y="3658"/>
                </a:lnTo>
                <a:lnTo>
                  <a:pt x="4932" y="3676"/>
                </a:lnTo>
                <a:lnTo>
                  <a:pt x="4973" y="3696"/>
                </a:lnTo>
                <a:lnTo>
                  <a:pt x="5013" y="3717"/>
                </a:lnTo>
                <a:lnTo>
                  <a:pt x="5052" y="3739"/>
                </a:lnTo>
                <a:lnTo>
                  <a:pt x="5093" y="3763"/>
                </a:lnTo>
                <a:lnTo>
                  <a:pt x="5132" y="3788"/>
                </a:lnTo>
                <a:lnTo>
                  <a:pt x="5171" y="3814"/>
                </a:lnTo>
                <a:lnTo>
                  <a:pt x="5210" y="3842"/>
                </a:lnTo>
                <a:lnTo>
                  <a:pt x="5249" y="3870"/>
                </a:lnTo>
                <a:lnTo>
                  <a:pt x="5287" y="3900"/>
                </a:lnTo>
                <a:lnTo>
                  <a:pt x="5325" y="3931"/>
                </a:lnTo>
                <a:lnTo>
                  <a:pt x="5364" y="3963"/>
                </a:lnTo>
                <a:lnTo>
                  <a:pt x="5401" y="3997"/>
                </a:lnTo>
                <a:lnTo>
                  <a:pt x="5438" y="4031"/>
                </a:lnTo>
                <a:lnTo>
                  <a:pt x="5475" y="4067"/>
                </a:lnTo>
                <a:lnTo>
                  <a:pt x="5512" y="4104"/>
                </a:lnTo>
                <a:lnTo>
                  <a:pt x="5549" y="4142"/>
                </a:lnTo>
                <a:lnTo>
                  <a:pt x="5584" y="4181"/>
                </a:lnTo>
                <a:lnTo>
                  <a:pt x="5619" y="4220"/>
                </a:lnTo>
                <a:lnTo>
                  <a:pt x="5652" y="4260"/>
                </a:lnTo>
                <a:lnTo>
                  <a:pt x="5685" y="4300"/>
                </a:lnTo>
                <a:lnTo>
                  <a:pt x="5716" y="4339"/>
                </a:lnTo>
                <a:lnTo>
                  <a:pt x="5747" y="4379"/>
                </a:lnTo>
                <a:lnTo>
                  <a:pt x="5775" y="4420"/>
                </a:lnTo>
                <a:lnTo>
                  <a:pt x="5803" y="4460"/>
                </a:lnTo>
                <a:lnTo>
                  <a:pt x="5830" y="4502"/>
                </a:lnTo>
                <a:lnTo>
                  <a:pt x="5855" y="4543"/>
                </a:lnTo>
                <a:lnTo>
                  <a:pt x="5880" y="4585"/>
                </a:lnTo>
                <a:lnTo>
                  <a:pt x="5904" y="4626"/>
                </a:lnTo>
                <a:lnTo>
                  <a:pt x="5925" y="4667"/>
                </a:lnTo>
                <a:lnTo>
                  <a:pt x="5946" y="4710"/>
                </a:lnTo>
                <a:lnTo>
                  <a:pt x="5967" y="4752"/>
                </a:lnTo>
                <a:lnTo>
                  <a:pt x="5986" y="4795"/>
                </a:lnTo>
                <a:lnTo>
                  <a:pt x="6004" y="4838"/>
                </a:lnTo>
                <a:lnTo>
                  <a:pt x="6020" y="4880"/>
                </a:lnTo>
                <a:lnTo>
                  <a:pt x="6036" y="4924"/>
                </a:lnTo>
                <a:lnTo>
                  <a:pt x="6049" y="4967"/>
                </a:lnTo>
                <a:lnTo>
                  <a:pt x="6063" y="5011"/>
                </a:lnTo>
                <a:lnTo>
                  <a:pt x="6075" y="5055"/>
                </a:lnTo>
                <a:lnTo>
                  <a:pt x="6085" y="5100"/>
                </a:lnTo>
                <a:lnTo>
                  <a:pt x="6095" y="5144"/>
                </a:lnTo>
                <a:lnTo>
                  <a:pt x="6104" y="5189"/>
                </a:lnTo>
                <a:lnTo>
                  <a:pt x="6111" y="5234"/>
                </a:lnTo>
                <a:lnTo>
                  <a:pt x="6117" y="5280"/>
                </a:lnTo>
                <a:lnTo>
                  <a:pt x="6123" y="5324"/>
                </a:lnTo>
                <a:lnTo>
                  <a:pt x="6127" y="5370"/>
                </a:lnTo>
                <a:lnTo>
                  <a:pt x="6130" y="5417"/>
                </a:lnTo>
                <a:lnTo>
                  <a:pt x="6131" y="5463"/>
                </a:lnTo>
                <a:lnTo>
                  <a:pt x="6132" y="5509"/>
                </a:lnTo>
                <a:lnTo>
                  <a:pt x="6132" y="9605"/>
                </a:lnTo>
                <a:lnTo>
                  <a:pt x="6132" y="9643"/>
                </a:lnTo>
                <a:lnTo>
                  <a:pt x="6130" y="9682"/>
                </a:lnTo>
                <a:lnTo>
                  <a:pt x="6129" y="9719"/>
                </a:lnTo>
                <a:lnTo>
                  <a:pt x="6126" y="9756"/>
                </a:lnTo>
                <a:lnTo>
                  <a:pt x="6122" y="9793"/>
                </a:lnTo>
                <a:lnTo>
                  <a:pt x="6117" y="9829"/>
                </a:lnTo>
                <a:lnTo>
                  <a:pt x="6112" y="9866"/>
                </a:lnTo>
                <a:lnTo>
                  <a:pt x="6107" y="9901"/>
                </a:lnTo>
                <a:lnTo>
                  <a:pt x="6099" y="9937"/>
                </a:lnTo>
                <a:lnTo>
                  <a:pt x="6092" y="9972"/>
                </a:lnTo>
                <a:lnTo>
                  <a:pt x="6083" y="10007"/>
                </a:lnTo>
                <a:lnTo>
                  <a:pt x="6074" y="10041"/>
                </a:lnTo>
                <a:lnTo>
                  <a:pt x="6063" y="10075"/>
                </a:lnTo>
                <a:lnTo>
                  <a:pt x="6053" y="10109"/>
                </a:lnTo>
                <a:lnTo>
                  <a:pt x="6041" y="10142"/>
                </a:lnTo>
                <a:lnTo>
                  <a:pt x="6028" y="10175"/>
                </a:lnTo>
                <a:lnTo>
                  <a:pt x="6014" y="10208"/>
                </a:lnTo>
                <a:lnTo>
                  <a:pt x="6001" y="10241"/>
                </a:lnTo>
                <a:lnTo>
                  <a:pt x="5986" y="10273"/>
                </a:lnTo>
                <a:lnTo>
                  <a:pt x="5970" y="10305"/>
                </a:lnTo>
                <a:lnTo>
                  <a:pt x="5953" y="10335"/>
                </a:lnTo>
                <a:lnTo>
                  <a:pt x="5935" y="10366"/>
                </a:lnTo>
                <a:lnTo>
                  <a:pt x="5917" y="10397"/>
                </a:lnTo>
                <a:lnTo>
                  <a:pt x="5898" y="10428"/>
                </a:lnTo>
                <a:lnTo>
                  <a:pt x="5877" y="10458"/>
                </a:lnTo>
                <a:lnTo>
                  <a:pt x="5857" y="10487"/>
                </a:lnTo>
                <a:lnTo>
                  <a:pt x="5835" y="10517"/>
                </a:lnTo>
                <a:lnTo>
                  <a:pt x="5813" y="10546"/>
                </a:lnTo>
                <a:lnTo>
                  <a:pt x="5789" y="10575"/>
                </a:lnTo>
                <a:lnTo>
                  <a:pt x="5766" y="10603"/>
                </a:lnTo>
                <a:lnTo>
                  <a:pt x="5740" y="10632"/>
                </a:lnTo>
                <a:lnTo>
                  <a:pt x="5715" y="10660"/>
                </a:lnTo>
                <a:lnTo>
                  <a:pt x="5688" y="10687"/>
                </a:lnTo>
                <a:lnTo>
                  <a:pt x="5661" y="10714"/>
                </a:lnTo>
                <a:lnTo>
                  <a:pt x="5633" y="10739"/>
                </a:lnTo>
                <a:lnTo>
                  <a:pt x="5606" y="10765"/>
                </a:lnTo>
                <a:lnTo>
                  <a:pt x="5576" y="10790"/>
                </a:lnTo>
                <a:lnTo>
                  <a:pt x="5546" y="10814"/>
                </a:lnTo>
                <a:lnTo>
                  <a:pt x="5516" y="10838"/>
                </a:lnTo>
                <a:lnTo>
                  <a:pt x="5486" y="10860"/>
                </a:lnTo>
                <a:lnTo>
                  <a:pt x="5455" y="10883"/>
                </a:lnTo>
                <a:lnTo>
                  <a:pt x="5422" y="10905"/>
                </a:lnTo>
                <a:lnTo>
                  <a:pt x="5390" y="10925"/>
                </a:lnTo>
                <a:lnTo>
                  <a:pt x="5357" y="10947"/>
                </a:lnTo>
                <a:lnTo>
                  <a:pt x="5323" y="10966"/>
                </a:lnTo>
                <a:lnTo>
                  <a:pt x="5288" y="10985"/>
                </a:lnTo>
                <a:lnTo>
                  <a:pt x="5253" y="11004"/>
                </a:lnTo>
                <a:lnTo>
                  <a:pt x="5218" y="11022"/>
                </a:lnTo>
                <a:lnTo>
                  <a:pt x="5182" y="11039"/>
                </a:lnTo>
                <a:lnTo>
                  <a:pt x="5145" y="11056"/>
                </a:lnTo>
                <a:lnTo>
                  <a:pt x="5108" y="11072"/>
                </a:lnTo>
                <a:lnTo>
                  <a:pt x="5069" y="11087"/>
                </a:lnTo>
                <a:lnTo>
                  <a:pt x="5031" y="11102"/>
                </a:lnTo>
                <a:lnTo>
                  <a:pt x="4992" y="11117"/>
                </a:lnTo>
                <a:lnTo>
                  <a:pt x="4952" y="11130"/>
                </a:lnTo>
                <a:lnTo>
                  <a:pt x="4911" y="11143"/>
                </a:lnTo>
                <a:lnTo>
                  <a:pt x="4871" y="11155"/>
                </a:lnTo>
                <a:lnTo>
                  <a:pt x="4828" y="11167"/>
                </a:lnTo>
                <a:lnTo>
                  <a:pt x="4787" y="11178"/>
                </a:lnTo>
                <a:lnTo>
                  <a:pt x="4743" y="11189"/>
                </a:lnTo>
                <a:lnTo>
                  <a:pt x="4701" y="11199"/>
                </a:lnTo>
                <a:lnTo>
                  <a:pt x="4656" y="11208"/>
                </a:lnTo>
                <a:lnTo>
                  <a:pt x="4612" y="11217"/>
                </a:lnTo>
                <a:lnTo>
                  <a:pt x="4567" y="11225"/>
                </a:lnTo>
                <a:lnTo>
                  <a:pt x="4567" y="16980"/>
                </a:lnTo>
                <a:lnTo>
                  <a:pt x="1510" y="16980"/>
                </a:lnTo>
                <a:lnTo>
                  <a:pt x="1510" y="11225"/>
                </a:lnTo>
                <a:lnTo>
                  <a:pt x="1424" y="11201"/>
                </a:lnTo>
                <a:lnTo>
                  <a:pt x="1340" y="11175"/>
                </a:lnTo>
                <a:lnTo>
                  <a:pt x="1298" y="11161"/>
                </a:lnTo>
                <a:lnTo>
                  <a:pt x="1258" y="11148"/>
                </a:lnTo>
                <a:lnTo>
                  <a:pt x="1218" y="11134"/>
                </a:lnTo>
                <a:lnTo>
                  <a:pt x="1178" y="11120"/>
                </a:lnTo>
                <a:lnTo>
                  <a:pt x="1139" y="11105"/>
                </a:lnTo>
                <a:lnTo>
                  <a:pt x="1101" y="11089"/>
                </a:lnTo>
                <a:lnTo>
                  <a:pt x="1064" y="11074"/>
                </a:lnTo>
                <a:lnTo>
                  <a:pt x="1026" y="11058"/>
                </a:lnTo>
                <a:lnTo>
                  <a:pt x="990" y="11042"/>
                </a:lnTo>
                <a:lnTo>
                  <a:pt x="954" y="11025"/>
                </a:lnTo>
                <a:lnTo>
                  <a:pt x="918" y="11009"/>
                </a:lnTo>
                <a:lnTo>
                  <a:pt x="884" y="10991"/>
                </a:lnTo>
                <a:lnTo>
                  <a:pt x="849" y="10974"/>
                </a:lnTo>
                <a:lnTo>
                  <a:pt x="816" y="10956"/>
                </a:lnTo>
                <a:lnTo>
                  <a:pt x="782" y="10938"/>
                </a:lnTo>
                <a:lnTo>
                  <a:pt x="750" y="10920"/>
                </a:lnTo>
                <a:lnTo>
                  <a:pt x="719" y="10901"/>
                </a:lnTo>
                <a:lnTo>
                  <a:pt x="687" y="10882"/>
                </a:lnTo>
                <a:lnTo>
                  <a:pt x="656" y="10862"/>
                </a:lnTo>
                <a:lnTo>
                  <a:pt x="626" y="10841"/>
                </a:lnTo>
                <a:lnTo>
                  <a:pt x="596" y="10821"/>
                </a:lnTo>
                <a:lnTo>
                  <a:pt x="567" y="10801"/>
                </a:lnTo>
                <a:lnTo>
                  <a:pt x="539" y="10780"/>
                </a:lnTo>
                <a:lnTo>
                  <a:pt x="510" y="10758"/>
                </a:lnTo>
                <a:lnTo>
                  <a:pt x="484" y="10736"/>
                </a:lnTo>
                <a:lnTo>
                  <a:pt x="456" y="10714"/>
                </a:lnTo>
                <a:lnTo>
                  <a:pt x="431" y="10691"/>
                </a:lnTo>
                <a:lnTo>
                  <a:pt x="405" y="10668"/>
                </a:lnTo>
                <a:lnTo>
                  <a:pt x="380" y="10646"/>
                </a:lnTo>
                <a:lnTo>
                  <a:pt x="355" y="10622"/>
                </a:lnTo>
                <a:lnTo>
                  <a:pt x="332" y="10599"/>
                </a:lnTo>
                <a:lnTo>
                  <a:pt x="310" y="10576"/>
                </a:lnTo>
                <a:lnTo>
                  <a:pt x="289" y="10551"/>
                </a:lnTo>
                <a:lnTo>
                  <a:pt x="267" y="10528"/>
                </a:lnTo>
                <a:lnTo>
                  <a:pt x="247" y="10503"/>
                </a:lnTo>
                <a:lnTo>
                  <a:pt x="228" y="10480"/>
                </a:lnTo>
                <a:lnTo>
                  <a:pt x="209" y="10455"/>
                </a:lnTo>
                <a:lnTo>
                  <a:pt x="191" y="10431"/>
                </a:lnTo>
                <a:lnTo>
                  <a:pt x="174" y="10407"/>
                </a:lnTo>
                <a:lnTo>
                  <a:pt x="158" y="10382"/>
                </a:lnTo>
                <a:lnTo>
                  <a:pt x="142" y="10357"/>
                </a:lnTo>
                <a:lnTo>
                  <a:pt x="128" y="10332"/>
                </a:lnTo>
                <a:lnTo>
                  <a:pt x="114" y="10307"/>
                </a:lnTo>
                <a:lnTo>
                  <a:pt x="101" y="10281"/>
                </a:lnTo>
                <a:lnTo>
                  <a:pt x="89" y="10256"/>
                </a:lnTo>
                <a:lnTo>
                  <a:pt x="77" y="10230"/>
                </a:lnTo>
                <a:lnTo>
                  <a:pt x="67" y="10205"/>
                </a:lnTo>
                <a:lnTo>
                  <a:pt x="57" y="10179"/>
                </a:lnTo>
                <a:lnTo>
                  <a:pt x="48" y="10153"/>
                </a:lnTo>
                <a:lnTo>
                  <a:pt x="39" y="10127"/>
                </a:lnTo>
                <a:lnTo>
                  <a:pt x="32" y="10100"/>
                </a:lnTo>
                <a:lnTo>
                  <a:pt x="25" y="10074"/>
                </a:lnTo>
                <a:lnTo>
                  <a:pt x="19" y="10047"/>
                </a:lnTo>
                <a:lnTo>
                  <a:pt x="14" y="10021"/>
                </a:lnTo>
                <a:lnTo>
                  <a:pt x="9" y="9994"/>
                </a:lnTo>
                <a:lnTo>
                  <a:pt x="6" y="9967"/>
                </a:lnTo>
                <a:lnTo>
                  <a:pt x="3" y="9940"/>
                </a:lnTo>
                <a:lnTo>
                  <a:pt x="1" y="9912"/>
                </a:lnTo>
                <a:lnTo>
                  <a:pt x="0" y="9885"/>
                </a:lnTo>
                <a:lnTo>
                  <a:pt x="0" y="9857"/>
                </a:lnTo>
                <a:lnTo>
                  <a:pt x="0" y="5509"/>
                </a:lnTo>
                <a:lnTo>
                  <a:pt x="1" y="5453"/>
                </a:lnTo>
                <a:lnTo>
                  <a:pt x="2" y="5398"/>
                </a:lnTo>
                <a:lnTo>
                  <a:pt x="5" y="5342"/>
                </a:lnTo>
                <a:lnTo>
                  <a:pt x="9" y="5288"/>
                </a:lnTo>
                <a:lnTo>
                  <a:pt x="15" y="5235"/>
                </a:lnTo>
                <a:lnTo>
                  <a:pt x="21" y="5182"/>
                </a:lnTo>
                <a:lnTo>
                  <a:pt x="28" y="5130"/>
                </a:lnTo>
                <a:lnTo>
                  <a:pt x="37" y="5079"/>
                </a:lnTo>
                <a:lnTo>
                  <a:pt x="47" y="5028"/>
                </a:lnTo>
                <a:lnTo>
                  <a:pt x="57" y="4978"/>
                </a:lnTo>
                <a:lnTo>
                  <a:pt x="70" y="4929"/>
                </a:lnTo>
                <a:lnTo>
                  <a:pt x="83" y="4880"/>
                </a:lnTo>
                <a:lnTo>
                  <a:pt x="97" y="4832"/>
                </a:lnTo>
                <a:lnTo>
                  <a:pt x="112" y="4785"/>
                </a:lnTo>
                <a:lnTo>
                  <a:pt x="129" y="4739"/>
                </a:lnTo>
                <a:lnTo>
                  <a:pt x="147" y="4693"/>
                </a:lnTo>
                <a:lnTo>
                  <a:pt x="166" y="4648"/>
                </a:lnTo>
                <a:lnTo>
                  <a:pt x="187" y="4604"/>
                </a:lnTo>
                <a:lnTo>
                  <a:pt x="208" y="4560"/>
                </a:lnTo>
                <a:lnTo>
                  <a:pt x="230" y="4518"/>
                </a:lnTo>
                <a:lnTo>
                  <a:pt x="255" y="4476"/>
                </a:lnTo>
                <a:lnTo>
                  <a:pt x="279" y="4435"/>
                </a:lnTo>
                <a:lnTo>
                  <a:pt x="306" y="4393"/>
                </a:lnTo>
                <a:lnTo>
                  <a:pt x="332" y="4354"/>
                </a:lnTo>
                <a:lnTo>
                  <a:pt x="361" y="4315"/>
                </a:lnTo>
                <a:lnTo>
                  <a:pt x="391" y="4275"/>
                </a:lnTo>
                <a:lnTo>
                  <a:pt x="421" y="4238"/>
                </a:lnTo>
                <a:lnTo>
                  <a:pt x="453" y="4201"/>
                </a:lnTo>
                <a:lnTo>
                  <a:pt x="486" y="4165"/>
                </a:lnTo>
                <a:lnTo>
                  <a:pt x="520" y="4129"/>
                </a:lnTo>
                <a:lnTo>
                  <a:pt x="556" y="4093"/>
                </a:lnTo>
                <a:lnTo>
                  <a:pt x="592" y="4059"/>
                </a:lnTo>
                <a:lnTo>
                  <a:pt x="629" y="4025"/>
                </a:lnTo>
                <a:lnTo>
                  <a:pt x="668" y="3994"/>
                </a:lnTo>
                <a:lnTo>
                  <a:pt x="707" y="3963"/>
                </a:lnTo>
                <a:lnTo>
                  <a:pt x="747" y="3933"/>
                </a:lnTo>
                <a:lnTo>
                  <a:pt x="789" y="3904"/>
                </a:lnTo>
                <a:lnTo>
                  <a:pt x="830" y="3876"/>
                </a:lnTo>
                <a:lnTo>
                  <a:pt x="873" y="3849"/>
                </a:lnTo>
                <a:lnTo>
                  <a:pt x="916" y="3823"/>
                </a:lnTo>
                <a:lnTo>
                  <a:pt x="961" y="3799"/>
                </a:lnTo>
                <a:lnTo>
                  <a:pt x="1005" y="3775"/>
                </a:lnTo>
                <a:lnTo>
                  <a:pt x="1052" y="3752"/>
                </a:lnTo>
                <a:lnTo>
                  <a:pt x="1099" y="3731"/>
                </a:lnTo>
                <a:lnTo>
                  <a:pt x="1146" y="3711"/>
                </a:lnTo>
                <a:lnTo>
                  <a:pt x="1194" y="3691"/>
                </a:lnTo>
                <a:lnTo>
                  <a:pt x="1244" y="3672"/>
                </a:lnTo>
                <a:lnTo>
                  <a:pt x="1294" y="3655"/>
                </a:lnTo>
                <a:lnTo>
                  <a:pt x="1345" y="3640"/>
                </a:lnTo>
                <a:lnTo>
                  <a:pt x="1397" y="3624"/>
                </a:lnTo>
                <a:lnTo>
                  <a:pt x="1450" y="3610"/>
                </a:lnTo>
                <a:lnTo>
                  <a:pt x="1503" y="3597"/>
                </a:lnTo>
                <a:lnTo>
                  <a:pt x="1558" y="3584"/>
                </a:lnTo>
                <a:lnTo>
                  <a:pt x="1614" y="3574"/>
                </a:lnTo>
                <a:lnTo>
                  <a:pt x="1670" y="3564"/>
                </a:lnTo>
                <a:lnTo>
                  <a:pt x="1726" y="3554"/>
                </a:lnTo>
                <a:lnTo>
                  <a:pt x="1785" y="3547"/>
                </a:lnTo>
                <a:lnTo>
                  <a:pt x="1843" y="3540"/>
                </a:lnTo>
                <a:lnTo>
                  <a:pt x="1902" y="3534"/>
                </a:lnTo>
                <a:lnTo>
                  <a:pt x="1963" y="3530"/>
                </a:lnTo>
                <a:lnTo>
                  <a:pt x="2024" y="3526"/>
                </a:lnTo>
                <a:lnTo>
                  <a:pt x="2086" y="3524"/>
                </a:lnTo>
                <a:lnTo>
                  <a:pt x="2149" y="3522"/>
                </a:lnTo>
                <a:lnTo>
                  <a:pt x="2212" y="3522"/>
                </a:lnTo>
                <a:lnTo>
                  <a:pt x="2218" y="3517"/>
                </a:lnTo>
                <a:lnTo>
                  <a:pt x="2224" y="3514"/>
                </a:lnTo>
                <a:lnTo>
                  <a:pt x="2230" y="3513"/>
                </a:lnTo>
                <a:lnTo>
                  <a:pt x="2237" y="3512"/>
                </a:lnTo>
                <a:lnTo>
                  <a:pt x="2243" y="3512"/>
                </a:lnTo>
                <a:lnTo>
                  <a:pt x="2251" y="3512"/>
                </a:lnTo>
                <a:lnTo>
                  <a:pt x="2261" y="3512"/>
                </a:lnTo>
                <a:lnTo>
                  <a:pt x="2274" y="3512"/>
                </a:lnTo>
                <a:lnTo>
                  <a:pt x="2312" y="3514"/>
                </a:lnTo>
                <a:lnTo>
                  <a:pt x="2353" y="3516"/>
                </a:lnTo>
                <a:lnTo>
                  <a:pt x="2393" y="3517"/>
                </a:lnTo>
                <a:lnTo>
                  <a:pt x="2435" y="3519"/>
                </a:lnTo>
                <a:lnTo>
                  <a:pt x="2479" y="3520"/>
                </a:lnTo>
                <a:lnTo>
                  <a:pt x="2522" y="3520"/>
                </a:lnTo>
                <a:lnTo>
                  <a:pt x="2568" y="3522"/>
                </a:lnTo>
                <a:lnTo>
                  <a:pt x="2615" y="3522"/>
                </a:lnTo>
                <a:lnTo>
                  <a:pt x="2616" y="3516"/>
                </a:lnTo>
                <a:lnTo>
                  <a:pt x="2617" y="3511"/>
                </a:lnTo>
                <a:lnTo>
                  <a:pt x="2620" y="3505"/>
                </a:lnTo>
                <a:lnTo>
                  <a:pt x="2623" y="3498"/>
                </a:lnTo>
                <a:lnTo>
                  <a:pt x="2634" y="3483"/>
                </a:lnTo>
                <a:lnTo>
                  <a:pt x="2649" y="3466"/>
                </a:lnTo>
                <a:lnTo>
                  <a:pt x="2663" y="3450"/>
                </a:lnTo>
                <a:lnTo>
                  <a:pt x="2674" y="3439"/>
                </a:lnTo>
                <a:lnTo>
                  <a:pt x="2678" y="3434"/>
                </a:lnTo>
                <a:lnTo>
                  <a:pt x="2683" y="3431"/>
                </a:lnTo>
                <a:lnTo>
                  <a:pt x="2686" y="3430"/>
                </a:lnTo>
                <a:lnTo>
                  <a:pt x="2688" y="3429"/>
                </a:lnTo>
                <a:lnTo>
                  <a:pt x="2651" y="3417"/>
                </a:lnTo>
                <a:lnTo>
                  <a:pt x="2614" y="3406"/>
                </a:lnTo>
                <a:lnTo>
                  <a:pt x="2578" y="3393"/>
                </a:lnTo>
                <a:lnTo>
                  <a:pt x="2542" y="3380"/>
                </a:lnTo>
                <a:lnTo>
                  <a:pt x="2506" y="3366"/>
                </a:lnTo>
                <a:lnTo>
                  <a:pt x="2471" y="3351"/>
                </a:lnTo>
                <a:lnTo>
                  <a:pt x="2436" y="3337"/>
                </a:lnTo>
                <a:lnTo>
                  <a:pt x="2402" y="3322"/>
                </a:lnTo>
                <a:lnTo>
                  <a:pt x="2368" y="3306"/>
                </a:lnTo>
                <a:lnTo>
                  <a:pt x="2336" y="3289"/>
                </a:lnTo>
                <a:lnTo>
                  <a:pt x="2303" y="3272"/>
                </a:lnTo>
                <a:lnTo>
                  <a:pt x="2271" y="3255"/>
                </a:lnTo>
                <a:lnTo>
                  <a:pt x="2239" y="3237"/>
                </a:lnTo>
                <a:lnTo>
                  <a:pt x="2208" y="3218"/>
                </a:lnTo>
                <a:lnTo>
                  <a:pt x="2177" y="3198"/>
                </a:lnTo>
                <a:lnTo>
                  <a:pt x="2147" y="3178"/>
                </a:lnTo>
                <a:lnTo>
                  <a:pt x="2117" y="3158"/>
                </a:lnTo>
                <a:lnTo>
                  <a:pt x="2087" y="3137"/>
                </a:lnTo>
                <a:lnTo>
                  <a:pt x="2058" y="3115"/>
                </a:lnTo>
                <a:lnTo>
                  <a:pt x="2030" y="3093"/>
                </a:lnTo>
                <a:lnTo>
                  <a:pt x="2002" y="3071"/>
                </a:lnTo>
                <a:lnTo>
                  <a:pt x="1975" y="3047"/>
                </a:lnTo>
                <a:lnTo>
                  <a:pt x="1948" y="3024"/>
                </a:lnTo>
                <a:lnTo>
                  <a:pt x="1921" y="3000"/>
                </a:lnTo>
                <a:lnTo>
                  <a:pt x="1895" y="2975"/>
                </a:lnTo>
                <a:lnTo>
                  <a:pt x="1869" y="2950"/>
                </a:lnTo>
                <a:lnTo>
                  <a:pt x="1844" y="2924"/>
                </a:lnTo>
                <a:lnTo>
                  <a:pt x="1820" y="2898"/>
                </a:lnTo>
                <a:lnTo>
                  <a:pt x="1795" y="2871"/>
                </a:lnTo>
                <a:lnTo>
                  <a:pt x="1771" y="2843"/>
                </a:lnTo>
                <a:lnTo>
                  <a:pt x="1747" y="2816"/>
                </a:lnTo>
                <a:lnTo>
                  <a:pt x="1725" y="2787"/>
                </a:lnTo>
                <a:lnTo>
                  <a:pt x="1703" y="2757"/>
                </a:lnTo>
                <a:lnTo>
                  <a:pt x="1682" y="2729"/>
                </a:lnTo>
                <a:lnTo>
                  <a:pt x="1660" y="2699"/>
                </a:lnTo>
                <a:lnTo>
                  <a:pt x="1640" y="2669"/>
                </a:lnTo>
                <a:lnTo>
                  <a:pt x="1621" y="2638"/>
                </a:lnTo>
                <a:lnTo>
                  <a:pt x="1603" y="2608"/>
                </a:lnTo>
                <a:lnTo>
                  <a:pt x="1585" y="2578"/>
                </a:lnTo>
                <a:lnTo>
                  <a:pt x="1568" y="2547"/>
                </a:lnTo>
                <a:lnTo>
                  <a:pt x="1551" y="2516"/>
                </a:lnTo>
                <a:lnTo>
                  <a:pt x="1535" y="2484"/>
                </a:lnTo>
                <a:lnTo>
                  <a:pt x="1520" y="2452"/>
                </a:lnTo>
                <a:lnTo>
                  <a:pt x="1506" y="2420"/>
                </a:lnTo>
                <a:lnTo>
                  <a:pt x="1493" y="2388"/>
                </a:lnTo>
                <a:lnTo>
                  <a:pt x="1479" y="2356"/>
                </a:lnTo>
                <a:lnTo>
                  <a:pt x="1467" y="2324"/>
                </a:lnTo>
                <a:lnTo>
                  <a:pt x="1455" y="2291"/>
                </a:lnTo>
                <a:lnTo>
                  <a:pt x="1445" y="2258"/>
                </a:lnTo>
                <a:lnTo>
                  <a:pt x="1434" y="2225"/>
                </a:lnTo>
                <a:lnTo>
                  <a:pt x="1425" y="2191"/>
                </a:lnTo>
                <a:lnTo>
                  <a:pt x="1416" y="2157"/>
                </a:lnTo>
                <a:lnTo>
                  <a:pt x="1408" y="2123"/>
                </a:lnTo>
                <a:lnTo>
                  <a:pt x="1400" y="2089"/>
                </a:lnTo>
                <a:lnTo>
                  <a:pt x="1394" y="2054"/>
                </a:lnTo>
                <a:lnTo>
                  <a:pt x="1389" y="2018"/>
                </a:lnTo>
                <a:lnTo>
                  <a:pt x="1383" y="1983"/>
                </a:lnTo>
                <a:lnTo>
                  <a:pt x="1378" y="1948"/>
                </a:lnTo>
                <a:lnTo>
                  <a:pt x="1375" y="1912"/>
                </a:lnTo>
                <a:lnTo>
                  <a:pt x="1372" y="1876"/>
                </a:lnTo>
                <a:lnTo>
                  <a:pt x="1368" y="1840"/>
                </a:lnTo>
                <a:lnTo>
                  <a:pt x="1367" y="1804"/>
                </a:lnTo>
                <a:lnTo>
                  <a:pt x="1366" y="1767"/>
                </a:lnTo>
                <a:lnTo>
                  <a:pt x="1365" y="1729"/>
                </a:lnTo>
                <a:lnTo>
                  <a:pt x="1366" y="1686"/>
                </a:lnTo>
                <a:lnTo>
                  <a:pt x="1367" y="1641"/>
                </a:lnTo>
                <a:lnTo>
                  <a:pt x="1370" y="1598"/>
                </a:lnTo>
                <a:lnTo>
                  <a:pt x="1374" y="1555"/>
                </a:lnTo>
                <a:lnTo>
                  <a:pt x="1378" y="1511"/>
                </a:lnTo>
                <a:lnTo>
                  <a:pt x="1383" y="1469"/>
                </a:lnTo>
                <a:lnTo>
                  <a:pt x="1390" y="1427"/>
                </a:lnTo>
                <a:lnTo>
                  <a:pt x="1397" y="1386"/>
                </a:lnTo>
                <a:lnTo>
                  <a:pt x="1405" y="1345"/>
                </a:lnTo>
                <a:lnTo>
                  <a:pt x="1415" y="1304"/>
                </a:lnTo>
                <a:lnTo>
                  <a:pt x="1426" y="1264"/>
                </a:lnTo>
                <a:lnTo>
                  <a:pt x="1437" y="1223"/>
                </a:lnTo>
                <a:lnTo>
                  <a:pt x="1449" y="1184"/>
                </a:lnTo>
                <a:lnTo>
                  <a:pt x="1463" y="1145"/>
                </a:lnTo>
                <a:lnTo>
                  <a:pt x="1477" y="1106"/>
                </a:lnTo>
                <a:lnTo>
                  <a:pt x="1493" y="1068"/>
                </a:lnTo>
                <a:lnTo>
                  <a:pt x="1508" y="1030"/>
                </a:lnTo>
                <a:lnTo>
                  <a:pt x="1527" y="993"/>
                </a:lnTo>
                <a:lnTo>
                  <a:pt x="1545" y="955"/>
                </a:lnTo>
                <a:lnTo>
                  <a:pt x="1564" y="919"/>
                </a:lnTo>
                <a:lnTo>
                  <a:pt x="1585" y="883"/>
                </a:lnTo>
                <a:lnTo>
                  <a:pt x="1606" y="847"/>
                </a:lnTo>
                <a:lnTo>
                  <a:pt x="1628" y="811"/>
                </a:lnTo>
                <a:lnTo>
                  <a:pt x="1652" y="776"/>
                </a:lnTo>
                <a:lnTo>
                  <a:pt x="1676" y="742"/>
                </a:lnTo>
                <a:lnTo>
                  <a:pt x="1702" y="708"/>
                </a:lnTo>
                <a:lnTo>
                  <a:pt x="1728" y="674"/>
                </a:lnTo>
                <a:lnTo>
                  <a:pt x="1756" y="640"/>
                </a:lnTo>
                <a:lnTo>
                  <a:pt x="1783" y="607"/>
                </a:lnTo>
                <a:lnTo>
                  <a:pt x="1813" y="574"/>
                </a:lnTo>
                <a:lnTo>
                  <a:pt x="1844" y="542"/>
                </a:lnTo>
                <a:lnTo>
                  <a:pt x="1875" y="510"/>
                </a:lnTo>
                <a:lnTo>
                  <a:pt x="1907" y="478"/>
                </a:lnTo>
                <a:lnTo>
                  <a:pt x="1940" y="448"/>
                </a:lnTo>
                <a:lnTo>
                  <a:pt x="1971" y="419"/>
                </a:lnTo>
                <a:lnTo>
                  <a:pt x="2005" y="390"/>
                </a:lnTo>
                <a:lnTo>
                  <a:pt x="2038" y="362"/>
                </a:lnTo>
                <a:lnTo>
                  <a:pt x="2072" y="336"/>
                </a:lnTo>
                <a:lnTo>
                  <a:pt x="2106" y="311"/>
                </a:lnTo>
                <a:lnTo>
                  <a:pt x="2141" y="287"/>
                </a:lnTo>
                <a:lnTo>
                  <a:pt x="2176" y="263"/>
                </a:lnTo>
                <a:lnTo>
                  <a:pt x="2211" y="240"/>
                </a:lnTo>
                <a:lnTo>
                  <a:pt x="2247" y="219"/>
                </a:lnTo>
                <a:lnTo>
                  <a:pt x="2284" y="199"/>
                </a:lnTo>
                <a:lnTo>
                  <a:pt x="2320" y="179"/>
                </a:lnTo>
                <a:lnTo>
                  <a:pt x="2357" y="160"/>
                </a:lnTo>
                <a:lnTo>
                  <a:pt x="2395" y="143"/>
                </a:lnTo>
                <a:lnTo>
                  <a:pt x="2432" y="127"/>
                </a:lnTo>
                <a:lnTo>
                  <a:pt x="2470" y="111"/>
                </a:lnTo>
                <a:lnTo>
                  <a:pt x="2510" y="98"/>
                </a:lnTo>
                <a:lnTo>
                  <a:pt x="2549" y="84"/>
                </a:lnTo>
                <a:lnTo>
                  <a:pt x="2588" y="71"/>
                </a:lnTo>
                <a:lnTo>
                  <a:pt x="2628" y="60"/>
                </a:lnTo>
                <a:lnTo>
                  <a:pt x="2668" y="50"/>
                </a:lnTo>
                <a:lnTo>
                  <a:pt x="2709" y="40"/>
                </a:lnTo>
                <a:lnTo>
                  <a:pt x="2750" y="32"/>
                </a:lnTo>
                <a:lnTo>
                  <a:pt x="2791" y="24"/>
                </a:lnTo>
                <a:lnTo>
                  <a:pt x="2833" y="18"/>
                </a:lnTo>
                <a:lnTo>
                  <a:pt x="2876" y="13"/>
                </a:lnTo>
                <a:lnTo>
                  <a:pt x="2918" y="7"/>
                </a:lnTo>
                <a:lnTo>
                  <a:pt x="2962" y="4"/>
                </a:lnTo>
                <a:lnTo>
                  <a:pt x="3005" y="2"/>
                </a:lnTo>
                <a:lnTo>
                  <a:pt x="3049" y="1"/>
                </a:lnTo>
                <a:lnTo>
                  <a:pt x="3094" y="0"/>
                </a:lnTo>
                <a:lnTo>
                  <a:pt x="3138" y="1"/>
                </a:lnTo>
                <a:lnTo>
                  <a:pt x="3183" y="2"/>
                </a:lnTo>
                <a:lnTo>
                  <a:pt x="3226" y="4"/>
                </a:lnTo>
                <a:lnTo>
                  <a:pt x="3270" y="7"/>
                </a:lnTo>
                <a:lnTo>
                  <a:pt x="3312" y="13"/>
                </a:lnTo>
                <a:lnTo>
                  <a:pt x="3356" y="18"/>
                </a:lnTo>
                <a:lnTo>
                  <a:pt x="3397" y="24"/>
                </a:lnTo>
                <a:lnTo>
                  <a:pt x="3440" y="32"/>
                </a:lnTo>
                <a:lnTo>
                  <a:pt x="3481" y="40"/>
                </a:lnTo>
                <a:lnTo>
                  <a:pt x="3521" y="50"/>
                </a:lnTo>
                <a:lnTo>
                  <a:pt x="3563" y="60"/>
                </a:lnTo>
                <a:lnTo>
                  <a:pt x="3602" y="71"/>
                </a:lnTo>
                <a:lnTo>
                  <a:pt x="3643" y="84"/>
                </a:lnTo>
                <a:lnTo>
                  <a:pt x="3682" y="98"/>
                </a:lnTo>
                <a:lnTo>
                  <a:pt x="3721" y="111"/>
                </a:lnTo>
                <a:lnTo>
                  <a:pt x="3759" y="127"/>
                </a:lnTo>
                <a:lnTo>
                  <a:pt x="3798" y="143"/>
                </a:lnTo>
                <a:lnTo>
                  <a:pt x="3835" y="160"/>
                </a:lnTo>
                <a:lnTo>
                  <a:pt x="3873" y="179"/>
                </a:lnTo>
                <a:lnTo>
                  <a:pt x="3909" y="199"/>
                </a:lnTo>
                <a:lnTo>
                  <a:pt x="3946" y="219"/>
                </a:lnTo>
                <a:lnTo>
                  <a:pt x="3982" y="240"/>
                </a:lnTo>
                <a:lnTo>
                  <a:pt x="4017" y="263"/>
                </a:lnTo>
                <a:lnTo>
                  <a:pt x="4053" y="287"/>
                </a:lnTo>
                <a:lnTo>
                  <a:pt x="4088" y="311"/>
                </a:lnTo>
                <a:lnTo>
                  <a:pt x="4122" y="336"/>
                </a:lnTo>
                <a:lnTo>
                  <a:pt x="4156" y="362"/>
                </a:lnTo>
                <a:lnTo>
                  <a:pt x="4190" y="390"/>
                </a:lnTo>
                <a:lnTo>
                  <a:pt x="4223" y="419"/>
                </a:lnTo>
                <a:lnTo>
                  <a:pt x="4256" y="448"/>
                </a:lnTo>
                <a:lnTo>
                  <a:pt x="4289" y="478"/>
                </a:lnTo>
                <a:lnTo>
                  <a:pt x="4321" y="510"/>
                </a:lnTo>
                <a:lnTo>
                  <a:pt x="4353" y="542"/>
                </a:lnTo>
                <a:lnTo>
                  <a:pt x="4383" y="574"/>
                </a:lnTo>
                <a:lnTo>
                  <a:pt x="4412" y="607"/>
                </a:lnTo>
                <a:lnTo>
                  <a:pt x="4440" y="640"/>
                </a:lnTo>
                <a:lnTo>
                  <a:pt x="4467" y="674"/>
                </a:lnTo>
                <a:lnTo>
                  <a:pt x="4493" y="708"/>
                </a:lnTo>
                <a:lnTo>
                  <a:pt x="4518" y="742"/>
                </a:lnTo>
                <a:lnTo>
                  <a:pt x="4543" y="776"/>
                </a:lnTo>
                <a:lnTo>
                  <a:pt x="4566" y="811"/>
                </a:lnTo>
                <a:lnTo>
                  <a:pt x="4588" y="847"/>
                </a:lnTo>
                <a:lnTo>
                  <a:pt x="4610" y="883"/>
                </a:lnTo>
                <a:lnTo>
                  <a:pt x="4630" y="919"/>
                </a:lnTo>
                <a:lnTo>
                  <a:pt x="4649" y="955"/>
                </a:lnTo>
                <a:lnTo>
                  <a:pt x="4667" y="993"/>
                </a:lnTo>
                <a:lnTo>
                  <a:pt x="4685" y="1030"/>
                </a:lnTo>
                <a:lnTo>
                  <a:pt x="4701" y="1068"/>
                </a:lnTo>
                <a:lnTo>
                  <a:pt x="4716" y="1106"/>
                </a:lnTo>
                <a:lnTo>
                  <a:pt x="4731" y="1145"/>
                </a:lnTo>
                <a:lnTo>
                  <a:pt x="4745" y="1184"/>
                </a:lnTo>
                <a:lnTo>
                  <a:pt x="4756" y="1223"/>
                </a:lnTo>
                <a:lnTo>
                  <a:pt x="4768" y="1264"/>
                </a:lnTo>
                <a:lnTo>
                  <a:pt x="4779" y="1304"/>
                </a:lnTo>
                <a:lnTo>
                  <a:pt x="4788" y="1345"/>
                </a:lnTo>
                <a:lnTo>
                  <a:pt x="4797" y="1386"/>
                </a:lnTo>
                <a:lnTo>
                  <a:pt x="4803" y="1427"/>
                </a:lnTo>
                <a:lnTo>
                  <a:pt x="4810" y="1469"/>
                </a:lnTo>
                <a:lnTo>
                  <a:pt x="4816" y="1511"/>
                </a:lnTo>
                <a:lnTo>
                  <a:pt x="4820" y="1555"/>
                </a:lnTo>
                <a:lnTo>
                  <a:pt x="4823" y="1598"/>
                </a:lnTo>
                <a:lnTo>
                  <a:pt x="4825" y="1641"/>
                </a:lnTo>
                <a:lnTo>
                  <a:pt x="4827" y="1686"/>
                </a:lnTo>
                <a:lnTo>
                  <a:pt x="4827" y="1729"/>
                </a:lnTo>
                <a:lnTo>
                  <a:pt x="4827" y="1768"/>
                </a:lnTo>
                <a:lnTo>
                  <a:pt x="4826" y="1806"/>
                </a:lnTo>
                <a:lnTo>
                  <a:pt x="4824" y="1843"/>
                </a:lnTo>
                <a:lnTo>
                  <a:pt x="4822" y="1880"/>
                </a:lnTo>
                <a:lnTo>
                  <a:pt x="4818" y="1917"/>
                </a:lnTo>
                <a:lnTo>
                  <a:pt x="4814" y="1954"/>
                </a:lnTo>
                <a:lnTo>
                  <a:pt x="4808" y="1990"/>
                </a:lnTo>
                <a:lnTo>
                  <a:pt x="4803" y="2027"/>
                </a:lnTo>
                <a:lnTo>
                  <a:pt x="4797" y="2062"/>
                </a:lnTo>
                <a:lnTo>
                  <a:pt x="4789" y="2098"/>
                </a:lnTo>
                <a:lnTo>
                  <a:pt x="4781" y="2134"/>
                </a:lnTo>
                <a:lnTo>
                  <a:pt x="4772" y="2169"/>
                </a:lnTo>
                <a:lnTo>
                  <a:pt x="4763" y="2204"/>
                </a:lnTo>
                <a:lnTo>
                  <a:pt x="4752" y="2240"/>
                </a:lnTo>
                <a:lnTo>
                  <a:pt x="4740" y="2274"/>
                </a:lnTo>
                <a:lnTo>
                  <a:pt x="4729" y="2308"/>
                </a:lnTo>
                <a:lnTo>
                  <a:pt x="4716" y="2342"/>
                </a:lnTo>
                <a:lnTo>
                  <a:pt x="4702" y="2376"/>
                </a:lnTo>
                <a:lnTo>
                  <a:pt x="4688" y="2410"/>
                </a:lnTo>
                <a:lnTo>
                  <a:pt x="4673" y="2443"/>
                </a:lnTo>
                <a:lnTo>
                  <a:pt x="4657" y="2476"/>
                </a:lnTo>
                <a:lnTo>
                  <a:pt x="4641" y="2508"/>
                </a:lnTo>
                <a:lnTo>
                  <a:pt x="4624" y="2541"/>
                </a:lnTo>
                <a:lnTo>
                  <a:pt x="4605" y="2573"/>
                </a:lnTo>
                <a:lnTo>
                  <a:pt x="4586" y="2606"/>
                </a:lnTo>
                <a:lnTo>
                  <a:pt x="4566" y="2638"/>
                </a:lnTo>
                <a:lnTo>
                  <a:pt x="4546" y="2669"/>
                </a:lnTo>
                <a:lnTo>
                  <a:pt x="4525" y="2701"/>
                </a:lnTo>
                <a:lnTo>
                  <a:pt x="4502" y="2732"/>
                </a:lnTo>
                <a:lnTo>
                  <a:pt x="4480" y="2763"/>
                </a:lnTo>
                <a:lnTo>
                  <a:pt x="4456" y="2793"/>
                </a:lnTo>
                <a:lnTo>
                  <a:pt x="4431" y="2824"/>
                </a:lnTo>
                <a:lnTo>
                  <a:pt x="4407" y="2853"/>
                </a:lnTo>
                <a:lnTo>
                  <a:pt x="4381" y="2883"/>
                </a:lnTo>
                <a:lnTo>
                  <a:pt x="4356" y="2910"/>
                </a:lnTo>
                <a:lnTo>
                  <a:pt x="4329" y="2938"/>
                </a:lnTo>
                <a:lnTo>
                  <a:pt x="4303" y="2965"/>
                </a:lnTo>
                <a:lnTo>
                  <a:pt x="4276" y="2991"/>
                </a:lnTo>
                <a:lnTo>
                  <a:pt x="4249" y="3017"/>
                </a:lnTo>
                <a:lnTo>
                  <a:pt x="4220" y="3041"/>
                </a:lnTo>
                <a:lnTo>
                  <a:pt x="4192" y="3066"/>
                </a:lnTo>
                <a:lnTo>
                  <a:pt x="4164" y="3089"/>
                </a:lnTo>
                <a:lnTo>
                  <a:pt x="4134" y="3112"/>
                </a:lnTo>
                <a:lnTo>
                  <a:pt x="4105" y="3134"/>
                </a:lnTo>
                <a:lnTo>
                  <a:pt x="4075" y="3155"/>
                </a:lnTo>
                <a:lnTo>
                  <a:pt x="4045" y="3176"/>
                </a:lnTo>
                <a:lnTo>
                  <a:pt x="4014" y="3196"/>
                </a:lnTo>
                <a:lnTo>
                  <a:pt x="3982" y="3215"/>
                </a:lnTo>
                <a:lnTo>
                  <a:pt x="3950" y="3233"/>
                </a:lnTo>
                <a:lnTo>
                  <a:pt x="3919" y="3252"/>
                </a:lnTo>
                <a:lnTo>
                  <a:pt x="3887" y="3269"/>
                </a:lnTo>
                <a:lnTo>
                  <a:pt x="3854" y="3286"/>
                </a:lnTo>
                <a:lnTo>
                  <a:pt x="3820" y="3301"/>
                </a:lnTo>
                <a:lnTo>
                  <a:pt x="3786" y="3316"/>
                </a:lnTo>
                <a:lnTo>
                  <a:pt x="3752" y="3331"/>
                </a:lnTo>
                <a:lnTo>
                  <a:pt x="3718" y="3344"/>
                </a:lnTo>
                <a:lnTo>
                  <a:pt x="3683" y="3358"/>
                </a:lnTo>
                <a:lnTo>
                  <a:pt x="3647" y="3370"/>
                </a:lnTo>
                <a:lnTo>
                  <a:pt x="3611" y="3381"/>
                </a:lnTo>
                <a:lnTo>
                  <a:pt x="3575" y="3393"/>
                </a:lnTo>
                <a:lnTo>
                  <a:pt x="3538" y="3402"/>
                </a:lnTo>
                <a:lnTo>
                  <a:pt x="3500" y="3412"/>
                </a:lnTo>
                <a:lnTo>
                  <a:pt x="3463" y="3421"/>
                </a:lnTo>
                <a:lnTo>
                  <a:pt x="3425" y="3429"/>
                </a:lnTo>
                <a:lnTo>
                  <a:pt x="3438" y="3443"/>
                </a:lnTo>
                <a:lnTo>
                  <a:pt x="3449" y="3456"/>
                </a:lnTo>
                <a:lnTo>
                  <a:pt x="3459" y="3468"/>
                </a:lnTo>
                <a:lnTo>
                  <a:pt x="3466" y="3480"/>
                </a:lnTo>
                <a:lnTo>
                  <a:pt x="3473" y="3491"/>
                </a:lnTo>
                <a:lnTo>
                  <a:pt x="3477" y="3501"/>
                </a:lnTo>
                <a:lnTo>
                  <a:pt x="3479" y="3512"/>
                </a:lnTo>
                <a:lnTo>
                  <a:pt x="3480" y="3522"/>
                </a:lnTo>
                <a:close/>
              </a:path>
            </a:pathLst>
          </a:custGeom>
          <a:solidFill>
            <a:schemeClr val="bg1">
              <a:lumMod val="75000"/>
            </a:schemeClr>
          </a:solidFill>
          <a:ln w="9525">
            <a:noFill/>
            <a:round/>
            <a:headEnd/>
            <a:tailEnd/>
          </a:ln>
        </p:spPr>
        <p:txBody>
          <a:bodyPr/>
          <a:lstStyle>
            <a:defPPr>
              <a:defRPr lang="en-US"/>
            </a:defPPr>
            <a:lvl1pPr marL="0" algn="l" defTabSz="1018824" rtl="0" eaLnBrk="1" latinLnBrk="0" hangingPunct="1">
              <a:defRPr sz="2000" kern="1200">
                <a:solidFill>
                  <a:schemeClr val="tx1"/>
                </a:solidFill>
                <a:latin typeface="+mn-lt"/>
                <a:ea typeface="+mn-ea"/>
                <a:cs typeface="+mn-cs"/>
              </a:defRPr>
            </a:lvl1pPr>
            <a:lvl2pPr marL="509412" algn="l" defTabSz="1018824" rtl="0" eaLnBrk="1" latinLnBrk="0" hangingPunct="1">
              <a:defRPr sz="2000" kern="1200">
                <a:solidFill>
                  <a:schemeClr val="tx1"/>
                </a:solidFill>
                <a:latin typeface="+mn-lt"/>
                <a:ea typeface="+mn-ea"/>
                <a:cs typeface="+mn-cs"/>
              </a:defRPr>
            </a:lvl2pPr>
            <a:lvl3pPr marL="1018824" algn="l" defTabSz="1018824" rtl="0" eaLnBrk="1" latinLnBrk="0" hangingPunct="1">
              <a:defRPr sz="2000" kern="1200">
                <a:solidFill>
                  <a:schemeClr val="tx1"/>
                </a:solidFill>
                <a:latin typeface="+mn-lt"/>
                <a:ea typeface="+mn-ea"/>
                <a:cs typeface="+mn-cs"/>
              </a:defRPr>
            </a:lvl3pPr>
            <a:lvl4pPr marL="1528237" algn="l" defTabSz="1018824" rtl="0" eaLnBrk="1" latinLnBrk="0" hangingPunct="1">
              <a:defRPr sz="2000" kern="1200">
                <a:solidFill>
                  <a:schemeClr val="tx1"/>
                </a:solidFill>
                <a:latin typeface="+mn-lt"/>
                <a:ea typeface="+mn-ea"/>
                <a:cs typeface="+mn-cs"/>
              </a:defRPr>
            </a:lvl4pPr>
            <a:lvl5pPr marL="2037649" algn="l" defTabSz="1018824" rtl="0" eaLnBrk="1" latinLnBrk="0" hangingPunct="1">
              <a:defRPr sz="2000" kern="1200">
                <a:solidFill>
                  <a:schemeClr val="tx1"/>
                </a:solidFill>
                <a:latin typeface="+mn-lt"/>
                <a:ea typeface="+mn-ea"/>
                <a:cs typeface="+mn-cs"/>
              </a:defRPr>
            </a:lvl5pPr>
            <a:lvl6pPr marL="2547061" algn="l" defTabSz="1018824" rtl="0" eaLnBrk="1" latinLnBrk="0" hangingPunct="1">
              <a:defRPr sz="2000" kern="1200">
                <a:solidFill>
                  <a:schemeClr val="tx1"/>
                </a:solidFill>
                <a:latin typeface="+mn-lt"/>
                <a:ea typeface="+mn-ea"/>
                <a:cs typeface="+mn-cs"/>
              </a:defRPr>
            </a:lvl6pPr>
            <a:lvl7pPr marL="3056473" algn="l" defTabSz="1018824" rtl="0" eaLnBrk="1" latinLnBrk="0" hangingPunct="1">
              <a:defRPr sz="2000" kern="1200">
                <a:solidFill>
                  <a:schemeClr val="tx1"/>
                </a:solidFill>
                <a:latin typeface="+mn-lt"/>
                <a:ea typeface="+mn-ea"/>
                <a:cs typeface="+mn-cs"/>
              </a:defRPr>
            </a:lvl7pPr>
            <a:lvl8pPr marL="3565886" algn="l" defTabSz="1018824" rtl="0" eaLnBrk="1" latinLnBrk="0" hangingPunct="1">
              <a:defRPr sz="2000" kern="1200">
                <a:solidFill>
                  <a:schemeClr val="tx1"/>
                </a:solidFill>
                <a:latin typeface="+mn-lt"/>
                <a:ea typeface="+mn-ea"/>
                <a:cs typeface="+mn-cs"/>
              </a:defRPr>
            </a:lvl8pPr>
            <a:lvl9pPr marL="4075298" algn="l" defTabSz="1018824" rtl="0" eaLnBrk="1" latinLnBrk="0" hangingPunct="1">
              <a:defRPr sz="2000" kern="1200">
                <a:solidFill>
                  <a:schemeClr val="tx1"/>
                </a:solidFill>
                <a:latin typeface="+mn-lt"/>
                <a:ea typeface="+mn-ea"/>
                <a:cs typeface="+mn-cs"/>
              </a:defRPr>
            </a:lvl9pPr>
          </a:lstStyle>
          <a:p>
            <a:pPr marL="0" marR="0" lvl="0" indent="0" algn="l" defTabSz="1018824" rtl="0" eaLnBrk="1" fontAlgn="auto" latinLnBrk="0" hangingPunct="1">
              <a:lnSpc>
                <a:spcPct val="100000"/>
              </a:lnSpc>
              <a:spcBef>
                <a:spcPts val="0"/>
              </a:spcBef>
              <a:spcAft>
                <a:spcPts val="0"/>
              </a:spcAft>
              <a:buClrTx/>
              <a:buSzTx/>
              <a:buFontTx/>
              <a:buNone/>
              <a:tabLst/>
              <a:defRPr/>
            </a:pPr>
            <a:endParaRPr kumimoji="0" lang="en-GB" sz="1589"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5" name="Content Placeholder 1">
            <a:extLst>
              <a:ext uri="{FF2B5EF4-FFF2-40B4-BE49-F238E27FC236}">
                <a16:creationId xmlns:a16="http://schemas.microsoft.com/office/drawing/2014/main" id="{69D20FD8-2052-49AA-BEB3-4E3B9070F131}"/>
              </a:ext>
            </a:extLst>
          </p:cNvPr>
          <p:cNvSpPr txBox="1">
            <a:spLocks/>
          </p:cNvSpPr>
          <p:nvPr/>
        </p:nvSpPr>
        <p:spPr>
          <a:xfrm>
            <a:off x="4631065" y="1521114"/>
            <a:ext cx="2377467" cy="389857"/>
          </a:xfrm>
          <a:prstGeom prst="rect">
            <a:avLst/>
          </a:prstGeom>
        </p:spPr>
        <p:txBody>
          <a:bodyPr vert="horz" lIns="60511" tIns="30256" rIns="60511" bIns="30256" rtlCol="0">
            <a:noAutofit/>
          </a:bodyPr>
          <a:lstStyle>
            <a:lvl1pPr marL="194310" indent="-194310" algn="l" defTabSz="777240" rtl="0" eaLnBrk="1" latinLnBrk="0" hangingPunct="1">
              <a:lnSpc>
                <a:spcPct val="90000"/>
              </a:lnSpc>
              <a:spcBef>
                <a:spcPts val="850"/>
              </a:spcBef>
              <a:buClr>
                <a:schemeClr val="accent1"/>
              </a:buClr>
              <a:buSzPct val="90000"/>
              <a:buFont typeface="Wingdings" charset="2"/>
              <a:buChar char="§"/>
              <a:defRPr sz="2040" kern="1200">
                <a:solidFill>
                  <a:schemeClr val="tx1"/>
                </a:solidFill>
                <a:latin typeface="+mn-lt"/>
                <a:ea typeface="+mn-ea"/>
                <a:cs typeface="+mn-cs"/>
              </a:defRPr>
            </a:lvl1pPr>
            <a:lvl2pPr marL="582930" indent="-194310" algn="l" defTabSz="777240" rtl="0" eaLnBrk="1" latinLnBrk="0" hangingPunct="1">
              <a:lnSpc>
                <a:spcPct val="90000"/>
              </a:lnSpc>
              <a:spcBef>
                <a:spcPts val="425"/>
              </a:spcBef>
              <a:buClr>
                <a:schemeClr val="tx1"/>
              </a:buClr>
              <a:buSzPct val="80000"/>
              <a:buFont typeface="Arial" charset="0"/>
              <a:buChar char="•"/>
              <a:defRPr sz="1870" kern="1200">
                <a:solidFill>
                  <a:schemeClr val="tx1"/>
                </a:solidFill>
                <a:latin typeface="+mn-lt"/>
                <a:ea typeface="+mn-ea"/>
                <a:cs typeface="+mn-cs"/>
              </a:defRPr>
            </a:lvl2pPr>
            <a:lvl3pPr marL="971550" indent="-194310" algn="l" defTabSz="777240" rtl="0" eaLnBrk="1" latinLnBrk="0" hangingPunct="1">
              <a:lnSpc>
                <a:spcPct val="90000"/>
              </a:lnSpc>
              <a:spcBef>
                <a:spcPts val="425"/>
              </a:spcBef>
              <a:buClr>
                <a:schemeClr val="accent1"/>
              </a:buClr>
              <a:buSzPct val="70000"/>
              <a:buFont typeface="Wingdings" charset="2"/>
              <a:buChar char="§"/>
              <a:defRPr sz="1700" kern="1200">
                <a:solidFill>
                  <a:schemeClr val="tx1"/>
                </a:solidFill>
                <a:latin typeface="+mn-lt"/>
                <a:ea typeface="+mn-ea"/>
                <a:cs typeface="+mn-cs"/>
              </a:defRPr>
            </a:lvl3pPr>
            <a:lvl4pPr marL="1360170" indent="-194310" algn="l" defTabSz="777240" rtl="0" eaLnBrk="1" latinLnBrk="0" hangingPunct="1">
              <a:lnSpc>
                <a:spcPct val="90000"/>
              </a:lnSpc>
              <a:spcBef>
                <a:spcPts val="425"/>
              </a:spcBef>
              <a:buClr>
                <a:schemeClr val="tx1"/>
              </a:buClr>
              <a:buSzPct val="70000"/>
              <a:buFont typeface="Arial" charset="0"/>
              <a:buChar char="•"/>
              <a:defRPr sz="1530" kern="1200">
                <a:solidFill>
                  <a:schemeClr val="tx1"/>
                </a:solidFill>
                <a:latin typeface="+mn-lt"/>
                <a:ea typeface="+mn-ea"/>
                <a:cs typeface="+mn-cs"/>
              </a:defRPr>
            </a:lvl4pPr>
            <a:lvl5pPr marL="1748790" indent="-194310" algn="l" defTabSz="777240" rtl="0" eaLnBrk="1" latinLnBrk="0" hangingPunct="1">
              <a:lnSpc>
                <a:spcPct val="90000"/>
              </a:lnSpc>
              <a:spcBef>
                <a:spcPts val="425"/>
              </a:spcBef>
              <a:buClr>
                <a:schemeClr val="accent5"/>
              </a:buClr>
              <a:buSzPct val="60000"/>
              <a:buFont typeface="Wingdings" charset="2"/>
              <a:buChar char="§"/>
              <a:defRPr sz="1360" kern="1200">
                <a:solidFill>
                  <a:schemeClr val="tx1"/>
                </a:solidFill>
                <a:latin typeface="+mn-lt"/>
                <a:ea typeface="+mn-ea"/>
                <a:cs typeface="+mn-cs"/>
              </a:defRPr>
            </a:lvl5pPr>
            <a:lvl6pPr marL="2137410" indent="-194310" algn="l" defTabSz="777240" rtl="0" eaLnBrk="1" latinLnBrk="0" hangingPunct="1">
              <a:lnSpc>
                <a:spcPct val="90000"/>
              </a:lnSpc>
              <a:spcBef>
                <a:spcPts val="425"/>
              </a:spcBef>
              <a:buFont typeface="Arial" panose="020B0604020202020204" pitchFamily="34" charset="0"/>
              <a:buChar char="•"/>
              <a:defRPr sz="1530" kern="1200">
                <a:solidFill>
                  <a:schemeClr val="tx1"/>
                </a:solidFill>
                <a:latin typeface="+mn-lt"/>
                <a:ea typeface="+mn-ea"/>
                <a:cs typeface="+mn-cs"/>
              </a:defRPr>
            </a:lvl6pPr>
            <a:lvl7pPr marL="2526030" indent="-194310" algn="l" defTabSz="777240" rtl="0" eaLnBrk="1" latinLnBrk="0" hangingPunct="1">
              <a:lnSpc>
                <a:spcPct val="90000"/>
              </a:lnSpc>
              <a:spcBef>
                <a:spcPts val="425"/>
              </a:spcBef>
              <a:buFont typeface="Arial" panose="020B0604020202020204" pitchFamily="34" charset="0"/>
              <a:buChar char="•"/>
              <a:defRPr sz="1530" kern="1200">
                <a:solidFill>
                  <a:schemeClr val="tx1"/>
                </a:solidFill>
                <a:latin typeface="+mn-lt"/>
                <a:ea typeface="+mn-ea"/>
                <a:cs typeface="+mn-cs"/>
              </a:defRPr>
            </a:lvl7pPr>
            <a:lvl8pPr marL="2914650" indent="-194310" algn="l" defTabSz="777240" rtl="0" eaLnBrk="1" latinLnBrk="0" hangingPunct="1">
              <a:lnSpc>
                <a:spcPct val="90000"/>
              </a:lnSpc>
              <a:spcBef>
                <a:spcPts val="425"/>
              </a:spcBef>
              <a:buFont typeface="Arial" panose="020B0604020202020204" pitchFamily="34" charset="0"/>
              <a:buChar char="•"/>
              <a:defRPr sz="1530" kern="1200">
                <a:solidFill>
                  <a:schemeClr val="tx1"/>
                </a:solidFill>
                <a:latin typeface="+mn-lt"/>
                <a:ea typeface="+mn-ea"/>
                <a:cs typeface="+mn-cs"/>
              </a:defRPr>
            </a:lvl8pPr>
            <a:lvl9pPr marL="3303270" indent="-194310" algn="l" defTabSz="777240" rtl="0" eaLnBrk="1" latinLnBrk="0" hangingPunct="1">
              <a:lnSpc>
                <a:spcPct val="90000"/>
              </a:lnSpc>
              <a:spcBef>
                <a:spcPts val="425"/>
              </a:spcBef>
              <a:buFont typeface="Arial" panose="020B0604020202020204" pitchFamily="34" charset="0"/>
              <a:buChar char="•"/>
              <a:defRPr sz="1530" kern="1200">
                <a:solidFill>
                  <a:schemeClr val="tx1"/>
                </a:solidFill>
                <a:latin typeface="+mn-lt"/>
                <a:ea typeface="+mn-ea"/>
                <a:cs typeface="+mn-cs"/>
              </a:defRPr>
            </a:lvl9pPr>
          </a:lstStyle>
          <a:p>
            <a:pPr marL="0" marR="0" lvl="0" indent="0" algn="l" defTabSz="777240" rtl="0" eaLnBrk="1" fontAlgn="auto" latinLnBrk="0" hangingPunct="1">
              <a:lnSpc>
                <a:spcPct val="90000"/>
              </a:lnSpc>
              <a:spcBef>
                <a:spcPts val="850"/>
              </a:spcBef>
              <a:spcAft>
                <a:spcPts val="0"/>
              </a:spcAft>
              <a:buClr>
                <a:srgbClr val="4472C4"/>
              </a:buClr>
              <a:buSzPct val="90000"/>
              <a:buFont typeface="Wingdings" charset="2"/>
              <a:buNone/>
              <a:tabLst/>
              <a:defRPr/>
            </a:pPr>
            <a:r>
              <a:rPr kumimoji="0" lang="en-US" sz="1200" b="1" i="0" u="none" strike="noStrike" kern="1200" cap="none" spc="0" normalizeH="0" baseline="0" noProof="0" dirty="0">
                <a:ln>
                  <a:noFill/>
                </a:ln>
                <a:solidFill>
                  <a:srgbClr val="4472C4"/>
                </a:solidFill>
                <a:effectLst/>
                <a:uLnTx/>
                <a:uFillTx/>
                <a:latin typeface="Calibri" panose="020F0502020204030204"/>
                <a:ea typeface="+mn-ea"/>
                <a:cs typeface="+mn-cs"/>
              </a:rPr>
              <a:t>For every 10 heart failure patients…</a:t>
            </a:r>
          </a:p>
        </p:txBody>
      </p:sp>
      <p:sp>
        <p:nvSpPr>
          <p:cNvPr id="26" name="Freeform 13">
            <a:extLst>
              <a:ext uri="{FF2B5EF4-FFF2-40B4-BE49-F238E27FC236}">
                <a16:creationId xmlns:a16="http://schemas.microsoft.com/office/drawing/2014/main" id="{2699E188-AA15-4C99-A5FB-076FD468371F}"/>
              </a:ext>
            </a:extLst>
          </p:cNvPr>
          <p:cNvSpPr>
            <a:spLocks/>
          </p:cNvSpPr>
          <p:nvPr/>
        </p:nvSpPr>
        <p:spPr bwMode="auto">
          <a:xfrm>
            <a:off x="1799310" y="4835747"/>
            <a:ext cx="197037" cy="470851"/>
          </a:xfrm>
          <a:custGeom>
            <a:avLst/>
            <a:gdLst>
              <a:gd name="T0" fmla="*/ 13344091 w 6132"/>
              <a:gd name="T1" fmla="*/ 10441401 h 16980"/>
              <a:gd name="T2" fmla="*/ 14439013 w 6132"/>
              <a:gd name="T3" fmla="*/ 10808942 h 16980"/>
              <a:gd name="T4" fmla="*/ 15478309 w 6132"/>
              <a:gd name="T5" fmla="*/ 11467619 h 16980"/>
              <a:gd name="T6" fmla="*/ 16450295 w 6132"/>
              <a:gd name="T7" fmla="*/ 12408541 h 16980"/>
              <a:gd name="T8" fmla="*/ 17214401 w 6132"/>
              <a:gd name="T9" fmla="*/ 13481773 h 16980"/>
              <a:gd name="T10" fmla="*/ 17709159 w 6132"/>
              <a:gd name="T11" fmla="*/ 14605004 h 16980"/>
              <a:gd name="T12" fmla="*/ 17937493 w 6132"/>
              <a:gd name="T13" fmla="*/ 15789994 h 16980"/>
              <a:gd name="T14" fmla="*/ 17922884 w 6132"/>
              <a:gd name="T15" fmla="*/ 28795453 h 16980"/>
              <a:gd name="T16" fmla="*/ 17720901 w 6132"/>
              <a:gd name="T17" fmla="*/ 29724608 h 16980"/>
              <a:gd name="T18" fmla="*/ 17322724 w 6132"/>
              <a:gd name="T19" fmla="*/ 30571448 h 16980"/>
              <a:gd name="T20" fmla="*/ 16731329 w 6132"/>
              <a:gd name="T21" fmla="*/ 31344758 h 16980"/>
              <a:gd name="T22" fmla="*/ 15970146 w 6132"/>
              <a:gd name="T23" fmla="*/ 32000508 h 16980"/>
              <a:gd name="T24" fmla="*/ 15062602 w 6132"/>
              <a:gd name="T25" fmla="*/ 32509198 h 16980"/>
              <a:gd name="T26" fmla="*/ 14014483 w 6132"/>
              <a:gd name="T27" fmla="*/ 32867899 h 16980"/>
              <a:gd name="T28" fmla="*/ 4168927 w 6132"/>
              <a:gd name="T29" fmla="*/ 32935519 h 16980"/>
              <a:gd name="T30" fmla="*/ 3003722 w 6132"/>
              <a:gd name="T31" fmla="*/ 32515054 h 16980"/>
              <a:gd name="T32" fmla="*/ 2104943 w 6132"/>
              <a:gd name="T33" fmla="*/ 32053432 h 16980"/>
              <a:gd name="T34" fmla="*/ 1334994 w 6132"/>
              <a:gd name="T35" fmla="*/ 31503585 h 16980"/>
              <a:gd name="T36" fmla="*/ 723146 w 6132"/>
              <a:gd name="T37" fmla="*/ 30883136 h 16980"/>
              <a:gd name="T38" fmla="*/ 295697 w 6132"/>
              <a:gd name="T39" fmla="*/ 30230369 h 16980"/>
              <a:gd name="T40" fmla="*/ 55622 w 6132"/>
              <a:gd name="T41" fmla="*/ 29542302 h 16980"/>
              <a:gd name="T42" fmla="*/ 2922 w 6132"/>
              <a:gd name="T43" fmla="*/ 16034064 h 16980"/>
              <a:gd name="T44" fmla="*/ 166867 w 6132"/>
              <a:gd name="T45" fmla="*/ 14637376 h 16980"/>
              <a:gd name="T46" fmla="*/ 608925 w 6132"/>
              <a:gd name="T47" fmla="*/ 13408297 h 16980"/>
              <a:gd name="T48" fmla="*/ 1326228 w 6132"/>
              <a:gd name="T49" fmla="*/ 12352689 h 16980"/>
              <a:gd name="T50" fmla="*/ 2309902 w 6132"/>
              <a:gd name="T51" fmla="*/ 11479386 h 16980"/>
              <a:gd name="T52" fmla="*/ 3495559 w 6132"/>
              <a:gd name="T53" fmla="*/ 10853081 h 16980"/>
              <a:gd name="T54" fmla="*/ 4889097 w 6132"/>
              <a:gd name="T55" fmla="*/ 10479630 h 16980"/>
              <a:gd name="T56" fmla="*/ 6475906 w 6132"/>
              <a:gd name="T57" fmla="*/ 10356104 h 16980"/>
              <a:gd name="T58" fmla="*/ 6768627 w 6132"/>
              <a:gd name="T59" fmla="*/ 10332625 h 16980"/>
              <a:gd name="T60" fmla="*/ 7661564 w 6132"/>
              <a:gd name="T61" fmla="*/ 10323786 h 16980"/>
              <a:gd name="T62" fmla="*/ 7863602 w 6132"/>
              <a:gd name="T63" fmla="*/ 10085627 h 16980"/>
              <a:gd name="T64" fmla="*/ 7032131 w 6132"/>
              <a:gd name="T65" fmla="*/ 9768029 h 16980"/>
              <a:gd name="T66" fmla="*/ 6197794 w 6132"/>
              <a:gd name="T67" fmla="*/ 9285801 h 16980"/>
              <a:gd name="T68" fmla="*/ 5471726 w 6132"/>
              <a:gd name="T69" fmla="*/ 8674191 h 16980"/>
              <a:gd name="T70" fmla="*/ 4859825 w 6132"/>
              <a:gd name="T71" fmla="*/ 7936181 h 16980"/>
              <a:gd name="T72" fmla="*/ 4409002 w 6132"/>
              <a:gd name="T73" fmla="*/ 7115803 h 16980"/>
              <a:gd name="T74" fmla="*/ 4122070 w 6132"/>
              <a:gd name="T75" fmla="*/ 6242499 h 16980"/>
              <a:gd name="T76" fmla="*/ 4002059 w 6132"/>
              <a:gd name="T77" fmla="*/ 5304506 h 16980"/>
              <a:gd name="T78" fmla="*/ 4069369 w 6132"/>
              <a:gd name="T79" fmla="*/ 4195974 h 16980"/>
              <a:gd name="T80" fmla="*/ 4370910 w 6132"/>
              <a:gd name="T81" fmla="*/ 3140364 h 16980"/>
              <a:gd name="T82" fmla="*/ 4906682 w 6132"/>
              <a:gd name="T83" fmla="*/ 2181765 h 16980"/>
              <a:gd name="T84" fmla="*/ 5679553 w 6132"/>
              <a:gd name="T85" fmla="*/ 1317301 h 16980"/>
              <a:gd name="T86" fmla="*/ 6578332 w 6132"/>
              <a:gd name="T87" fmla="*/ 643928 h 16980"/>
              <a:gd name="T88" fmla="*/ 7576670 w 6132"/>
              <a:gd name="T89" fmla="*/ 208768 h 16980"/>
              <a:gd name="T90" fmla="*/ 8671588 w 6132"/>
              <a:gd name="T91" fmla="*/ 11767 h 16980"/>
              <a:gd name="T92" fmla="*/ 9825105 w 6132"/>
              <a:gd name="T93" fmla="*/ 52924 h 16980"/>
              <a:gd name="T94" fmla="*/ 10893673 w 6132"/>
              <a:gd name="T95" fmla="*/ 326384 h 16980"/>
              <a:gd name="T96" fmla="*/ 11865659 w 6132"/>
              <a:gd name="T97" fmla="*/ 843912 h 16980"/>
              <a:gd name="T98" fmla="*/ 12743931 w 6132"/>
              <a:gd name="T99" fmla="*/ 1593689 h 16980"/>
              <a:gd name="T100" fmla="*/ 13431908 w 6132"/>
              <a:gd name="T101" fmla="*/ 2490525 h 16980"/>
              <a:gd name="T102" fmla="*/ 13891551 w 6132"/>
              <a:gd name="T103" fmla="*/ 3481443 h 16980"/>
              <a:gd name="T104" fmla="*/ 14111119 w 6132"/>
              <a:gd name="T105" fmla="*/ 4572353 h 16980"/>
              <a:gd name="T106" fmla="*/ 14105275 w 6132"/>
              <a:gd name="T107" fmla="*/ 5636746 h 16980"/>
              <a:gd name="T108" fmla="*/ 13912057 w 6132"/>
              <a:gd name="T109" fmla="*/ 6586506 h 16980"/>
              <a:gd name="T110" fmla="*/ 13537309 w 6132"/>
              <a:gd name="T111" fmla="*/ 7471577 h 16980"/>
              <a:gd name="T112" fmla="*/ 12972265 w 6132"/>
              <a:gd name="T113" fmla="*/ 8303722 h 16980"/>
              <a:gd name="T114" fmla="*/ 12272601 w 6132"/>
              <a:gd name="T115" fmla="*/ 9015324 h 16980"/>
              <a:gd name="T116" fmla="*/ 11473326 w 6132"/>
              <a:gd name="T117" fmla="*/ 9562188 h 16980"/>
              <a:gd name="T118" fmla="*/ 10571626 w 6132"/>
              <a:gd name="T119" fmla="*/ 9941550 h 16980"/>
              <a:gd name="T120" fmla="*/ 10147098 w 6132"/>
              <a:gd name="T121" fmla="*/ 10232633 h 1698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6132"/>
              <a:gd name="T184" fmla="*/ 0 h 16980"/>
              <a:gd name="T185" fmla="*/ 6132 w 6132"/>
              <a:gd name="T186" fmla="*/ 16980 h 16980"/>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6132" h="16980">
                <a:moveTo>
                  <a:pt x="3480" y="3522"/>
                </a:moveTo>
                <a:lnTo>
                  <a:pt x="4254" y="3522"/>
                </a:lnTo>
                <a:lnTo>
                  <a:pt x="4298" y="3522"/>
                </a:lnTo>
                <a:lnTo>
                  <a:pt x="4342" y="3524"/>
                </a:lnTo>
                <a:lnTo>
                  <a:pt x="4386" y="3527"/>
                </a:lnTo>
                <a:lnTo>
                  <a:pt x="4429" y="3531"/>
                </a:lnTo>
                <a:lnTo>
                  <a:pt x="4473" y="3536"/>
                </a:lnTo>
                <a:lnTo>
                  <a:pt x="4515" y="3543"/>
                </a:lnTo>
                <a:lnTo>
                  <a:pt x="4558" y="3551"/>
                </a:lnTo>
                <a:lnTo>
                  <a:pt x="4601" y="3560"/>
                </a:lnTo>
                <a:lnTo>
                  <a:pt x="4643" y="3570"/>
                </a:lnTo>
                <a:lnTo>
                  <a:pt x="4685" y="3582"/>
                </a:lnTo>
                <a:lnTo>
                  <a:pt x="4727" y="3595"/>
                </a:lnTo>
                <a:lnTo>
                  <a:pt x="4769" y="3609"/>
                </a:lnTo>
                <a:lnTo>
                  <a:pt x="4809" y="3624"/>
                </a:lnTo>
                <a:lnTo>
                  <a:pt x="4851" y="3640"/>
                </a:lnTo>
                <a:lnTo>
                  <a:pt x="4892" y="3658"/>
                </a:lnTo>
                <a:lnTo>
                  <a:pt x="4932" y="3676"/>
                </a:lnTo>
                <a:lnTo>
                  <a:pt x="4973" y="3696"/>
                </a:lnTo>
                <a:lnTo>
                  <a:pt x="5013" y="3717"/>
                </a:lnTo>
                <a:lnTo>
                  <a:pt x="5052" y="3739"/>
                </a:lnTo>
                <a:lnTo>
                  <a:pt x="5093" y="3763"/>
                </a:lnTo>
                <a:lnTo>
                  <a:pt x="5132" y="3788"/>
                </a:lnTo>
                <a:lnTo>
                  <a:pt x="5171" y="3814"/>
                </a:lnTo>
                <a:lnTo>
                  <a:pt x="5210" y="3842"/>
                </a:lnTo>
                <a:lnTo>
                  <a:pt x="5249" y="3870"/>
                </a:lnTo>
                <a:lnTo>
                  <a:pt x="5287" y="3900"/>
                </a:lnTo>
                <a:lnTo>
                  <a:pt x="5325" y="3931"/>
                </a:lnTo>
                <a:lnTo>
                  <a:pt x="5364" y="3963"/>
                </a:lnTo>
                <a:lnTo>
                  <a:pt x="5401" y="3997"/>
                </a:lnTo>
                <a:lnTo>
                  <a:pt x="5438" y="4031"/>
                </a:lnTo>
                <a:lnTo>
                  <a:pt x="5475" y="4067"/>
                </a:lnTo>
                <a:lnTo>
                  <a:pt x="5512" y="4104"/>
                </a:lnTo>
                <a:lnTo>
                  <a:pt x="5549" y="4142"/>
                </a:lnTo>
                <a:lnTo>
                  <a:pt x="5584" y="4181"/>
                </a:lnTo>
                <a:lnTo>
                  <a:pt x="5619" y="4220"/>
                </a:lnTo>
                <a:lnTo>
                  <a:pt x="5652" y="4260"/>
                </a:lnTo>
                <a:lnTo>
                  <a:pt x="5685" y="4300"/>
                </a:lnTo>
                <a:lnTo>
                  <a:pt x="5716" y="4339"/>
                </a:lnTo>
                <a:lnTo>
                  <a:pt x="5747" y="4379"/>
                </a:lnTo>
                <a:lnTo>
                  <a:pt x="5775" y="4420"/>
                </a:lnTo>
                <a:lnTo>
                  <a:pt x="5803" y="4460"/>
                </a:lnTo>
                <a:lnTo>
                  <a:pt x="5830" y="4502"/>
                </a:lnTo>
                <a:lnTo>
                  <a:pt x="5855" y="4543"/>
                </a:lnTo>
                <a:lnTo>
                  <a:pt x="5880" y="4585"/>
                </a:lnTo>
                <a:lnTo>
                  <a:pt x="5904" y="4626"/>
                </a:lnTo>
                <a:lnTo>
                  <a:pt x="5925" y="4667"/>
                </a:lnTo>
                <a:lnTo>
                  <a:pt x="5946" y="4710"/>
                </a:lnTo>
                <a:lnTo>
                  <a:pt x="5967" y="4752"/>
                </a:lnTo>
                <a:lnTo>
                  <a:pt x="5986" y="4795"/>
                </a:lnTo>
                <a:lnTo>
                  <a:pt x="6004" y="4838"/>
                </a:lnTo>
                <a:lnTo>
                  <a:pt x="6020" y="4880"/>
                </a:lnTo>
                <a:lnTo>
                  <a:pt x="6036" y="4924"/>
                </a:lnTo>
                <a:lnTo>
                  <a:pt x="6049" y="4967"/>
                </a:lnTo>
                <a:lnTo>
                  <a:pt x="6063" y="5011"/>
                </a:lnTo>
                <a:lnTo>
                  <a:pt x="6075" y="5055"/>
                </a:lnTo>
                <a:lnTo>
                  <a:pt x="6085" y="5100"/>
                </a:lnTo>
                <a:lnTo>
                  <a:pt x="6095" y="5144"/>
                </a:lnTo>
                <a:lnTo>
                  <a:pt x="6104" y="5189"/>
                </a:lnTo>
                <a:lnTo>
                  <a:pt x="6111" y="5234"/>
                </a:lnTo>
                <a:lnTo>
                  <a:pt x="6117" y="5280"/>
                </a:lnTo>
                <a:lnTo>
                  <a:pt x="6123" y="5324"/>
                </a:lnTo>
                <a:lnTo>
                  <a:pt x="6127" y="5370"/>
                </a:lnTo>
                <a:lnTo>
                  <a:pt x="6130" y="5417"/>
                </a:lnTo>
                <a:lnTo>
                  <a:pt x="6131" y="5463"/>
                </a:lnTo>
                <a:lnTo>
                  <a:pt x="6132" y="5509"/>
                </a:lnTo>
                <a:lnTo>
                  <a:pt x="6132" y="9605"/>
                </a:lnTo>
                <a:lnTo>
                  <a:pt x="6132" y="9643"/>
                </a:lnTo>
                <a:lnTo>
                  <a:pt x="6130" y="9682"/>
                </a:lnTo>
                <a:lnTo>
                  <a:pt x="6129" y="9719"/>
                </a:lnTo>
                <a:lnTo>
                  <a:pt x="6126" y="9756"/>
                </a:lnTo>
                <a:lnTo>
                  <a:pt x="6122" y="9793"/>
                </a:lnTo>
                <a:lnTo>
                  <a:pt x="6117" y="9829"/>
                </a:lnTo>
                <a:lnTo>
                  <a:pt x="6112" y="9866"/>
                </a:lnTo>
                <a:lnTo>
                  <a:pt x="6107" y="9901"/>
                </a:lnTo>
                <a:lnTo>
                  <a:pt x="6099" y="9937"/>
                </a:lnTo>
                <a:lnTo>
                  <a:pt x="6092" y="9972"/>
                </a:lnTo>
                <a:lnTo>
                  <a:pt x="6083" y="10007"/>
                </a:lnTo>
                <a:lnTo>
                  <a:pt x="6074" y="10041"/>
                </a:lnTo>
                <a:lnTo>
                  <a:pt x="6063" y="10075"/>
                </a:lnTo>
                <a:lnTo>
                  <a:pt x="6053" y="10109"/>
                </a:lnTo>
                <a:lnTo>
                  <a:pt x="6041" y="10142"/>
                </a:lnTo>
                <a:lnTo>
                  <a:pt x="6028" y="10175"/>
                </a:lnTo>
                <a:lnTo>
                  <a:pt x="6014" y="10208"/>
                </a:lnTo>
                <a:lnTo>
                  <a:pt x="6001" y="10241"/>
                </a:lnTo>
                <a:lnTo>
                  <a:pt x="5986" y="10273"/>
                </a:lnTo>
                <a:lnTo>
                  <a:pt x="5970" y="10305"/>
                </a:lnTo>
                <a:lnTo>
                  <a:pt x="5953" y="10335"/>
                </a:lnTo>
                <a:lnTo>
                  <a:pt x="5935" y="10366"/>
                </a:lnTo>
                <a:lnTo>
                  <a:pt x="5917" y="10397"/>
                </a:lnTo>
                <a:lnTo>
                  <a:pt x="5898" y="10428"/>
                </a:lnTo>
                <a:lnTo>
                  <a:pt x="5877" y="10458"/>
                </a:lnTo>
                <a:lnTo>
                  <a:pt x="5857" y="10487"/>
                </a:lnTo>
                <a:lnTo>
                  <a:pt x="5835" y="10517"/>
                </a:lnTo>
                <a:lnTo>
                  <a:pt x="5813" y="10546"/>
                </a:lnTo>
                <a:lnTo>
                  <a:pt x="5789" y="10575"/>
                </a:lnTo>
                <a:lnTo>
                  <a:pt x="5766" y="10603"/>
                </a:lnTo>
                <a:lnTo>
                  <a:pt x="5740" y="10632"/>
                </a:lnTo>
                <a:lnTo>
                  <a:pt x="5715" y="10660"/>
                </a:lnTo>
                <a:lnTo>
                  <a:pt x="5688" y="10687"/>
                </a:lnTo>
                <a:lnTo>
                  <a:pt x="5661" y="10714"/>
                </a:lnTo>
                <a:lnTo>
                  <a:pt x="5633" y="10739"/>
                </a:lnTo>
                <a:lnTo>
                  <a:pt x="5606" y="10765"/>
                </a:lnTo>
                <a:lnTo>
                  <a:pt x="5576" y="10790"/>
                </a:lnTo>
                <a:lnTo>
                  <a:pt x="5546" y="10814"/>
                </a:lnTo>
                <a:lnTo>
                  <a:pt x="5516" y="10838"/>
                </a:lnTo>
                <a:lnTo>
                  <a:pt x="5486" y="10860"/>
                </a:lnTo>
                <a:lnTo>
                  <a:pt x="5455" y="10883"/>
                </a:lnTo>
                <a:lnTo>
                  <a:pt x="5422" y="10905"/>
                </a:lnTo>
                <a:lnTo>
                  <a:pt x="5390" y="10925"/>
                </a:lnTo>
                <a:lnTo>
                  <a:pt x="5357" y="10947"/>
                </a:lnTo>
                <a:lnTo>
                  <a:pt x="5323" y="10966"/>
                </a:lnTo>
                <a:lnTo>
                  <a:pt x="5288" y="10985"/>
                </a:lnTo>
                <a:lnTo>
                  <a:pt x="5253" y="11004"/>
                </a:lnTo>
                <a:lnTo>
                  <a:pt x="5218" y="11022"/>
                </a:lnTo>
                <a:lnTo>
                  <a:pt x="5182" y="11039"/>
                </a:lnTo>
                <a:lnTo>
                  <a:pt x="5145" y="11056"/>
                </a:lnTo>
                <a:lnTo>
                  <a:pt x="5108" y="11072"/>
                </a:lnTo>
                <a:lnTo>
                  <a:pt x="5069" y="11087"/>
                </a:lnTo>
                <a:lnTo>
                  <a:pt x="5031" y="11102"/>
                </a:lnTo>
                <a:lnTo>
                  <a:pt x="4992" y="11117"/>
                </a:lnTo>
                <a:lnTo>
                  <a:pt x="4952" y="11130"/>
                </a:lnTo>
                <a:lnTo>
                  <a:pt x="4911" y="11143"/>
                </a:lnTo>
                <a:lnTo>
                  <a:pt x="4871" y="11155"/>
                </a:lnTo>
                <a:lnTo>
                  <a:pt x="4828" y="11167"/>
                </a:lnTo>
                <a:lnTo>
                  <a:pt x="4787" y="11178"/>
                </a:lnTo>
                <a:lnTo>
                  <a:pt x="4743" y="11189"/>
                </a:lnTo>
                <a:lnTo>
                  <a:pt x="4701" y="11199"/>
                </a:lnTo>
                <a:lnTo>
                  <a:pt x="4656" y="11208"/>
                </a:lnTo>
                <a:lnTo>
                  <a:pt x="4612" y="11217"/>
                </a:lnTo>
                <a:lnTo>
                  <a:pt x="4567" y="11225"/>
                </a:lnTo>
                <a:lnTo>
                  <a:pt x="4567" y="16980"/>
                </a:lnTo>
                <a:lnTo>
                  <a:pt x="1510" y="16980"/>
                </a:lnTo>
                <a:lnTo>
                  <a:pt x="1510" y="11225"/>
                </a:lnTo>
                <a:lnTo>
                  <a:pt x="1424" y="11201"/>
                </a:lnTo>
                <a:lnTo>
                  <a:pt x="1340" y="11175"/>
                </a:lnTo>
                <a:lnTo>
                  <a:pt x="1298" y="11161"/>
                </a:lnTo>
                <a:lnTo>
                  <a:pt x="1258" y="11148"/>
                </a:lnTo>
                <a:lnTo>
                  <a:pt x="1218" y="11134"/>
                </a:lnTo>
                <a:lnTo>
                  <a:pt x="1178" y="11120"/>
                </a:lnTo>
                <a:lnTo>
                  <a:pt x="1139" y="11105"/>
                </a:lnTo>
                <a:lnTo>
                  <a:pt x="1101" y="11089"/>
                </a:lnTo>
                <a:lnTo>
                  <a:pt x="1064" y="11074"/>
                </a:lnTo>
                <a:lnTo>
                  <a:pt x="1026" y="11058"/>
                </a:lnTo>
                <a:lnTo>
                  <a:pt x="990" y="11042"/>
                </a:lnTo>
                <a:lnTo>
                  <a:pt x="954" y="11025"/>
                </a:lnTo>
                <a:lnTo>
                  <a:pt x="918" y="11009"/>
                </a:lnTo>
                <a:lnTo>
                  <a:pt x="884" y="10991"/>
                </a:lnTo>
                <a:lnTo>
                  <a:pt x="849" y="10974"/>
                </a:lnTo>
                <a:lnTo>
                  <a:pt x="816" y="10956"/>
                </a:lnTo>
                <a:lnTo>
                  <a:pt x="782" y="10938"/>
                </a:lnTo>
                <a:lnTo>
                  <a:pt x="750" y="10920"/>
                </a:lnTo>
                <a:lnTo>
                  <a:pt x="719" y="10901"/>
                </a:lnTo>
                <a:lnTo>
                  <a:pt x="687" y="10882"/>
                </a:lnTo>
                <a:lnTo>
                  <a:pt x="656" y="10862"/>
                </a:lnTo>
                <a:lnTo>
                  <a:pt x="626" y="10841"/>
                </a:lnTo>
                <a:lnTo>
                  <a:pt x="596" y="10821"/>
                </a:lnTo>
                <a:lnTo>
                  <a:pt x="567" y="10801"/>
                </a:lnTo>
                <a:lnTo>
                  <a:pt x="539" y="10780"/>
                </a:lnTo>
                <a:lnTo>
                  <a:pt x="510" y="10758"/>
                </a:lnTo>
                <a:lnTo>
                  <a:pt x="484" y="10736"/>
                </a:lnTo>
                <a:lnTo>
                  <a:pt x="456" y="10714"/>
                </a:lnTo>
                <a:lnTo>
                  <a:pt x="431" y="10691"/>
                </a:lnTo>
                <a:lnTo>
                  <a:pt x="405" y="10668"/>
                </a:lnTo>
                <a:lnTo>
                  <a:pt x="380" y="10646"/>
                </a:lnTo>
                <a:lnTo>
                  <a:pt x="355" y="10622"/>
                </a:lnTo>
                <a:lnTo>
                  <a:pt x="332" y="10599"/>
                </a:lnTo>
                <a:lnTo>
                  <a:pt x="310" y="10576"/>
                </a:lnTo>
                <a:lnTo>
                  <a:pt x="289" y="10551"/>
                </a:lnTo>
                <a:lnTo>
                  <a:pt x="267" y="10528"/>
                </a:lnTo>
                <a:lnTo>
                  <a:pt x="247" y="10503"/>
                </a:lnTo>
                <a:lnTo>
                  <a:pt x="228" y="10480"/>
                </a:lnTo>
                <a:lnTo>
                  <a:pt x="209" y="10455"/>
                </a:lnTo>
                <a:lnTo>
                  <a:pt x="191" y="10431"/>
                </a:lnTo>
                <a:lnTo>
                  <a:pt x="174" y="10407"/>
                </a:lnTo>
                <a:lnTo>
                  <a:pt x="158" y="10382"/>
                </a:lnTo>
                <a:lnTo>
                  <a:pt x="142" y="10357"/>
                </a:lnTo>
                <a:lnTo>
                  <a:pt x="128" y="10332"/>
                </a:lnTo>
                <a:lnTo>
                  <a:pt x="114" y="10307"/>
                </a:lnTo>
                <a:lnTo>
                  <a:pt x="101" y="10281"/>
                </a:lnTo>
                <a:lnTo>
                  <a:pt x="89" y="10256"/>
                </a:lnTo>
                <a:lnTo>
                  <a:pt x="77" y="10230"/>
                </a:lnTo>
                <a:lnTo>
                  <a:pt x="67" y="10205"/>
                </a:lnTo>
                <a:lnTo>
                  <a:pt x="57" y="10179"/>
                </a:lnTo>
                <a:lnTo>
                  <a:pt x="48" y="10153"/>
                </a:lnTo>
                <a:lnTo>
                  <a:pt x="39" y="10127"/>
                </a:lnTo>
                <a:lnTo>
                  <a:pt x="32" y="10100"/>
                </a:lnTo>
                <a:lnTo>
                  <a:pt x="25" y="10074"/>
                </a:lnTo>
                <a:lnTo>
                  <a:pt x="19" y="10047"/>
                </a:lnTo>
                <a:lnTo>
                  <a:pt x="14" y="10021"/>
                </a:lnTo>
                <a:lnTo>
                  <a:pt x="9" y="9994"/>
                </a:lnTo>
                <a:lnTo>
                  <a:pt x="6" y="9967"/>
                </a:lnTo>
                <a:lnTo>
                  <a:pt x="3" y="9940"/>
                </a:lnTo>
                <a:lnTo>
                  <a:pt x="1" y="9912"/>
                </a:lnTo>
                <a:lnTo>
                  <a:pt x="0" y="9885"/>
                </a:lnTo>
                <a:lnTo>
                  <a:pt x="0" y="9857"/>
                </a:lnTo>
                <a:lnTo>
                  <a:pt x="0" y="5509"/>
                </a:lnTo>
                <a:lnTo>
                  <a:pt x="1" y="5453"/>
                </a:lnTo>
                <a:lnTo>
                  <a:pt x="2" y="5398"/>
                </a:lnTo>
                <a:lnTo>
                  <a:pt x="5" y="5342"/>
                </a:lnTo>
                <a:lnTo>
                  <a:pt x="9" y="5288"/>
                </a:lnTo>
                <a:lnTo>
                  <a:pt x="15" y="5235"/>
                </a:lnTo>
                <a:lnTo>
                  <a:pt x="21" y="5182"/>
                </a:lnTo>
                <a:lnTo>
                  <a:pt x="28" y="5130"/>
                </a:lnTo>
                <a:lnTo>
                  <a:pt x="37" y="5079"/>
                </a:lnTo>
                <a:lnTo>
                  <a:pt x="47" y="5028"/>
                </a:lnTo>
                <a:lnTo>
                  <a:pt x="57" y="4978"/>
                </a:lnTo>
                <a:lnTo>
                  <a:pt x="70" y="4929"/>
                </a:lnTo>
                <a:lnTo>
                  <a:pt x="83" y="4880"/>
                </a:lnTo>
                <a:lnTo>
                  <a:pt x="97" y="4832"/>
                </a:lnTo>
                <a:lnTo>
                  <a:pt x="112" y="4785"/>
                </a:lnTo>
                <a:lnTo>
                  <a:pt x="129" y="4739"/>
                </a:lnTo>
                <a:lnTo>
                  <a:pt x="147" y="4693"/>
                </a:lnTo>
                <a:lnTo>
                  <a:pt x="166" y="4648"/>
                </a:lnTo>
                <a:lnTo>
                  <a:pt x="187" y="4604"/>
                </a:lnTo>
                <a:lnTo>
                  <a:pt x="208" y="4560"/>
                </a:lnTo>
                <a:lnTo>
                  <a:pt x="230" y="4518"/>
                </a:lnTo>
                <a:lnTo>
                  <a:pt x="255" y="4476"/>
                </a:lnTo>
                <a:lnTo>
                  <a:pt x="279" y="4435"/>
                </a:lnTo>
                <a:lnTo>
                  <a:pt x="306" y="4393"/>
                </a:lnTo>
                <a:lnTo>
                  <a:pt x="332" y="4354"/>
                </a:lnTo>
                <a:lnTo>
                  <a:pt x="361" y="4315"/>
                </a:lnTo>
                <a:lnTo>
                  <a:pt x="391" y="4275"/>
                </a:lnTo>
                <a:lnTo>
                  <a:pt x="421" y="4238"/>
                </a:lnTo>
                <a:lnTo>
                  <a:pt x="453" y="4201"/>
                </a:lnTo>
                <a:lnTo>
                  <a:pt x="486" y="4165"/>
                </a:lnTo>
                <a:lnTo>
                  <a:pt x="520" y="4129"/>
                </a:lnTo>
                <a:lnTo>
                  <a:pt x="556" y="4093"/>
                </a:lnTo>
                <a:lnTo>
                  <a:pt x="592" y="4059"/>
                </a:lnTo>
                <a:lnTo>
                  <a:pt x="629" y="4025"/>
                </a:lnTo>
                <a:lnTo>
                  <a:pt x="668" y="3994"/>
                </a:lnTo>
                <a:lnTo>
                  <a:pt x="707" y="3963"/>
                </a:lnTo>
                <a:lnTo>
                  <a:pt x="747" y="3933"/>
                </a:lnTo>
                <a:lnTo>
                  <a:pt x="789" y="3904"/>
                </a:lnTo>
                <a:lnTo>
                  <a:pt x="830" y="3876"/>
                </a:lnTo>
                <a:lnTo>
                  <a:pt x="873" y="3849"/>
                </a:lnTo>
                <a:lnTo>
                  <a:pt x="916" y="3823"/>
                </a:lnTo>
                <a:lnTo>
                  <a:pt x="961" y="3799"/>
                </a:lnTo>
                <a:lnTo>
                  <a:pt x="1005" y="3775"/>
                </a:lnTo>
                <a:lnTo>
                  <a:pt x="1052" y="3752"/>
                </a:lnTo>
                <a:lnTo>
                  <a:pt x="1099" y="3731"/>
                </a:lnTo>
                <a:lnTo>
                  <a:pt x="1146" y="3711"/>
                </a:lnTo>
                <a:lnTo>
                  <a:pt x="1194" y="3691"/>
                </a:lnTo>
                <a:lnTo>
                  <a:pt x="1244" y="3672"/>
                </a:lnTo>
                <a:lnTo>
                  <a:pt x="1294" y="3655"/>
                </a:lnTo>
                <a:lnTo>
                  <a:pt x="1345" y="3640"/>
                </a:lnTo>
                <a:lnTo>
                  <a:pt x="1397" y="3624"/>
                </a:lnTo>
                <a:lnTo>
                  <a:pt x="1450" y="3610"/>
                </a:lnTo>
                <a:lnTo>
                  <a:pt x="1503" y="3597"/>
                </a:lnTo>
                <a:lnTo>
                  <a:pt x="1558" y="3584"/>
                </a:lnTo>
                <a:lnTo>
                  <a:pt x="1614" y="3574"/>
                </a:lnTo>
                <a:lnTo>
                  <a:pt x="1670" y="3564"/>
                </a:lnTo>
                <a:lnTo>
                  <a:pt x="1726" y="3554"/>
                </a:lnTo>
                <a:lnTo>
                  <a:pt x="1785" y="3547"/>
                </a:lnTo>
                <a:lnTo>
                  <a:pt x="1843" y="3540"/>
                </a:lnTo>
                <a:lnTo>
                  <a:pt x="1902" y="3534"/>
                </a:lnTo>
                <a:lnTo>
                  <a:pt x="1963" y="3530"/>
                </a:lnTo>
                <a:lnTo>
                  <a:pt x="2024" y="3526"/>
                </a:lnTo>
                <a:lnTo>
                  <a:pt x="2086" y="3524"/>
                </a:lnTo>
                <a:lnTo>
                  <a:pt x="2149" y="3522"/>
                </a:lnTo>
                <a:lnTo>
                  <a:pt x="2212" y="3522"/>
                </a:lnTo>
                <a:lnTo>
                  <a:pt x="2218" y="3517"/>
                </a:lnTo>
                <a:lnTo>
                  <a:pt x="2224" y="3514"/>
                </a:lnTo>
                <a:lnTo>
                  <a:pt x="2230" y="3513"/>
                </a:lnTo>
                <a:lnTo>
                  <a:pt x="2237" y="3512"/>
                </a:lnTo>
                <a:lnTo>
                  <a:pt x="2243" y="3512"/>
                </a:lnTo>
                <a:lnTo>
                  <a:pt x="2251" y="3512"/>
                </a:lnTo>
                <a:lnTo>
                  <a:pt x="2261" y="3512"/>
                </a:lnTo>
                <a:lnTo>
                  <a:pt x="2274" y="3512"/>
                </a:lnTo>
                <a:lnTo>
                  <a:pt x="2312" y="3514"/>
                </a:lnTo>
                <a:lnTo>
                  <a:pt x="2353" y="3516"/>
                </a:lnTo>
                <a:lnTo>
                  <a:pt x="2393" y="3517"/>
                </a:lnTo>
                <a:lnTo>
                  <a:pt x="2435" y="3519"/>
                </a:lnTo>
                <a:lnTo>
                  <a:pt x="2479" y="3520"/>
                </a:lnTo>
                <a:lnTo>
                  <a:pt x="2522" y="3520"/>
                </a:lnTo>
                <a:lnTo>
                  <a:pt x="2568" y="3522"/>
                </a:lnTo>
                <a:lnTo>
                  <a:pt x="2615" y="3522"/>
                </a:lnTo>
                <a:lnTo>
                  <a:pt x="2616" y="3516"/>
                </a:lnTo>
                <a:lnTo>
                  <a:pt x="2617" y="3511"/>
                </a:lnTo>
                <a:lnTo>
                  <a:pt x="2620" y="3505"/>
                </a:lnTo>
                <a:lnTo>
                  <a:pt x="2623" y="3498"/>
                </a:lnTo>
                <a:lnTo>
                  <a:pt x="2634" y="3483"/>
                </a:lnTo>
                <a:lnTo>
                  <a:pt x="2649" y="3466"/>
                </a:lnTo>
                <a:lnTo>
                  <a:pt x="2663" y="3450"/>
                </a:lnTo>
                <a:lnTo>
                  <a:pt x="2674" y="3439"/>
                </a:lnTo>
                <a:lnTo>
                  <a:pt x="2678" y="3434"/>
                </a:lnTo>
                <a:lnTo>
                  <a:pt x="2683" y="3431"/>
                </a:lnTo>
                <a:lnTo>
                  <a:pt x="2686" y="3430"/>
                </a:lnTo>
                <a:lnTo>
                  <a:pt x="2688" y="3429"/>
                </a:lnTo>
                <a:lnTo>
                  <a:pt x="2651" y="3417"/>
                </a:lnTo>
                <a:lnTo>
                  <a:pt x="2614" y="3406"/>
                </a:lnTo>
                <a:lnTo>
                  <a:pt x="2578" y="3393"/>
                </a:lnTo>
                <a:lnTo>
                  <a:pt x="2542" y="3380"/>
                </a:lnTo>
                <a:lnTo>
                  <a:pt x="2506" y="3366"/>
                </a:lnTo>
                <a:lnTo>
                  <a:pt x="2471" y="3351"/>
                </a:lnTo>
                <a:lnTo>
                  <a:pt x="2436" y="3337"/>
                </a:lnTo>
                <a:lnTo>
                  <a:pt x="2402" y="3322"/>
                </a:lnTo>
                <a:lnTo>
                  <a:pt x="2368" y="3306"/>
                </a:lnTo>
                <a:lnTo>
                  <a:pt x="2336" y="3289"/>
                </a:lnTo>
                <a:lnTo>
                  <a:pt x="2303" y="3272"/>
                </a:lnTo>
                <a:lnTo>
                  <a:pt x="2271" y="3255"/>
                </a:lnTo>
                <a:lnTo>
                  <a:pt x="2239" y="3237"/>
                </a:lnTo>
                <a:lnTo>
                  <a:pt x="2208" y="3218"/>
                </a:lnTo>
                <a:lnTo>
                  <a:pt x="2177" y="3198"/>
                </a:lnTo>
                <a:lnTo>
                  <a:pt x="2147" y="3178"/>
                </a:lnTo>
                <a:lnTo>
                  <a:pt x="2117" y="3158"/>
                </a:lnTo>
                <a:lnTo>
                  <a:pt x="2087" y="3137"/>
                </a:lnTo>
                <a:lnTo>
                  <a:pt x="2058" y="3115"/>
                </a:lnTo>
                <a:lnTo>
                  <a:pt x="2030" y="3093"/>
                </a:lnTo>
                <a:lnTo>
                  <a:pt x="2002" y="3071"/>
                </a:lnTo>
                <a:lnTo>
                  <a:pt x="1975" y="3047"/>
                </a:lnTo>
                <a:lnTo>
                  <a:pt x="1948" y="3024"/>
                </a:lnTo>
                <a:lnTo>
                  <a:pt x="1921" y="3000"/>
                </a:lnTo>
                <a:lnTo>
                  <a:pt x="1895" y="2975"/>
                </a:lnTo>
                <a:lnTo>
                  <a:pt x="1869" y="2950"/>
                </a:lnTo>
                <a:lnTo>
                  <a:pt x="1844" y="2924"/>
                </a:lnTo>
                <a:lnTo>
                  <a:pt x="1820" y="2898"/>
                </a:lnTo>
                <a:lnTo>
                  <a:pt x="1795" y="2871"/>
                </a:lnTo>
                <a:lnTo>
                  <a:pt x="1771" y="2843"/>
                </a:lnTo>
                <a:lnTo>
                  <a:pt x="1747" y="2816"/>
                </a:lnTo>
                <a:lnTo>
                  <a:pt x="1725" y="2787"/>
                </a:lnTo>
                <a:lnTo>
                  <a:pt x="1703" y="2757"/>
                </a:lnTo>
                <a:lnTo>
                  <a:pt x="1682" y="2729"/>
                </a:lnTo>
                <a:lnTo>
                  <a:pt x="1660" y="2699"/>
                </a:lnTo>
                <a:lnTo>
                  <a:pt x="1640" y="2669"/>
                </a:lnTo>
                <a:lnTo>
                  <a:pt x="1621" y="2638"/>
                </a:lnTo>
                <a:lnTo>
                  <a:pt x="1603" y="2608"/>
                </a:lnTo>
                <a:lnTo>
                  <a:pt x="1585" y="2578"/>
                </a:lnTo>
                <a:lnTo>
                  <a:pt x="1568" y="2547"/>
                </a:lnTo>
                <a:lnTo>
                  <a:pt x="1551" y="2516"/>
                </a:lnTo>
                <a:lnTo>
                  <a:pt x="1535" y="2484"/>
                </a:lnTo>
                <a:lnTo>
                  <a:pt x="1520" y="2452"/>
                </a:lnTo>
                <a:lnTo>
                  <a:pt x="1506" y="2420"/>
                </a:lnTo>
                <a:lnTo>
                  <a:pt x="1493" y="2388"/>
                </a:lnTo>
                <a:lnTo>
                  <a:pt x="1479" y="2356"/>
                </a:lnTo>
                <a:lnTo>
                  <a:pt x="1467" y="2324"/>
                </a:lnTo>
                <a:lnTo>
                  <a:pt x="1455" y="2291"/>
                </a:lnTo>
                <a:lnTo>
                  <a:pt x="1445" y="2258"/>
                </a:lnTo>
                <a:lnTo>
                  <a:pt x="1434" y="2225"/>
                </a:lnTo>
                <a:lnTo>
                  <a:pt x="1425" y="2191"/>
                </a:lnTo>
                <a:lnTo>
                  <a:pt x="1416" y="2157"/>
                </a:lnTo>
                <a:lnTo>
                  <a:pt x="1408" y="2123"/>
                </a:lnTo>
                <a:lnTo>
                  <a:pt x="1400" y="2089"/>
                </a:lnTo>
                <a:lnTo>
                  <a:pt x="1394" y="2054"/>
                </a:lnTo>
                <a:lnTo>
                  <a:pt x="1389" y="2018"/>
                </a:lnTo>
                <a:lnTo>
                  <a:pt x="1383" y="1983"/>
                </a:lnTo>
                <a:lnTo>
                  <a:pt x="1378" y="1948"/>
                </a:lnTo>
                <a:lnTo>
                  <a:pt x="1375" y="1912"/>
                </a:lnTo>
                <a:lnTo>
                  <a:pt x="1372" y="1876"/>
                </a:lnTo>
                <a:lnTo>
                  <a:pt x="1368" y="1840"/>
                </a:lnTo>
                <a:lnTo>
                  <a:pt x="1367" y="1804"/>
                </a:lnTo>
                <a:lnTo>
                  <a:pt x="1366" y="1767"/>
                </a:lnTo>
                <a:lnTo>
                  <a:pt x="1365" y="1729"/>
                </a:lnTo>
                <a:lnTo>
                  <a:pt x="1366" y="1686"/>
                </a:lnTo>
                <a:lnTo>
                  <a:pt x="1367" y="1641"/>
                </a:lnTo>
                <a:lnTo>
                  <a:pt x="1370" y="1598"/>
                </a:lnTo>
                <a:lnTo>
                  <a:pt x="1374" y="1555"/>
                </a:lnTo>
                <a:lnTo>
                  <a:pt x="1378" y="1511"/>
                </a:lnTo>
                <a:lnTo>
                  <a:pt x="1383" y="1469"/>
                </a:lnTo>
                <a:lnTo>
                  <a:pt x="1390" y="1427"/>
                </a:lnTo>
                <a:lnTo>
                  <a:pt x="1397" y="1386"/>
                </a:lnTo>
                <a:lnTo>
                  <a:pt x="1405" y="1345"/>
                </a:lnTo>
                <a:lnTo>
                  <a:pt x="1415" y="1304"/>
                </a:lnTo>
                <a:lnTo>
                  <a:pt x="1426" y="1264"/>
                </a:lnTo>
                <a:lnTo>
                  <a:pt x="1437" y="1223"/>
                </a:lnTo>
                <a:lnTo>
                  <a:pt x="1449" y="1184"/>
                </a:lnTo>
                <a:lnTo>
                  <a:pt x="1463" y="1145"/>
                </a:lnTo>
                <a:lnTo>
                  <a:pt x="1477" y="1106"/>
                </a:lnTo>
                <a:lnTo>
                  <a:pt x="1493" y="1068"/>
                </a:lnTo>
                <a:lnTo>
                  <a:pt x="1508" y="1030"/>
                </a:lnTo>
                <a:lnTo>
                  <a:pt x="1527" y="993"/>
                </a:lnTo>
                <a:lnTo>
                  <a:pt x="1545" y="955"/>
                </a:lnTo>
                <a:lnTo>
                  <a:pt x="1564" y="919"/>
                </a:lnTo>
                <a:lnTo>
                  <a:pt x="1585" y="883"/>
                </a:lnTo>
                <a:lnTo>
                  <a:pt x="1606" y="847"/>
                </a:lnTo>
                <a:lnTo>
                  <a:pt x="1628" y="811"/>
                </a:lnTo>
                <a:lnTo>
                  <a:pt x="1652" y="776"/>
                </a:lnTo>
                <a:lnTo>
                  <a:pt x="1676" y="742"/>
                </a:lnTo>
                <a:lnTo>
                  <a:pt x="1702" y="708"/>
                </a:lnTo>
                <a:lnTo>
                  <a:pt x="1728" y="674"/>
                </a:lnTo>
                <a:lnTo>
                  <a:pt x="1756" y="640"/>
                </a:lnTo>
                <a:lnTo>
                  <a:pt x="1783" y="607"/>
                </a:lnTo>
                <a:lnTo>
                  <a:pt x="1813" y="574"/>
                </a:lnTo>
                <a:lnTo>
                  <a:pt x="1844" y="542"/>
                </a:lnTo>
                <a:lnTo>
                  <a:pt x="1875" y="510"/>
                </a:lnTo>
                <a:lnTo>
                  <a:pt x="1907" y="478"/>
                </a:lnTo>
                <a:lnTo>
                  <a:pt x="1940" y="448"/>
                </a:lnTo>
                <a:lnTo>
                  <a:pt x="1971" y="419"/>
                </a:lnTo>
                <a:lnTo>
                  <a:pt x="2005" y="390"/>
                </a:lnTo>
                <a:lnTo>
                  <a:pt x="2038" y="362"/>
                </a:lnTo>
                <a:lnTo>
                  <a:pt x="2072" y="336"/>
                </a:lnTo>
                <a:lnTo>
                  <a:pt x="2106" y="311"/>
                </a:lnTo>
                <a:lnTo>
                  <a:pt x="2141" y="287"/>
                </a:lnTo>
                <a:lnTo>
                  <a:pt x="2176" y="263"/>
                </a:lnTo>
                <a:lnTo>
                  <a:pt x="2211" y="240"/>
                </a:lnTo>
                <a:lnTo>
                  <a:pt x="2247" y="219"/>
                </a:lnTo>
                <a:lnTo>
                  <a:pt x="2284" y="199"/>
                </a:lnTo>
                <a:lnTo>
                  <a:pt x="2320" y="179"/>
                </a:lnTo>
                <a:lnTo>
                  <a:pt x="2357" y="160"/>
                </a:lnTo>
                <a:lnTo>
                  <a:pt x="2395" y="143"/>
                </a:lnTo>
                <a:lnTo>
                  <a:pt x="2432" y="127"/>
                </a:lnTo>
                <a:lnTo>
                  <a:pt x="2470" y="111"/>
                </a:lnTo>
                <a:lnTo>
                  <a:pt x="2510" y="98"/>
                </a:lnTo>
                <a:lnTo>
                  <a:pt x="2549" y="84"/>
                </a:lnTo>
                <a:lnTo>
                  <a:pt x="2588" y="71"/>
                </a:lnTo>
                <a:lnTo>
                  <a:pt x="2628" y="60"/>
                </a:lnTo>
                <a:lnTo>
                  <a:pt x="2668" y="50"/>
                </a:lnTo>
                <a:lnTo>
                  <a:pt x="2709" y="40"/>
                </a:lnTo>
                <a:lnTo>
                  <a:pt x="2750" y="32"/>
                </a:lnTo>
                <a:lnTo>
                  <a:pt x="2791" y="24"/>
                </a:lnTo>
                <a:lnTo>
                  <a:pt x="2833" y="18"/>
                </a:lnTo>
                <a:lnTo>
                  <a:pt x="2876" y="13"/>
                </a:lnTo>
                <a:lnTo>
                  <a:pt x="2918" y="7"/>
                </a:lnTo>
                <a:lnTo>
                  <a:pt x="2962" y="4"/>
                </a:lnTo>
                <a:lnTo>
                  <a:pt x="3005" y="2"/>
                </a:lnTo>
                <a:lnTo>
                  <a:pt x="3049" y="1"/>
                </a:lnTo>
                <a:lnTo>
                  <a:pt x="3094" y="0"/>
                </a:lnTo>
                <a:lnTo>
                  <a:pt x="3138" y="1"/>
                </a:lnTo>
                <a:lnTo>
                  <a:pt x="3183" y="2"/>
                </a:lnTo>
                <a:lnTo>
                  <a:pt x="3226" y="4"/>
                </a:lnTo>
                <a:lnTo>
                  <a:pt x="3270" y="7"/>
                </a:lnTo>
                <a:lnTo>
                  <a:pt x="3312" y="13"/>
                </a:lnTo>
                <a:lnTo>
                  <a:pt x="3356" y="18"/>
                </a:lnTo>
                <a:lnTo>
                  <a:pt x="3397" y="24"/>
                </a:lnTo>
                <a:lnTo>
                  <a:pt x="3440" y="32"/>
                </a:lnTo>
                <a:lnTo>
                  <a:pt x="3481" y="40"/>
                </a:lnTo>
                <a:lnTo>
                  <a:pt x="3521" y="50"/>
                </a:lnTo>
                <a:lnTo>
                  <a:pt x="3563" y="60"/>
                </a:lnTo>
                <a:lnTo>
                  <a:pt x="3602" y="71"/>
                </a:lnTo>
                <a:lnTo>
                  <a:pt x="3643" y="84"/>
                </a:lnTo>
                <a:lnTo>
                  <a:pt x="3682" y="98"/>
                </a:lnTo>
                <a:lnTo>
                  <a:pt x="3721" y="111"/>
                </a:lnTo>
                <a:lnTo>
                  <a:pt x="3759" y="127"/>
                </a:lnTo>
                <a:lnTo>
                  <a:pt x="3798" y="143"/>
                </a:lnTo>
                <a:lnTo>
                  <a:pt x="3835" y="160"/>
                </a:lnTo>
                <a:lnTo>
                  <a:pt x="3873" y="179"/>
                </a:lnTo>
                <a:lnTo>
                  <a:pt x="3909" y="199"/>
                </a:lnTo>
                <a:lnTo>
                  <a:pt x="3946" y="219"/>
                </a:lnTo>
                <a:lnTo>
                  <a:pt x="3982" y="240"/>
                </a:lnTo>
                <a:lnTo>
                  <a:pt x="4017" y="263"/>
                </a:lnTo>
                <a:lnTo>
                  <a:pt x="4053" y="287"/>
                </a:lnTo>
                <a:lnTo>
                  <a:pt x="4088" y="311"/>
                </a:lnTo>
                <a:lnTo>
                  <a:pt x="4122" y="336"/>
                </a:lnTo>
                <a:lnTo>
                  <a:pt x="4156" y="362"/>
                </a:lnTo>
                <a:lnTo>
                  <a:pt x="4190" y="390"/>
                </a:lnTo>
                <a:lnTo>
                  <a:pt x="4223" y="419"/>
                </a:lnTo>
                <a:lnTo>
                  <a:pt x="4256" y="448"/>
                </a:lnTo>
                <a:lnTo>
                  <a:pt x="4289" y="478"/>
                </a:lnTo>
                <a:lnTo>
                  <a:pt x="4321" y="510"/>
                </a:lnTo>
                <a:lnTo>
                  <a:pt x="4353" y="542"/>
                </a:lnTo>
                <a:lnTo>
                  <a:pt x="4383" y="574"/>
                </a:lnTo>
                <a:lnTo>
                  <a:pt x="4412" y="607"/>
                </a:lnTo>
                <a:lnTo>
                  <a:pt x="4440" y="640"/>
                </a:lnTo>
                <a:lnTo>
                  <a:pt x="4467" y="674"/>
                </a:lnTo>
                <a:lnTo>
                  <a:pt x="4493" y="708"/>
                </a:lnTo>
                <a:lnTo>
                  <a:pt x="4518" y="742"/>
                </a:lnTo>
                <a:lnTo>
                  <a:pt x="4543" y="776"/>
                </a:lnTo>
                <a:lnTo>
                  <a:pt x="4566" y="811"/>
                </a:lnTo>
                <a:lnTo>
                  <a:pt x="4588" y="847"/>
                </a:lnTo>
                <a:lnTo>
                  <a:pt x="4610" y="883"/>
                </a:lnTo>
                <a:lnTo>
                  <a:pt x="4630" y="919"/>
                </a:lnTo>
                <a:lnTo>
                  <a:pt x="4649" y="955"/>
                </a:lnTo>
                <a:lnTo>
                  <a:pt x="4667" y="993"/>
                </a:lnTo>
                <a:lnTo>
                  <a:pt x="4685" y="1030"/>
                </a:lnTo>
                <a:lnTo>
                  <a:pt x="4701" y="1068"/>
                </a:lnTo>
                <a:lnTo>
                  <a:pt x="4716" y="1106"/>
                </a:lnTo>
                <a:lnTo>
                  <a:pt x="4731" y="1145"/>
                </a:lnTo>
                <a:lnTo>
                  <a:pt x="4745" y="1184"/>
                </a:lnTo>
                <a:lnTo>
                  <a:pt x="4756" y="1223"/>
                </a:lnTo>
                <a:lnTo>
                  <a:pt x="4768" y="1264"/>
                </a:lnTo>
                <a:lnTo>
                  <a:pt x="4779" y="1304"/>
                </a:lnTo>
                <a:lnTo>
                  <a:pt x="4788" y="1345"/>
                </a:lnTo>
                <a:lnTo>
                  <a:pt x="4797" y="1386"/>
                </a:lnTo>
                <a:lnTo>
                  <a:pt x="4803" y="1427"/>
                </a:lnTo>
                <a:lnTo>
                  <a:pt x="4810" y="1469"/>
                </a:lnTo>
                <a:lnTo>
                  <a:pt x="4816" y="1511"/>
                </a:lnTo>
                <a:lnTo>
                  <a:pt x="4820" y="1555"/>
                </a:lnTo>
                <a:lnTo>
                  <a:pt x="4823" y="1598"/>
                </a:lnTo>
                <a:lnTo>
                  <a:pt x="4825" y="1641"/>
                </a:lnTo>
                <a:lnTo>
                  <a:pt x="4827" y="1686"/>
                </a:lnTo>
                <a:lnTo>
                  <a:pt x="4827" y="1729"/>
                </a:lnTo>
                <a:lnTo>
                  <a:pt x="4827" y="1768"/>
                </a:lnTo>
                <a:lnTo>
                  <a:pt x="4826" y="1806"/>
                </a:lnTo>
                <a:lnTo>
                  <a:pt x="4824" y="1843"/>
                </a:lnTo>
                <a:lnTo>
                  <a:pt x="4822" y="1880"/>
                </a:lnTo>
                <a:lnTo>
                  <a:pt x="4818" y="1917"/>
                </a:lnTo>
                <a:lnTo>
                  <a:pt x="4814" y="1954"/>
                </a:lnTo>
                <a:lnTo>
                  <a:pt x="4808" y="1990"/>
                </a:lnTo>
                <a:lnTo>
                  <a:pt x="4803" y="2027"/>
                </a:lnTo>
                <a:lnTo>
                  <a:pt x="4797" y="2062"/>
                </a:lnTo>
                <a:lnTo>
                  <a:pt x="4789" y="2098"/>
                </a:lnTo>
                <a:lnTo>
                  <a:pt x="4781" y="2134"/>
                </a:lnTo>
                <a:lnTo>
                  <a:pt x="4772" y="2169"/>
                </a:lnTo>
                <a:lnTo>
                  <a:pt x="4763" y="2204"/>
                </a:lnTo>
                <a:lnTo>
                  <a:pt x="4752" y="2240"/>
                </a:lnTo>
                <a:lnTo>
                  <a:pt x="4740" y="2274"/>
                </a:lnTo>
                <a:lnTo>
                  <a:pt x="4729" y="2308"/>
                </a:lnTo>
                <a:lnTo>
                  <a:pt x="4716" y="2342"/>
                </a:lnTo>
                <a:lnTo>
                  <a:pt x="4702" y="2376"/>
                </a:lnTo>
                <a:lnTo>
                  <a:pt x="4688" y="2410"/>
                </a:lnTo>
                <a:lnTo>
                  <a:pt x="4673" y="2443"/>
                </a:lnTo>
                <a:lnTo>
                  <a:pt x="4657" y="2476"/>
                </a:lnTo>
                <a:lnTo>
                  <a:pt x="4641" y="2508"/>
                </a:lnTo>
                <a:lnTo>
                  <a:pt x="4624" y="2541"/>
                </a:lnTo>
                <a:lnTo>
                  <a:pt x="4605" y="2573"/>
                </a:lnTo>
                <a:lnTo>
                  <a:pt x="4586" y="2606"/>
                </a:lnTo>
                <a:lnTo>
                  <a:pt x="4566" y="2638"/>
                </a:lnTo>
                <a:lnTo>
                  <a:pt x="4546" y="2669"/>
                </a:lnTo>
                <a:lnTo>
                  <a:pt x="4525" y="2701"/>
                </a:lnTo>
                <a:lnTo>
                  <a:pt x="4502" y="2732"/>
                </a:lnTo>
                <a:lnTo>
                  <a:pt x="4480" y="2763"/>
                </a:lnTo>
                <a:lnTo>
                  <a:pt x="4456" y="2793"/>
                </a:lnTo>
                <a:lnTo>
                  <a:pt x="4431" y="2824"/>
                </a:lnTo>
                <a:lnTo>
                  <a:pt x="4407" y="2853"/>
                </a:lnTo>
                <a:lnTo>
                  <a:pt x="4381" y="2883"/>
                </a:lnTo>
                <a:lnTo>
                  <a:pt x="4356" y="2910"/>
                </a:lnTo>
                <a:lnTo>
                  <a:pt x="4329" y="2938"/>
                </a:lnTo>
                <a:lnTo>
                  <a:pt x="4303" y="2965"/>
                </a:lnTo>
                <a:lnTo>
                  <a:pt x="4276" y="2991"/>
                </a:lnTo>
                <a:lnTo>
                  <a:pt x="4249" y="3017"/>
                </a:lnTo>
                <a:lnTo>
                  <a:pt x="4220" y="3041"/>
                </a:lnTo>
                <a:lnTo>
                  <a:pt x="4192" y="3066"/>
                </a:lnTo>
                <a:lnTo>
                  <a:pt x="4164" y="3089"/>
                </a:lnTo>
                <a:lnTo>
                  <a:pt x="4134" y="3112"/>
                </a:lnTo>
                <a:lnTo>
                  <a:pt x="4105" y="3134"/>
                </a:lnTo>
                <a:lnTo>
                  <a:pt x="4075" y="3155"/>
                </a:lnTo>
                <a:lnTo>
                  <a:pt x="4045" y="3176"/>
                </a:lnTo>
                <a:lnTo>
                  <a:pt x="4014" y="3196"/>
                </a:lnTo>
                <a:lnTo>
                  <a:pt x="3982" y="3215"/>
                </a:lnTo>
                <a:lnTo>
                  <a:pt x="3950" y="3233"/>
                </a:lnTo>
                <a:lnTo>
                  <a:pt x="3919" y="3252"/>
                </a:lnTo>
                <a:lnTo>
                  <a:pt x="3887" y="3269"/>
                </a:lnTo>
                <a:lnTo>
                  <a:pt x="3854" y="3286"/>
                </a:lnTo>
                <a:lnTo>
                  <a:pt x="3820" y="3301"/>
                </a:lnTo>
                <a:lnTo>
                  <a:pt x="3786" y="3316"/>
                </a:lnTo>
                <a:lnTo>
                  <a:pt x="3752" y="3331"/>
                </a:lnTo>
                <a:lnTo>
                  <a:pt x="3718" y="3344"/>
                </a:lnTo>
                <a:lnTo>
                  <a:pt x="3683" y="3358"/>
                </a:lnTo>
                <a:lnTo>
                  <a:pt x="3647" y="3370"/>
                </a:lnTo>
                <a:lnTo>
                  <a:pt x="3611" y="3381"/>
                </a:lnTo>
                <a:lnTo>
                  <a:pt x="3575" y="3393"/>
                </a:lnTo>
                <a:lnTo>
                  <a:pt x="3538" y="3402"/>
                </a:lnTo>
                <a:lnTo>
                  <a:pt x="3500" y="3412"/>
                </a:lnTo>
                <a:lnTo>
                  <a:pt x="3463" y="3421"/>
                </a:lnTo>
                <a:lnTo>
                  <a:pt x="3425" y="3429"/>
                </a:lnTo>
                <a:lnTo>
                  <a:pt x="3438" y="3443"/>
                </a:lnTo>
                <a:lnTo>
                  <a:pt x="3449" y="3456"/>
                </a:lnTo>
                <a:lnTo>
                  <a:pt x="3459" y="3468"/>
                </a:lnTo>
                <a:lnTo>
                  <a:pt x="3466" y="3480"/>
                </a:lnTo>
                <a:lnTo>
                  <a:pt x="3473" y="3491"/>
                </a:lnTo>
                <a:lnTo>
                  <a:pt x="3477" y="3501"/>
                </a:lnTo>
                <a:lnTo>
                  <a:pt x="3479" y="3512"/>
                </a:lnTo>
                <a:lnTo>
                  <a:pt x="3480" y="3522"/>
                </a:lnTo>
                <a:close/>
              </a:path>
            </a:pathLst>
          </a:custGeom>
          <a:solidFill>
            <a:schemeClr val="bg1">
              <a:lumMod val="75000"/>
            </a:schemeClr>
          </a:solidFill>
          <a:ln w="9525">
            <a:noFill/>
            <a:round/>
            <a:headEnd/>
            <a:tailEnd/>
          </a:ln>
        </p:spPr>
        <p:txBody>
          <a:bodyPr/>
          <a:lstStyle>
            <a:defPPr>
              <a:defRPr lang="en-US"/>
            </a:defPPr>
            <a:lvl1pPr marL="0" algn="l" defTabSz="1018824" rtl="0" eaLnBrk="1" latinLnBrk="0" hangingPunct="1">
              <a:defRPr sz="2000" kern="1200">
                <a:solidFill>
                  <a:schemeClr val="tx1"/>
                </a:solidFill>
                <a:latin typeface="+mn-lt"/>
                <a:ea typeface="+mn-ea"/>
                <a:cs typeface="+mn-cs"/>
              </a:defRPr>
            </a:lvl1pPr>
            <a:lvl2pPr marL="509412" algn="l" defTabSz="1018824" rtl="0" eaLnBrk="1" latinLnBrk="0" hangingPunct="1">
              <a:defRPr sz="2000" kern="1200">
                <a:solidFill>
                  <a:schemeClr val="tx1"/>
                </a:solidFill>
                <a:latin typeface="+mn-lt"/>
                <a:ea typeface="+mn-ea"/>
                <a:cs typeface="+mn-cs"/>
              </a:defRPr>
            </a:lvl2pPr>
            <a:lvl3pPr marL="1018824" algn="l" defTabSz="1018824" rtl="0" eaLnBrk="1" latinLnBrk="0" hangingPunct="1">
              <a:defRPr sz="2000" kern="1200">
                <a:solidFill>
                  <a:schemeClr val="tx1"/>
                </a:solidFill>
                <a:latin typeface="+mn-lt"/>
                <a:ea typeface="+mn-ea"/>
                <a:cs typeface="+mn-cs"/>
              </a:defRPr>
            </a:lvl3pPr>
            <a:lvl4pPr marL="1528237" algn="l" defTabSz="1018824" rtl="0" eaLnBrk="1" latinLnBrk="0" hangingPunct="1">
              <a:defRPr sz="2000" kern="1200">
                <a:solidFill>
                  <a:schemeClr val="tx1"/>
                </a:solidFill>
                <a:latin typeface="+mn-lt"/>
                <a:ea typeface="+mn-ea"/>
                <a:cs typeface="+mn-cs"/>
              </a:defRPr>
            </a:lvl4pPr>
            <a:lvl5pPr marL="2037649" algn="l" defTabSz="1018824" rtl="0" eaLnBrk="1" latinLnBrk="0" hangingPunct="1">
              <a:defRPr sz="2000" kern="1200">
                <a:solidFill>
                  <a:schemeClr val="tx1"/>
                </a:solidFill>
                <a:latin typeface="+mn-lt"/>
                <a:ea typeface="+mn-ea"/>
                <a:cs typeface="+mn-cs"/>
              </a:defRPr>
            </a:lvl5pPr>
            <a:lvl6pPr marL="2547061" algn="l" defTabSz="1018824" rtl="0" eaLnBrk="1" latinLnBrk="0" hangingPunct="1">
              <a:defRPr sz="2000" kern="1200">
                <a:solidFill>
                  <a:schemeClr val="tx1"/>
                </a:solidFill>
                <a:latin typeface="+mn-lt"/>
                <a:ea typeface="+mn-ea"/>
                <a:cs typeface="+mn-cs"/>
              </a:defRPr>
            </a:lvl6pPr>
            <a:lvl7pPr marL="3056473" algn="l" defTabSz="1018824" rtl="0" eaLnBrk="1" latinLnBrk="0" hangingPunct="1">
              <a:defRPr sz="2000" kern="1200">
                <a:solidFill>
                  <a:schemeClr val="tx1"/>
                </a:solidFill>
                <a:latin typeface="+mn-lt"/>
                <a:ea typeface="+mn-ea"/>
                <a:cs typeface="+mn-cs"/>
              </a:defRPr>
            </a:lvl7pPr>
            <a:lvl8pPr marL="3565886" algn="l" defTabSz="1018824" rtl="0" eaLnBrk="1" latinLnBrk="0" hangingPunct="1">
              <a:defRPr sz="2000" kern="1200">
                <a:solidFill>
                  <a:schemeClr val="tx1"/>
                </a:solidFill>
                <a:latin typeface="+mn-lt"/>
                <a:ea typeface="+mn-ea"/>
                <a:cs typeface="+mn-cs"/>
              </a:defRPr>
            </a:lvl8pPr>
            <a:lvl9pPr marL="4075298" algn="l" defTabSz="1018824" rtl="0" eaLnBrk="1" latinLnBrk="0" hangingPunct="1">
              <a:defRPr sz="2000" kern="1200">
                <a:solidFill>
                  <a:schemeClr val="tx1"/>
                </a:solidFill>
                <a:latin typeface="+mn-lt"/>
                <a:ea typeface="+mn-ea"/>
                <a:cs typeface="+mn-cs"/>
              </a:defRPr>
            </a:lvl9pPr>
          </a:lstStyle>
          <a:p>
            <a:pPr marL="0" marR="0" lvl="0" indent="0" algn="l" defTabSz="1018824" rtl="0" eaLnBrk="1" fontAlgn="auto" latinLnBrk="0" hangingPunct="1">
              <a:lnSpc>
                <a:spcPct val="100000"/>
              </a:lnSpc>
              <a:spcBef>
                <a:spcPts val="0"/>
              </a:spcBef>
              <a:spcAft>
                <a:spcPts val="0"/>
              </a:spcAft>
              <a:buClrTx/>
              <a:buSzTx/>
              <a:buFontTx/>
              <a:buNone/>
              <a:tabLst/>
              <a:defRPr/>
            </a:pPr>
            <a:endParaRPr kumimoji="0" lang="en-GB" sz="1589"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 name="Freeform 14">
            <a:extLst>
              <a:ext uri="{FF2B5EF4-FFF2-40B4-BE49-F238E27FC236}">
                <a16:creationId xmlns:a16="http://schemas.microsoft.com/office/drawing/2014/main" id="{CCE3ADA4-1B93-43E6-B887-47FC45D2F3CD}"/>
              </a:ext>
            </a:extLst>
          </p:cNvPr>
          <p:cNvSpPr>
            <a:spLocks/>
          </p:cNvSpPr>
          <p:nvPr/>
        </p:nvSpPr>
        <p:spPr bwMode="auto">
          <a:xfrm>
            <a:off x="2542532" y="4835747"/>
            <a:ext cx="197037" cy="470851"/>
          </a:xfrm>
          <a:custGeom>
            <a:avLst/>
            <a:gdLst>
              <a:gd name="T0" fmla="*/ 13344091 w 6132"/>
              <a:gd name="T1" fmla="*/ 10441401 h 16980"/>
              <a:gd name="T2" fmla="*/ 14439013 w 6132"/>
              <a:gd name="T3" fmla="*/ 10808942 h 16980"/>
              <a:gd name="T4" fmla="*/ 15478309 w 6132"/>
              <a:gd name="T5" fmla="*/ 11467619 h 16980"/>
              <a:gd name="T6" fmla="*/ 16450295 w 6132"/>
              <a:gd name="T7" fmla="*/ 12408541 h 16980"/>
              <a:gd name="T8" fmla="*/ 17214401 w 6132"/>
              <a:gd name="T9" fmla="*/ 13481773 h 16980"/>
              <a:gd name="T10" fmla="*/ 17709159 w 6132"/>
              <a:gd name="T11" fmla="*/ 14605004 h 16980"/>
              <a:gd name="T12" fmla="*/ 17937493 w 6132"/>
              <a:gd name="T13" fmla="*/ 15789994 h 16980"/>
              <a:gd name="T14" fmla="*/ 17922884 w 6132"/>
              <a:gd name="T15" fmla="*/ 28795453 h 16980"/>
              <a:gd name="T16" fmla="*/ 17720901 w 6132"/>
              <a:gd name="T17" fmla="*/ 29724608 h 16980"/>
              <a:gd name="T18" fmla="*/ 17322724 w 6132"/>
              <a:gd name="T19" fmla="*/ 30571448 h 16980"/>
              <a:gd name="T20" fmla="*/ 16731329 w 6132"/>
              <a:gd name="T21" fmla="*/ 31344758 h 16980"/>
              <a:gd name="T22" fmla="*/ 15970146 w 6132"/>
              <a:gd name="T23" fmla="*/ 32000508 h 16980"/>
              <a:gd name="T24" fmla="*/ 15062602 w 6132"/>
              <a:gd name="T25" fmla="*/ 32509198 h 16980"/>
              <a:gd name="T26" fmla="*/ 14014483 w 6132"/>
              <a:gd name="T27" fmla="*/ 32867899 h 16980"/>
              <a:gd name="T28" fmla="*/ 4168927 w 6132"/>
              <a:gd name="T29" fmla="*/ 32935519 h 16980"/>
              <a:gd name="T30" fmla="*/ 3003722 w 6132"/>
              <a:gd name="T31" fmla="*/ 32515054 h 16980"/>
              <a:gd name="T32" fmla="*/ 2104943 w 6132"/>
              <a:gd name="T33" fmla="*/ 32053432 h 16980"/>
              <a:gd name="T34" fmla="*/ 1334994 w 6132"/>
              <a:gd name="T35" fmla="*/ 31503585 h 16980"/>
              <a:gd name="T36" fmla="*/ 723146 w 6132"/>
              <a:gd name="T37" fmla="*/ 30883136 h 16980"/>
              <a:gd name="T38" fmla="*/ 295697 w 6132"/>
              <a:gd name="T39" fmla="*/ 30230369 h 16980"/>
              <a:gd name="T40" fmla="*/ 55622 w 6132"/>
              <a:gd name="T41" fmla="*/ 29542302 h 16980"/>
              <a:gd name="T42" fmla="*/ 2922 w 6132"/>
              <a:gd name="T43" fmla="*/ 16034064 h 16980"/>
              <a:gd name="T44" fmla="*/ 166867 w 6132"/>
              <a:gd name="T45" fmla="*/ 14637376 h 16980"/>
              <a:gd name="T46" fmla="*/ 608925 w 6132"/>
              <a:gd name="T47" fmla="*/ 13408297 h 16980"/>
              <a:gd name="T48" fmla="*/ 1326228 w 6132"/>
              <a:gd name="T49" fmla="*/ 12352689 h 16980"/>
              <a:gd name="T50" fmla="*/ 2309902 w 6132"/>
              <a:gd name="T51" fmla="*/ 11479386 h 16980"/>
              <a:gd name="T52" fmla="*/ 3495559 w 6132"/>
              <a:gd name="T53" fmla="*/ 10853081 h 16980"/>
              <a:gd name="T54" fmla="*/ 4889097 w 6132"/>
              <a:gd name="T55" fmla="*/ 10479630 h 16980"/>
              <a:gd name="T56" fmla="*/ 6475906 w 6132"/>
              <a:gd name="T57" fmla="*/ 10356104 h 16980"/>
              <a:gd name="T58" fmla="*/ 6768627 w 6132"/>
              <a:gd name="T59" fmla="*/ 10332625 h 16980"/>
              <a:gd name="T60" fmla="*/ 7661564 w 6132"/>
              <a:gd name="T61" fmla="*/ 10323786 h 16980"/>
              <a:gd name="T62" fmla="*/ 7863602 w 6132"/>
              <a:gd name="T63" fmla="*/ 10085627 h 16980"/>
              <a:gd name="T64" fmla="*/ 7032131 w 6132"/>
              <a:gd name="T65" fmla="*/ 9768029 h 16980"/>
              <a:gd name="T66" fmla="*/ 6197794 w 6132"/>
              <a:gd name="T67" fmla="*/ 9285801 h 16980"/>
              <a:gd name="T68" fmla="*/ 5471726 w 6132"/>
              <a:gd name="T69" fmla="*/ 8674191 h 16980"/>
              <a:gd name="T70" fmla="*/ 4859825 w 6132"/>
              <a:gd name="T71" fmla="*/ 7936181 h 16980"/>
              <a:gd name="T72" fmla="*/ 4409002 w 6132"/>
              <a:gd name="T73" fmla="*/ 7115803 h 16980"/>
              <a:gd name="T74" fmla="*/ 4122070 w 6132"/>
              <a:gd name="T75" fmla="*/ 6242499 h 16980"/>
              <a:gd name="T76" fmla="*/ 4002059 w 6132"/>
              <a:gd name="T77" fmla="*/ 5304506 h 16980"/>
              <a:gd name="T78" fmla="*/ 4069369 w 6132"/>
              <a:gd name="T79" fmla="*/ 4195974 h 16980"/>
              <a:gd name="T80" fmla="*/ 4370910 w 6132"/>
              <a:gd name="T81" fmla="*/ 3140364 h 16980"/>
              <a:gd name="T82" fmla="*/ 4906682 w 6132"/>
              <a:gd name="T83" fmla="*/ 2181765 h 16980"/>
              <a:gd name="T84" fmla="*/ 5679553 w 6132"/>
              <a:gd name="T85" fmla="*/ 1317301 h 16980"/>
              <a:gd name="T86" fmla="*/ 6578332 w 6132"/>
              <a:gd name="T87" fmla="*/ 643928 h 16980"/>
              <a:gd name="T88" fmla="*/ 7576670 w 6132"/>
              <a:gd name="T89" fmla="*/ 208768 h 16980"/>
              <a:gd name="T90" fmla="*/ 8671588 w 6132"/>
              <a:gd name="T91" fmla="*/ 11767 h 16980"/>
              <a:gd name="T92" fmla="*/ 9825105 w 6132"/>
              <a:gd name="T93" fmla="*/ 52924 h 16980"/>
              <a:gd name="T94" fmla="*/ 10893673 w 6132"/>
              <a:gd name="T95" fmla="*/ 326384 h 16980"/>
              <a:gd name="T96" fmla="*/ 11865659 w 6132"/>
              <a:gd name="T97" fmla="*/ 843912 h 16980"/>
              <a:gd name="T98" fmla="*/ 12743931 w 6132"/>
              <a:gd name="T99" fmla="*/ 1593689 h 16980"/>
              <a:gd name="T100" fmla="*/ 13431908 w 6132"/>
              <a:gd name="T101" fmla="*/ 2490525 h 16980"/>
              <a:gd name="T102" fmla="*/ 13891551 w 6132"/>
              <a:gd name="T103" fmla="*/ 3481443 h 16980"/>
              <a:gd name="T104" fmla="*/ 14111119 w 6132"/>
              <a:gd name="T105" fmla="*/ 4572353 h 16980"/>
              <a:gd name="T106" fmla="*/ 14105275 w 6132"/>
              <a:gd name="T107" fmla="*/ 5636746 h 16980"/>
              <a:gd name="T108" fmla="*/ 13912057 w 6132"/>
              <a:gd name="T109" fmla="*/ 6586506 h 16980"/>
              <a:gd name="T110" fmla="*/ 13537309 w 6132"/>
              <a:gd name="T111" fmla="*/ 7471577 h 16980"/>
              <a:gd name="T112" fmla="*/ 12972265 w 6132"/>
              <a:gd name="T113" fmla="*/ 8303722 h 16980"/>
              <a:gd name="T114" fmla="*/ 12272601 w 6132"/>
              <a:gd name="T115" fmla="*/ 9015324 h 16980"/>
              <a:gd name="T116" fmla="*/ 11473326 w 6132"/>
              <a:gd name="T117" fmla="*/ 9562188 h 16980"/>
              <a:gd name="T118" fmla="*/ 10571626 w 6132"/>
              <a:gd name="T119" fmla="*/ 9941550 h 16980"/>
              <a:gd name="T120" fmla="*/ 10147098 w 6132"/>
              <a:gd name="T121" fmla="*/ 10232633 h 1698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6132"/>
              <a:gd name="T184" fmla="*/ 0 h 16980"/>
              <a:gd name="T185" fmla="*/ 6132 w 6132"/>
              <a:gd name="T186" fmla="*/ 16980 h 16980"/>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6132" h="16980">
                <a:moveTo>
                  <a:pt x="3480" y="3522"/>
                </a:moveTo>
                <a:lnTo>
                  <a:pt x="4254" y="3522"/>
                </a:lnTo>
                <a:lnTo>
                  <a:pt x="4298" y="3522"/>
                </a:lnTo>
                <a:lnTo>
                  <a:pt x="4342" y="3524"/>
                </a:lnTo>
                <a:lnTo>
                  <a:pt x="4386" y="3527"/>
                </a:lnTo>
                <a:lnTo>
                  <a:pt x="4429" y="3531"/>
                </a:lnTo>
                <a:lnTo>
                  <a:pt x="4473" y="3536"/>
                </a:lnTo>
                <a:lnTo>
                  <a:pt x="4515" y="3543"/>
                </a:lnTo>
                <a:lnTo>
                  <a:pt x="4558" y="3551"/>
                </a:lnTo>
                <a:lnTo>
                  <a:pt x="4601" y="3560"/>
                </a:lnTo>
                <a:lnTo>
                  <a:pt x="4643" y="3570"/>
                </a:lnTo>
                <a:lnTo>
                  <a:pt x="4685" y="3582"/>
                </a:lnTo>
                <a:lnTo>
                  <a:pt x="4727" y="3595"/>
                </a:lnTo>
                <a:lnTo>
                  <a:pt x="4769" y="3609"/>
                </a:lnTo>
                <a:lnTo>
                  <a:pt x="4809" y="3624"/>
                </a:lnTo>
                <a:lnTo>
                  <a:pt x="4851" y="3640"/>
                </a:lnTo>
                <a:lnTo>
                  <a:pt x="4892" y="3658"/>
                </a:lnTo>
                <a:lnTo>
                  <a:pt x="4932" y="3676"/>
                </a:lnTo>
                <a:lnTo>
                  <a:pt x="4973" y="3696"/>
                </a:lnTo>
                <a:lnTo>
                  <a:pt x="5013" y="3717"/>
                </a:lnTo>
                <a:lnTo>
                  <a:pt x="5052" y="3739"/>
                </a:lnTo>
                <a:lnTo>
                  <a:pt x="5093" y="3763"/>
                </a:lnTo>
                <a:lnTo>
                  <a:pt x="5132" y="3788"/>
                </a:lnTo>
                <a:lnTo>
                  <a:pt x="5171" y="3814"/>
                </a:lnTo>
                <a:lnTo>
                  <a:pt x="5210" y="3842"/>
                </a:lnTo>
                <a:lnTo>
                  <a:pt x="5249" y="3870"/>
                </a:lnTo>
                <a:lnTo>
                  <a:pt x="5287" y="3900"/>
                </a:lnTo>
                <a:lnTo>
                  <a:pt x="5325" y="3931"/>
                </a:lnTo>
                <a:lnTo>
                  <a:pt x="5364" y="3963"/>
                </a:lnTo>
                <a:lnTo>
                  <a:pt x="5401" y="3997"/>
                </a:lnTo>
                <a:lnTo>
                  <a:pt x="5438" y="4031"/>
                </a:lnTo>
                <a:lnTo>
                  <a:pt x="5475" y="4067"/>
                </a:lnTo>
                <a:lnTo>
                  <a:pt x="5512" y="4104"/>
                </a:lnTo>
                <a:lnTo>
                  <a:pt x="5549" y="4142"/>
                </a:lnTo>
                <a:lnTo>
                  <a:pt x="5584" y="4181"/>
                </a:lnTo>
                <a:lnTo>
                  <a:pt x="5619" y="4220"/>
                </a:lnTo>
                <a:lnTo>
                  <a:pt x="5652" y="4260"/>
                </a:lnTo>
                <a:lnTo>
                  <a:pt x="5685" y="4300"/>
                </a:lnTo>
                <a:lnTo>
                  <a:pt x="5716" y="4339"/>
                </a:lnTo>
                <a:lnTo>
                  <a:pt x="5747" y="4379"/>
                </a:lnTo>
                <a:lnTo>
                  <a:pt x="5775" y="4420"/>
                </a:lnTo>
                <a:lnTo>
                  <a:pt x="5803" y="4460"/>
                </a:lnTo>
                <a:lnTo>
                  <a:pt x="5830" y="4502"/>
                </a:lnTo>
                <a:lnTo>
                  <a:pt x="5855" y="4543"/>
                </a:lnTo>
                <a:lnTo>
                  <a:pt x="5880" y="4585"/>
                </a:lnTo>
                <a:lnTo>
                  <a:pt x="5904" y="4626"/>
                </a:lnTo>
                <a:lnTo>
                  <a:pt x="5925" y="4667"/>
                </a:lnTo>
                <a:lnTo>
                  <a:pt x="5946" y="4710"/>
                </a:lnTo>
                <a:lnTo>
                  <a:pt x="5967" y="4752"/>
                </a:lnTo>
                <a:lnTo>
                  <a:pt x="5986" y="4795"/>
                </a:lnTo>
                <a:lnTo>
                  <a:pt x="6004" y="4838"/>
                </a:lnTo>
                <a:lnTo>
                  <a:pt x="6020" y="4880"/>
                </a:lnTo>
                <a:lnTo>
                  <a:pt x="6036" y="4924"/>
                </a:lnTo>
                <a:lnTo>
                  <a:pt x="6049" y="4967"/>
                </a:lnTo>
                <a:lnTo>
                  <a:pt x="6063" y="5011"/>
                </a:lnTo>
                <a:lnTo>
                  <a:pt x="6075" y="5055"/>
                </a:lnTo>
                <a:lnTo>
                  <a:pt x="6085" y="5100"/>
                </a:lnTo>
                <a:lnTo>
                  <a:pt x="6095" y="5144"/>
                </a:lnTo>
                <a:lnTo>
                  <a:pt x="6104" y="5189"/>
                </a:lnTo>
                <a:lnTo>
                  <a:pt x="6111" y="5234"/>
                </a:lnTo>
                <a:lnTo>
                  <a:pt x="6117" y="5280"/>
                </a:lnTo>
                <a:lnTo>
                  <a:pt x="6123" y="5324"/>
                </a:lnTo>
                <a:lnTo>
                  <a:pt x="6127" y="5370"/>
                </a:lnTo>
                <a:lnTo>
                  <a:pt x="6130" y="5417"/>
                </a:lnTo>
                <a:lnTo>
                  <a:pt x="6131" y="5463"/>
                </a:lnTo>
                <a:lnTo>
                  <a:pt x="6132" y="5509"/>
                </a:lnTo>
                <a:lnTo>
                  <a:pt x="6132" y="9605"/>
                </a:lnTo>
                <a:lnTo>
                  <a:pt x="6132" y="9643"/>
                </a:lnTo>
                <a:lnTo>
                  <a:pt x="6130" y="9682"/>
                </a:lnTo>
                <a:lnTo>
                  <a:pt x="6129" y="9719"/>
                </a:lnTo>
                <a:lnTo>
                  <a:pt x="6126" y="9756"/>
                </a:lnTo>
                <a:lnTo>
                  <a:pt x="6122" y="9793"/>
                </a:lnTo>
                <a:lnTo>
                  <a:pt x="6117" y="9829"/>
                </a:lnTo>
                <a:lnTo>
                  <a:pt x="6112" y="9866"/>
                </a:lnTo>
                <a:lnTo>
                  <a:pt x="6107" y="9901"/>
                </a:lnTo>
                <a:lnTo>
                  <a:pt x="6099" y="9937"/>
                </a:lnTo>
                <a:lnTo>
                  <a:pt x="6092" y="9972"/>
                </a:lnTo>
                <a:lnTo>
                  <a:pt x="6083" y="10007"/>
                </a:lnTo>
                <a:lnTo>
                  <a:pt x="6074" y="10041"/>
                </a:lnTo>
                <a:lnTo>
                  <a:pt x="6063" y="10075"/>
                </a:lnTo>
                <a:lnTo>
                  <a:pt x="6053" y="10109"/>
                </a:lnTo>
                <a:lnTo>
                  <a:pt x="6041" y="10142"/>
                </a:lnTo>
                <a:lnTo>
                  <a:pt x="6028" y="10175"/>
                </a:lnTo>
                <a:lnTo>
                  <a:pt x="6014" y="10208"/>
                </a:lnTo>
                <a:lnTo>
                  <a:pt x="6001" y="10241"/>
                </a:lnTo>
                <a:lnTo>
                  <a:pt x="5986" y="10273"/>
                </a:lnTo>
                <a:lnTo>
                  <a:pt x="5970" y="10305"/>
                </a:lnTo>
                <a:lnTo>
                  <a:pt x="5953" y="10335"/>
                </a:lnTo>
                <a:lnTo>
                  <a:pt x="5935" y="10366"/>
                </a:lnTo>
                <a:lnTo>
                  <a:pt x="5917" y="10397"/>
                </a:lnTo>
                <a:lnTo>
                  <a:pt x="5898" y="10428"/>
                </a:lnTo>
                <a:lnTo>
                  <a:pt x="5877" y="10458"/>
                </a:lnTo>
                <a:lnTo>
                  <a:pt x="5857" y="10487"/>
                </a:lnTo>
                <a:lnTo>
                  <a:pt x="5835" y="10517"/>
                </a:lnTo>
                <a:lnTo>
                  <a:pt x="5813" y="10546"/>
                </a:lnTo>
                <a:lnTo>
                  <a:pt x="5789" y="10575"/>
                </a:lnTo>
                <a:lnTo>
                  <a:pt x="5766" y="10603"/>
                </a:lnTo>
                <a:lnTo>
                  <a:pt x="5740" y="10632"/>
                </a:lnTo>
                <a:lnTo>
                  <a:pt x="5715" y="10660"/>
                </a:lnTo>
                <a:lnTo>
                  <a:pt x="5688" y="10687"/>
                </a:lnTo>
                <a:lnTo>
                  <a:pt x="5661" y="10714"/>
                </a:lnTo>
                <a:lnTo>
                  <a:pt x="5633" y="10739"/>
                </a:lnTo>
                <a:lnTo>
                  <a:pt x="5606" y="10765"/>
                </a:lnTo>
                <a:lnTo>
                  <a:pt x="5576" y="10790"/>
                </a:lnTo>
                <a:lnTo>
                  <a:pt x="5546" y="10814"/>
                </a:lnTo>
                <a:lnTo>
                  <a:pt x="5516" y="10838"/>
                </a:lnTo>
                <a:lnTo>
                  <a:pt x="5486" y="10860"/>
                </a:lnTo>
                <a:lnTo>
                  <a:pt x="5455" y="10883"/>
                </a:lnTo>
                <a:lnTo>
                  <a:pt x="5422" y="10905"/>
                </a:lnTo>
                <a:lnTo>
                  <a:pt x="5390" y="10925"/>
                </a:lnTo>
                <a:lnTo>
                  <a:pt x="5357" y="10947"/>
                </a:lnTo>
                <a:lnTo>
                  <a:pt x="5323" y="10966"/>
                </a:lnTo>
                <a:lnTo>
                  <a:pt x="5288" y="10985"/>
                </a:lnTo>
                <a:lnTo>
                  <a:pt x="5253" y="11004"/>
                </a:lnTo>
                <a:lnTo>
                  <a:pt x="5218" y="11022"/>
                </a:lnTo>
                <a:lnTo>
                  <a:pt x="5182" y="11039"/>
                </a:lnTo>
                <a:lnTo>
                  <a:pt x="5145" y="11056"/>
                </a:lnTo>
                <a:lnTo>
                  <a:pt x="5108" y="11072"/>
                </a:lnTo>
                <a:lnTo>
                  <a:pt x="5069" y="11087"/>
                </a:lnTo>
                <a:lnTo>
                  <a:pt x="5031" y="11102"/>
                </a:lnTo>
                <a:lnTo>
                  <a:pt x="4992" y="11117"/>
                </a:lnTo>
                <a:lnTo>
                  <a:pt x="4952" y="11130"/>
                </a:lnTo>
                <a:lnTo>
                  <a:pt x="4911" y="11143"/>
                </a:lnTo>
                <a:lnTo>
                  <a:pt x="4871" y="11155"/>
                </a:lnTo>
                <a:lnTo>
                  <a:pt x="4828" y="11167"/>
                </a:lnTo>
                <a:lnTo>
                  <a:pt x="4787" y="11178"/>
                </a:lnTo>
                <a:lnTo>
                  <a:pt x="4743" y="11189"/>
                </a:lnTo>
                <a:lnTo>
                  <a:pt x="4701" y="11199"/>
                </a:lnTo>
                <a:lnTo>
                  <a:pt x="4656" y="11208"/>
                </a:lnTo>
                <a:lnTo>
                  <a:pt x="4612" y="11217"/>
                </a:lnTo>
                <a:lnTo>
                  <a:pt x="4567" y="11225"/>
                </a:lnTo>
                <a:lnTo>
                  <a:pt x="4567" y="16980"/>
                </a:lnTo>
                <a:lnTo>
                  <a:pt x="1510" y="16980"/>
                </a:lnTo>
                <a:lnTo>
                  <a:pt x="1510" y="11225"/>
                </a:lnTo>
                <a:lnTo>
                  <a:pt x="1424" y="11201"/>
                </a:lnTo>
                <a:lnTo>
                  <a:pt x="1340" y="11175"/>
                </a:lnTo>
                <a:lnTo>
                  <a:pt x="1298" y="11161"/>
                </a:lnTo>
                <a:lnTo>
                  <a:pt x="1258" y="11148"/>
                </a:lnTo>
                <a:lnTo>
                  <a:pt x="1218" y="11134"/>
                </a:lnTo>
                <a:lnTo>
                  <a:pt x="1178" y="11120"/>
                </a:lnTo>
                <a:lnTo>
                  <a:pt x="1139" y="11105"/>
                </a:lnTo>
                <a:lnTo>
                  <a:pt x="1101" y="11089"/>
                </a:lnTo>
                <a:lnTo>
                  <a:pt x="1064" y="11074"/>
                </a:lnTo>
                <a:lnTo>
                  <a:pt x="1026" y="11058"/>
                </a:lnTo>
                <a:lnTo>
                  <a:pt x="990" y="11042"/>
                </a:lnTo>
                <a:lnTo>
                  <a:pt x="954" y="11025"/>
                </a:lnTo>
                <a:lnTo>
                  <a:pt x="918" y="11009"/>
                </a:lnTo>
                <a:lnTo>
                  <a:pt x="884" y="10991"/>
                </a:lnTo>
                <a:lnTo>
                  <a:pt x="849" y="10974"/>
                </a:lnTo>
                <a:lnTo>
                  <a:pt x="816" y="10956"/>
                </a:lnTo>
                <a:lnTo>
                  <a:pt x="782" y="10938"/>
                </a:lnTo>
                <a:lnTo>
                  <a:pt x="750" y="10920"/>
                </a:lnTo>
                <a:lnTo>
                  <a:pt x="719" y="10901"/>
                </a:lnTo>
                <a:lnTo>
                  <a:pt x="687" y="10882"/>
                </a:lnTo>
                <a:lnTo>
                  <a:pt x="656" y="10862"/>
                </a:lnTo>
                <a:lnTo>
                  <a:pt x="626" y="10841"/>
                </a:lnTo>
                <a:lnTo>
                  <a:pt x="596" y="10821"/>
                </a:lnTo>
                <a:lnTo>
                  <a:pt x="567" y="10801"/>
                </a:lnTo>
                <a:lnTo>
                  <a:pt x="539" y="10780"/>
                </a:lnTo>
                <a:lnTo>
                  <a:pt x="510" y="10758"/>
                </a:lnTo>
                <a:lnTo>
                  <a:pt x="484" y="10736"/>
                </a:lnTo>
                <a:lnTo>
                  <a:pt x="456" y="10714"/>
                </a:lnTo>
                <a:lnTo>
                  <a:pt x="431" y="10691"/>
                </a:lnTo>
                <a:lnTo>
                  <a:pt x="405" y="10668"/>
                </a:lnTo>
                <a:lnTo>
                  <a:pt x="380" y="10646"/>
                </a:lnTo>
                <a:lnTo>
                  <a:pt x="355" y="10622"/>
                </a:lnTo>
                <a:lnTo>
                  <a:pt x="332" y="10599"/>
                </a:lnTo>
                <a:lnTo>
                  <a:pt x="310" y="10576"/>
                </a:lnTo>
                <a:lnTo>
                  <a:pt x="289" y="10551"/>
                </a:lnTo>
                <a:lnTo>
                  <a:pt x="267" y="10528"/>
                </a:lnTo>
                <a:lnTo>
                  <a:pt x="247" y="10503"/>
                </a:lnTo>
                <a:lnTo>
                  <a:pt x="228" y="10480"/>
                </a:lnTo>
                <a:lnTo>
                  <a:pt x="209" y="10455"/>
                </a:lnTo>
                <a:lnTo>
                  <a:pt x="191" y="10431"/>
                </a:lnTo>
                <a:lnTo>
                  <a:pt x="174" y="10407"/>
                </a:lnTo>
                <a:lnTo>
                  <a:pt x="158" y="10382"/>
                </a:lnTo>
                <a:lnTo>
                  <a:pt x="142" y="10357"/>
                </a:lnTo>
                <a:lnTo>
                  <a:pt x="128" y="10332"/>
                </a:lnTo>
                <a:lnTo>
                  <a:pt x="114" y="10307"/>
                </a:lnTo>
                <a:lnTo>
                  <a:pt x="101" y="10281"/>
                </a:lnTo>
                <a:lnTo>
                  <a:pt x="89" y="10256"/>
                </a:lnTo>
                <a:lnTo>
                  <a:pt x="77" y="10230"/>
                </a:lnTo>
                <a:lnTo>
                  <a:pt x="67" y="10205"/>
                </a:lnTo>
                <a:lnTo>
                  <a:pt x="57" y="10179"/>
                </a:lnTo>
                <a:lnTo>
                  <a:pt x="48" y="10153"/>
                </a:lnTo>
                <a:lnTo>
                  <a:pt x="39" y="10127"/>
                </a:lnTo>
                <a:lnTo>
                  <a:pt x="32" y="10100"/>
                </a:lnTo>
                <a:lnTo>
                  <a:pt x="25" y="10074"/>
                </a:lnTo>
                <a:lnTo>
                  <a:pt x="19" y="10047"/>
                </a:lnTo>
                <a:lnTo>
                  <a:pt x="14" y="10021"/>
                </a:lnTo>
                <a:lnTo>
                  <a:pt x="9" y="9994"/>
                </a:lnTo>
                <a:lnTo>
                  <a:pt x="6" y="9967"/>
                </a:lnTo>
                <a:lnTo>
                  <a:pt x="3" y="9940"/>
                </a:lnTo>
                <a:lnTo>
                  <a:pt x="1" y="9912"/>
                </a:lnTo>
                <a:lnTo>
                  <a:pt x="0" y="9885"/>
                </a:lnTo>
                <a:lnTo>
                  <a:pt x="0" y="9857"/>
                </a:lnTo>
                <a:lnTo>
                  <a:pt x="0" y="5509"/>
                </a:lnTo>
                <a:lnTo>
                  <a:pt x="1" y="5453"/>
                </a:lnTo>
                <a:lnTo>
                  <a:pt x="2" y="5398"/>
                </a:lnTo>
                <a:lnTo>
                  <a:pt x="5" y="5342"/>
                </a:lnTo>
                <a:lnTo>
                  <a:pt x="9" y="5288"/>
                </a:lnTo>
                <a:lnTo>
                  <a:pt x="15" y="5235"/>
                </a:lnTo>
                <a:lnTo>
                  <a:pt x="21" y="5182"/>
                </a:lnTo>
                <a:lnTo>
                  <a:pt x="28" y="5130"/>
                </a:lnTo>
                <a:lnTo>
                  <a:pt x="37" y="5079"/>
                </a:lnTo>
                <a:lnTo>
                  <a:pt x="47" y="5028"/>
                </a:lnTo>
                <a:lnTo>
                  <a:pt x="57" y="4978"/>
                </a:lnTo>
                <a:lnTo>
                  <a:pt x="70" y="4929"/>
                </a:lnTo>
                <a:lnTo>
                  <a:pt x="83" y="4880"/>
                </a:lnTo>
                <a:lnTo>
                  <a:pt x="97" y="4832"/>
                </a:lnTo>
                <a:lnTo>
                  <a:pt x="112" y="4785"/>
                </a:lnTo>
                <a:lnTo>
                  <a:pt x="129" y="4739"/>
                </a:lnTo>
                <a:lnTo>
                  <a:pt x="147" y="4693"/>
                </a:lnTo>
                <a:lnTo>
                  <a:pt x="166" y="4648"/>
                </a:lnTo>
                <a:lnTo>
                  <a:pt x="187" y="4604"/>
                </a:lnTo>
                <a:lnTo>
                  <a:pt x="208" y="4560"/>
                </a:lnTo>
                <a:lnTo>
                  <a:pt x="230" y="4518"/>
                </a:lnTo>
                <a:lnTo>
                  <a:pt x="255" y="4476"/>
                </a:lnTo>
                <a:lnTo>
                  <a:pt x="279" y="4435"/>
                </a:lnTo>
                <a:lnTo>
                  <a:pt x="306" y="4393"/>
                </a:lnTo>
                <a:lnTo>
                  <a:pt x="332" y="4354"/>
                </a:lnTo>
                <a:lnTo>
                  <a:pt x="361" y="4315"/>
                </a:lnTo>
                <a:lnTo>
                  <a:pt x="391" y="4275"/>
                </a:lnTo>
                <a:lnTo>
                  <a:pt x="421" y="4238"/>
                </a:lnTo>
                <a:lnTo>
                  <a:pt x="453" y="4201"/>
                </a:lnTo>
                <a:lnTo>
                  <a:pt x="486" y="4165"/>
                </a:lnTo>
                <a:lnTo>
                  <a:pt x="520" y="4129"/>
                </a:lnTo>
                <a:lnTo>
                  <a:pt x="556" y="4093"/>
                </a:lnTo>
                <a:lnTo>
                  <a:pt x="592" y="4059"/>
                </a:lnTo>
                <a:lnTo>
                  <a:pt x="629" y="4025"/>
                </a:lnTo>
                <a:lnTo>
                  <a:pt x="668" y="3994"/>
                </a:lnTo>
                <a:lnTo>
                  <a:pt x="707" y="3963"/>
                </a:lnTo>
                <a:lnTo>
                  <a:pt x="747" y="3933"/>
                </a:lnTo>
                <a:lnTo>
                  <a:pt x="789" y="3904"/>
                </a:lnTo>
                <a:lnTo>
                  <a:pt x="830" y="3876"/>
                </a:lnTo>
                <a:lnTo>
                  <a:pt x="873" y="3849"/>
                </a:lnTo>
                <a:lnTo>
                  <a:pt x="916" y="3823"/>
                </a:lnTo>
                <a:lnTo>
                  <a:pt x="961" y="3799"/>
                </a:lnTo>
                <a:lnTo>
                  <a:pt x="1005" y="3775"/>
                </a:lnTo>
                <a:lnTo>
                  <a:pt x="1052" y="3752"/>
                </a:lnTo>
                <a:lnTo>
                  <a:pt x="1099" y="3731"/>
                </a:lnTo>
                <a:lnTo>
                  <a:pt x="1146" y="3711"/>
                </a:lnTo>
                <a:lnTo>
                  <a:pt x="1194" y="3691"/>
                </a:lnTo>
                <a:lnTo>
                  <a:pt x="1244" y="3672"/>
                </a:lnTo>
                <a:lnTo>
                  <a:pt x="1294" y="3655"/>
                </a:lnTo>
                <a:lnTo>
                  <a:pt x="1345" y="3640"/>
                </a:lnTo>
                <a:lnTo>
                  <a:pt x="1397" y="3624"/>
                </a:lnTo>
                <a:lnTo>
                  <a:pt x="1450" y="3610"/>
                </a:lnTo>
                <a:lnTo>
                  <a:pt x="1503" y="3597"/>
                </a:lnTo>
                <a:lnTo>
                  <a:pt x="1558" y="3584"/>
                </a:lnTo>
                <a:lnTo>
                  <a:pt x="1614" y="3574"/>
                </a:lnTo>
                <a:lnTo>
                  <a:pt x="1670" y="3564"/>
                </a:lnTo>
                <a:lnTo>
                  <a:pt x="1726" y="3554"/>
                </a:lnTo>
                <a:lnTo>
                  <a:pt x="1785" y="3547"/>
                </a:lnTo>
                <a:lnTo>
                  <a:pt x="1843" y="3540"/>
                </a:lnTo>
                <a:lnTo>
                  <a:pt x="1902" y="3534"/>
                </a:lnTo>
                <a:lnTo>
                  <a:pt x="1963" y="3530"/>
                </a:lnTo>
                <a:lnTo>
                  <a:pt x="2024" y="3526"/>
                </a:lnTo>
                <a:lnTo>
                  <a:pt x="2086" y="3524"/>
                </a:lnTo>
                <a:lnTo>
                  <a:pt x="2149" y="3522"/>
                </a:lnTo>
                <a:lnTo>
                  <a:pt x="2212" y="3522"/>
                </a:lnTo>
                <a:lnTo>
                  <a:pt x="2218" y="3517"/>
                </a:lnTo>
                <a:lnTo>
                  <a:pt x="2224" y="3514"/>
                </a:lnTo>
                <a:lnTo>
                  <a:pt x="2230" y="3513"/>
                </a:lnTo>
                <a:lnTo>
                  <a:pt x="2237" y="3512"/>
                </a:lnTo>
                <a:lnTo>
                  <a:pt x="2243" y="3512"/>
                </a:lnTo>
                <a:lnTo>
                  <a:pt x="2251" y="3512"/>
                </a:lnTo>
                <a:lnTo>
                  <a:pt x="2261" y="3512"/>
                </a:lnTo>
                <a:lnTo>
                  <a:pt x="2274" y="3512"/>
                </a:lnTo>
                <a:lnTo>
                  <a:pt x="2312" y="3514"/>
                </a:lnTo>
                <a:lnTo>
                  <a:pt x="2353" y="3516"/>
                </a:lnTo>
                <a:lnTo>
                  <a:pt x="2393" y="3517"/>
                </a:lnTo>
                <a:lnTo>
                  <a:pt x="2435" y="3519"/>
                </a:lnTo>
                <a:lnTo>
                  <a:pt x="2479" y="3520"/>
                </a:lnTo>
                <a:lnTo>
                  <a:pt x="2522" y="3520"/>
                </a:lnTo>
                <a:lnTo>
                  <a:pt x="2568" y="3522"/>
                </a:lnTo>
                <a:lnTo>
                  <a:pt x="2615" y="3522"/>
                </a:lnTo>
                <a:lnTo>
                  <a:pt x="2616" y="3516"/>
                </a:lnTo>
                <a:lnTo>
                  <a:pt x="2617" y="3511"/>
                </a:lnTo>
                <a:lnTo>
                  <a:pt x="2620" y="3505"/>
                </a:lnTo>
                <a:lnTo>
                  <a:pt x="2623" y="3498"/>
                </a:lnTo>
                <a:lnTo>
                  <a:pt x="2634" y="3483"/>
                </a:lnTo>
                <a:lnTo>
                  <a:pt x="2649" y="3466"/>
                </a:lnTo>
                <a:lnTo>
                  <a:pt x="2663" y="3450"/>
                </a:lnTo>
                <a:lnTo>
                  <a:pt x="2674" y="3439"/>
                </a:lnTo>
                <a:lnTo>
                  <a:pt x="2678" y="3434"/>
                </a:lnTo>
                <a:lnTo>
                  <a:pt x="2683" y="3431"/>
                </a:lnTo>
                <a:lnTo>
                  <a:pt x="2686" y="3430"/>
                </a:lnTo>
                <a:lnTo>
                  <a:pt x="2688" y="3429"/>
                </a:lnTo>
                <a:lnTo>
                  <a:pt x="2651" y="3417"/>
                </a:lnTo>
                <a:lnTo>
                  <a:pt x="2614" y="3406"/>
                </a:lnTo>
                <a:lnTo>
                  <a:pt x="2578" y="3393"/>
                </a:lnTo>
                <a:lnTo>
                  <a:pt x="2542" y="3380"/>
                </a:lnTo>
                <a:lnTo>
                  <a:pt x="2506" y="3366"/>
                </a:lnTo>
                <a:lnTo>
                  <a:pt x="2471" y="3351"/>
                </a:lnTo>
                <a:lnTo>
                  <a:pt x="2436" y="3337"/>
                </a:lnTo>
                <a:lnTo>
                  <a:pt x="2402" y="3322"/>
                </a:lnTo>
                <a:lnTo>
                  <a:pt x="2368" y="3306"/>
                </a:lnTo>
                <a:lnTo>
                  <a:pt x="2336" y="3289"/>
                </a:lnTo>
                <a:lnTo>
                  <a:pt x="2303" y="3272"/>
                </a:lnTo>
                <a:lnTo>
                  <a:pt x="2271" y="3255"/>
                </a:lnTo>
                <a:lnTo>
                  <a:pt x="2239" y="3237"/>
                </a:lnTo>
                <a:lnTo>
                  <a:pt x="2208" y="3218"/>
                </a:lnTo>
                <a:lnTo>
                  <a:pt x="2177" y="3198"/>
                </a:lnTo>
                <a:lnTo>
                  <a:pt x="2147" y="3178"/>
                </a:lnTo>
                <a:lnTo>
                  <a:pt x="2117" y="3158"/>
                </a:lnTo>
                <a:lnTo>
                  <a:pt x="2087" y="3137"/>
                </a:lnTo>
                <a:lnTo>
                  <a:pt x="2058" y="3115"/>
                </a:lnTo>
                <a:lnTo>
                  <a:pt x="2030" y="3093"/>
                </a:lnTo>
                <a:lnTo>
                  <a:pt x="2002" y="3071"/>
                </a:lnTo>
                <a:lnTo>
                  <a:pt x="1975" y="3047"/>
                </a:lnTo>
                <a:lnTo>
                  <a:pt x="1948" y="3024"/>
                </a:lnTo>
                <a:lnTo>
                  <a:pt x="1921" y="3000"/>
                </a:lnTo>
                <a:lnTo>
                  <a:pt x="1895" y="2975"/>
                </a:lnTo>
                <a:lnTo>
                  <a:pt x="1869" y="2950"/>
                </a:lnTo>
                <a:lnTo>
                  <a:pt x="1844" y="2924"/>
                </a:lnTo>
                <a:lnTo>
                  <a:pt x="1820" y="2898"/>
                </a:lnTo>
                <a:lnTo>
                  <a:pt x="1795" y="2871"/>
                </a:lnTo>
                <a:lnTo>
                  <a:pt x="1771" y="2843"/>
                </a:lnTo>
                <a:lnTo>
                  <a:pt x="1747" y="2816"/>
                </a:lnTo>
                <a:lnTo>
                  <a:pt x="1725" y="2787"/>
                </a:lnTo>
                <a:lnTo>
                  <a:pt x="1703" y="2757"/>
                </a:lnTo>
                <a:lnTo>
                  <a:pt x="1682" y="2729"/>
                </a:lnTo>
                <a:lnTo>
                  <a:pt x="1660" y="2699"/>
                </a:lnTo>
                <a:lnTo>
                  <a:pt x="1640" y="2669"/>
                </a:lnTo>
                <a:lnTo>
                  <a:pt x="1621" y="2638"/>
                </a:lnTo>
                <a:lnTo>
                  <a:pt x="1603" y="2608"/>
                </a:lnTo>
                <a:lnTo>
                  <a:pt x="1585" y="2578"/>
                </a:lnTo>
                <a:lnTo>
                  <a:pt x="1568" y="2547"/>
                </a:lnTo>
                <a:lnTo>
                  <a:pt x="1551" y="2516"/>
                </a:lnTo>
                <a:lnTo>
                  <a:pt x="1535" y="2484"/>
                </a:lnTo>
                <a:lnTo>
                  <a:pt x="1520" y="2452"/>
                </a:lnTo>
                <a:lnTo>
                  <a:pt x="1506" y="2420"/>
                </a:lnTo>
                <a:lnTo>
                  <a:pt x="1493" y="2388"/>
                </a:lnTo>
                <a:lnTo>
                  <a:pt x="1479" y="2356"/>
                </a:lnTo>
                <a:lnTo>
                  <a:pt x="1467" y="2324"/>
                </a:lnTo>
                <a:lnTo>
                  <a:pt x="1455" y="2291"/>
                </a:lnTo>
                <a:lnTo>
                  <a:pt x="1445" y="2258"/>
                </a:lnTo>
                <a:lnTo>
                  <a:pt x="1434" y="2225"/>
                </a:lnTo>
                <a:lnTo>
                  <a:pt x="1425" y="2191"/>
                </a:lnTo>
                <a:lnTo>
                  <a:pt x="1416" y="2157"/>
                </a:lnTo>
                <a:lnTo>
                  <a:pt x="1408" y="2123"/>
                </a:lnTo>
                <a:lnTo>
                  <a:pt x="1400" y="2089"/>
                </a:lnTo>
                <a:lnTo>
                  <a:pt x="1394" y="2054"/>
                </a:lnTo>
                <a:lnTo>
                  <a:pt x="1389" y="2018"/>
                </a:lnTo>
                <a:lnTo>
                  <a:pt x="1383" y="1983"/>
                </a:lnTo>
                <a:lnTo>
                  <a:pt x="1378" y="1948"/>
                </a:lnTo>
                <a:lnTo>
                  <a:pt x="1375" y="1912"/>
                </a:lnTo>
                <a:lnTo>
                  <a:pt x="1372" y="1876"/>
                </a:lnTo>
                <a:lnTo>
                  <a:pt x="1368" y="1840"/>
                </a:lnTo>
                <a:lnTo>
                  <a:pt x="1367" y="1804"/>
                </a:lnTo>
                <a:lnTo>
                  <a:pt x="1366" y="1767"/>
                </a:lnTo>
                <a:lnTo>
                  <a:pt x="1365" y="1729"/>
                </a:lnTo>
                <a:lnTo>
                  <a:pt x="1366" y="1686"/>
                </a:lnTo>
                <a:lnTo>
                  <a:pt x="1367" y="1641"/>
                </a:lnTo>
                <a:lnTo>
                  <a:pt x="1370" y="1598"/>
                </a:lnTo>
                <a:lnTo>
                  <a:pt x="1374" y="1555"/>
                </a:lnTo>
                <a:lnTo>
                  <a:pt x="1378" y="1511"/>
                </a:lnTo>
                <a:lnTo>
                  <a:pt x="1383" y="1469"/>
                </a:lnTo>
                <a:lnTo>
                  <a:pt x="1390" y="1427"/>
                </a:lnTo>
                <a:lnTo>
                  <a:pt x="1397" y="1386"/>
                </a:lnTo>
                <a:lnTo>
                  <a:pt x="1405" y="1345"/>
                </a:lnTo>
                <a:lnTo>
                  <a:pt x="1415" y="1304"/>
                </a:lnTo>
                <a:lnTo>
                  <a:pt x="1426" y="1264"/>
                </a:lnTo>
                <a:lnTo>
                  <a:pt x="1437" y="1223"/>
                </a:lnTo>
                <a:lnTo>
                  <a:pt x="1449" y="1184"/>
                </a:lnTo>
                <a:lnTo>
                  <a:pt x="1463" y="1145"/>
                </a:lnTo>
                <a:lnTo>
                  <a:pt x="1477" y="1106"/>
                </a:lnTo>
                <a:lnTo>
                  <a:pt x="1493" y="1068"/>
                </a:lnTo>
                <a:lnTo>
                  <a:pt x="1508" y="1030"/>
                </a:lnTo>
                <a:lnTo>
                  <a:pt x="1527" y="993"/>
                </a:lnTo>
                <a:lnTo>
                  <a:pt x="1545" y="955"/>
                </a:lnTo>
                <a:lnTo>
                  <a:pt x="1564" y="919"/>
                </a:lnTo>
                <a:lnTo>
                  <a:pt x="1585" y="883"/>
                </a:lnTo>
                <a:lnTo>
                  <a:pt x="1606" y="847"/>
                </a:lnTo>
                <a:lnTo>
                  <a:pt x="1628" y="811"/>
                </a:lnTo>
                <a:lnTo>
                  <a:pt x="1652" y="776"/>
                </a:lnTo>
                <a:lnTo>
                  <a:pt x="1676" y="742"/>
                </a:lnTo>
                <a:lnTo>
                  <a:pt x="1702" y="708"/>
                </a:lnTo>
                <a:lnTo>
                  <a:pt x="1728" y="674"/>
                </a:lnTo>
                <a:lnTo>
                  <a:pt x="1756" y="640"/>
                </a:lnTo>
                <a:lnTo>
                  <a:pt x="1783" y="607"/>
                </a:lnTo>
                <a:lnTo>
                  <a:pt x="1813" y="574"/>
                </a:lnTo>
                <a:lnTo>
                  <a:pt x="1844" y="542"/>
                </a:lnTo>
                <a:lnTo>
                  <a:pt x="1875" y="510"/>
                </a:lnTo>
                <a:lnTo>
                  <a:pt x="1907" y="478"/>
                </a:lnTo>
                <a:lnTo>
                  <a:pt x="1940" y="448"/>
                </a:lnTo>
                <a:lnTo>
                  <a:pt x="1971" y="419"/>
                </a:lnTo>
                <a:lnTo>
                  <a:pt x="2005" y="390"/>
                </a:lnTo>
                <a:lnTo>
                  <a:pt x="2038" y="362"/>
                </a:lnTo>
                <a:lnTo>
                  <a:pt x="2072" y="336"/>
                </a:lnTo>
                <a:lnTo>
                  <a:pt x="2106" y="311"/>
                </a:lnTo>
                <a:lnTo>
                  <a:pt x="2141" y="287"/>
                </a:lnTo>
                <a:lnTo>
                  <a:pt x="2176" y="263"/>
                </a:lnTo>
                <a:lnTo>
                  <a:pt x="2211" y="240"/>
                </a:lnTo>
                <a:lnTo>
                  <a:pt x="2247" y="219"/>
                </a:lnTo>
                <a:lnTo>
                  <a:pt x="2284" y="199"/>
                </a:lnTo>
                <a:lnTo>
                  <a:pt x="2320" y="179"/>
                </a:lnTo>
                <a:lnTo>
                  <a:pt x="2357" y="160"/>
                </a:lnTo>
                <a:lnTo>
                  <a:pt x="2395" y="143"/>
                </a:lnTo>
                <a:lnTo>
                  <a:pt x="2432" y="127"/>
                </a:lnTo>
                <a:lnTo>
                  <a:pt x="2470" y="111"/>
                </a:lnTo>
                <a:lnTo>
                  <a:pt x="2510" y="98"/>
                </a:lnTo>
                <a:lnTo>
                  <a:pt x="2549" y="84"/>
                </a:lnTo>
                <a:lnTo>
                  <a:pt x="2588" y="71"/>
                </a:lnTo>
                <a:lnTo>
                  <a:pt x="2628" y="60"/>
                </a:lnTo>
                <a:lnTo>
                  <a:pt x="2668" y="50"/>
                </a:lnTo>
                <a:lnTo>
                  <a:pt x="2709" y="40"/>
                </a:lnTo>
                <a:lnTo>
                  <a:pt x="2750" y="32"/>
                </a:lnTo>
                <a:lnTo>
                  <a:pt x="2791" y="24"/>
                </a:lnTo>
                <a:lnTo>
                  <a:pt x="2833" y="18"/>
                </a:lnTo>
                <a:lnTo>
                  <a:pt x="2876" y="13"/>
                </a:lnTo>
                <a:lnTo>
                  <a:pt x="2918" y="7"/>
                </a:lnTo>
                <a:lnTo>
                  <a:pt x="2962" y="4"/>
                </a:lnTo>
                <a:lnTo>
                  <a:pt x="3005" y="2"/>
                </a:lnTo>
                <a:lnTo>
                  <a:pt x="3049" y="1"/>
                </a:lnTo>
                <a:lnTo>
                  <a:pt x="3094" y="0"/>
                </a:lnTo>
                <a:lnTo>
                  <a:pt x="3138" y="1"/>
                </a:lnTo>
                <a:lnTo>
                  <a:pt x="3183" y="2"/>
                </a:lnTo>
                <a:lnTo>
                  <a:pt x="3226" y="4"/>
                </a:lnTo>
                <a:lnTo>
                  <a:pt x="3270" y="7"/>
                </a:lnTo>
                <a:lnTo>
                  <a:pt x="3312" y="13"/>
                </a:lnTo>
                <a:lnTo>
                  <a:pt x="3356" y="18"/>
                </a:lnTo>
                <a:lnTo>
                  <a:pt x="3397" y="24"/>
                </a:lnTo>
                <a:lnTo>
                  <a:pt x="3440" y="32"/>
                </a:lnTo>
                <a:lnTo>
                  <a:pt x="3481" y="40"/>
                </a:lnTo>
                <a:lnTo>
                  <a:pt x="3521" y="50"/>
                </a:lnTo>
                <a:lnTo>
                  <a:pt x="3563" y="60"/>
                </a:lnTo>
                <a:lnTo>
                  <a:pt x="3602" y="71"/>
                </a:lnTo>
                <a:lnTo>
                  <a:pt x="3643" y="84"/>
                </a:lnTo>
                <a:lnTo>
                  <a:pt x="3682" y="98"/>
                </a:lnTo>
                <a:lnTo>
                  <a:pt x="3721" y="111"/>
                </a:lnTo>
                <a:lnTo>
                  <a:pt x="3759" y="127"/>
                </a:lnTo>
                <a:lnTo>
                  <a:pt x="3798" y="143"/>
                </a:lnTo>
                <a:lnTo>
                  <a:pt x="3835" y="160"/>
                </a:lnTo>
                <a:lnTo>
                  <a:pt x="3873" y="179"/>
                </a:lnTo>
                <a:lnTo>
                  <a:pt x="3909" y="199"/>
                </a:lnTo>
                <a:lnTo>
                  <a:pt x="3946" y="219"/>
                </a:lnTo>
                <a:lnTo>
                  <a:pt x="3982" y="240"/>
                </a:lnTo>
                <a:lnTo>
                  <a:pt x="4017" y="263"/>
                </a:lnTo>
                <a:lnTo>
                  <a:pt x="4053" y="287"/>
                </a:lnTo>
                <a:lnTo>
                  <a:pt x="4088" y="311"/>
                </a:lnTo>
                <a:lnTo>
                  <a:pt x="4122" y="336"/>
                </a:lnTo>
                <a:lnTo>
                  <a:pt x="4156" y="362"/>
                </a:lnTo>
                <a:lnTo>
                  <a:pt x="4190" y="390"/>
                </a:lnTo>
                <a:lnTo>
                  <a:pt x="4223" y="419"/>
                </a:lnTo>
                <a:lnTo>
                  <a:pt x="4256" y="448"/>
                </a:lnTo>
                <a:lnTo>
                  <a:pt x="4289" y="478"/>
                </a:lnTo>
                <a:lnTo>
                  <a:pt x="4321" y="510"/>
                </a:lnTo>
                <a:lnTo>
                  <a:pt x="4353" y="542"/>
                </a:lnTo>
                <a:lnTo>
                  <a:pt x="4383" y="574"/>
                </a:lnTo>
                <a:lnTo>
                  <a:pt x="4412" y="607"/>
                </a:lnTo>
                <a:lnTo>
                  <a:pt x="4440" y="640"/>
                </a:lnTo>
                <a:lnTo>
                  <a:pt x="4467" y="674"/>
                </a:lnTo>
                <a:lnTo>
                  <a:pt x="4493" y="708"/>
                </a:lnTo>
                <a:lnTo>
                  <a:pt x="4518" y="742"/>
                </a:lnTo>
                <a:lnTo>
                  <a:pt x="4543" y="776"/>
                </a:lnTo>
                <a:lnTo>
                  <a:pt x="4566" y="811"/>
                </a:lnTo>
                <a:lnTo>
                  <a:pt x="4588" y="847"/>
                </a:lnTo>
                <a:lnTo>
                  <a:pt x="4610" y="883"/>
                </a:lnTo>
                <a:lnTo>
                  <a:pt x="4630" y="919"/>
                </a:lnTo>
                <a:lnTo>
                  <a:pt x="4649" y="955"/>
                </a:lnTo>
                <a:lnTo>
                  <a:pt x="4667" y="993"/>
                </a:lnTo>
                <a:lnTo>
                  <a:pt x="4685" y="1030"/>
                </a:lnTo>
                <a:lnTo>
                  <a:pt x="4701" y="1068"/>
                </a:lnTo>
                <a:lnTo>
                  <a:pt x="4716" y="1106"/>
                </a:lnTo>
                <a:lnTo>
                  <a:pt x="4731" y="1145"/>
                </a:lnTo>
                <a:lnTo>
                  <a:pt x="4745" y="1184"/>
                </a:lnTo>
                <a:lnTo>
                  <a:pt x="4756" y="1223"/>
                </a:lnTo>
                <a:lnTo>
                  <a:pt x="4768" y="1264"/>
                </a:lnTo>
                <a:lnTo>
                  <a:pt x="4779" y="1304"/>
                </a:lnTo>
                <a:lnTo>
                  <a:pt x="4788" y="1345"/>
                </a:lnTo>
                <a:lnTo>
                  <a:pt x="4797" y="1386"/>
                </a:lnTo>
                <a:lnTo>
                  <a:pt x="4803" y="1427"/>
                </a:lnTo>
                <a:lnTo>
                  <a:pt x="4810" y="1469"/>
                </a:lnTo>
                <a:lnTo>
                  <a:pt x="4816" y="1511"/>
                </a:lnTo>
                <a:lnTo>
                  <a:pt x="4820" y="1555"/>
                </a:lnTo>
                <a:lnTo>
                  <a:pt x="4823" y="1598"/>
                </a:lnTo>
                <a:lnTo>
                  <a:pt x="4825" y="1641"/>
                </a:lnTo>
                <a:lnTo>
                  <a:pt x="4827" y="1686"/>
                </a:lnTo>
                <a:lnTo>
                  <a:pt x="4827" y="1729"/>
                </a:lnTo>
                <a:lnTo>
                  <a:pt x="4827" y="1768"/>
                </a:lnTo>
                <a:lnTo>
                  <a:pt x="4826" y="1806"/>
                </a:lnTo>
                <a:lnTo>
                  <a:pt x="4824" y="1843"/>
                </a:lnTo>
                <a:lnTo>
                  <a:pt x="4822" y="1880"/>
                </a:lnTo>
                <a:lnTo>
                  <a:pt x="4818" y="1917"/>
                </a:lnTo>
                <a:lnTo>
                  <a:pt x="4814" y="1954"/>
                </a:lnTo>
                <a:lnTo>
                  <a:pt x="4808" y="1990"/>
                </a:lnTo>
                <a:lnTo>
                  <a:pt x="4803" y="2027"/>
                </a:lnTo>
                <a:lnTo>
                  <a:pt x="4797" y="2062"/>
                </a:lnTo>
                <a:lnTo>
                  <a:pt x="4789" y="2098"/>
                </a:lnTo>
                <a:lnTo>
                  <a:pt x="4781" y="2134"/>
                </a:lnTo>
                <a:lnTo>
                  <a:pt x="4772" y="2169"/>
                </a:lnTo>
                <a:lnTo>
                  <a:pt x="4763" y="2204"/>
                </a:lnTo>
                <a:lnTo>
                  <a:pt x="4752" y="2240"/>
                </a:lnTo>
                <a:lnTo>
                  <a:pt x="4740" y="2274"/>
                </a:lnTo>
                <a:lnTo>
                  <a:pt x="4729" y="2308"/>
                </a:lnTo>
                <a:lnTo>
                  <a:pt x="4716" y="2342"/>
                </a:lnTo>
                <a:lnTo>
                  <a:pt x="4702" y="2376"/>
                </a:lnTo>
                <a:lnTo>
                  <a:pt x="4688" y="2410"/>
                </a:lnTo>
                <a:lnTo>
                  <a:pt x="4673" y="2443"/>
                </a:lnTo>
                <a:lnTo>
                  <a:pt x="4657" y="2476"/>
                </a:lnTo>
                <a:lnTo>
                  <a:pt x="4641" y="2508"/>
                </a:lnTo>
                <a:lnTo>
                  <a:pt x="4624" y="2541"/>
                </a:lnTo>
                <a:lnTo>
                  <a:pt x="4605" y="2573"/>
                </a:lnTo>
                <a:lnTo>
                  <a:pt x="4586" y="2606"/>
                </a:lnTo>
                <a:lnTo>
                  <a:pt x="4566" y="2638"/>
                </a:lnTo>
                <a:lnTo>
                  <a:pt x="4546" y="2669"/>
                </a:lnTo>
                <a:lnTo>
                  <a:pt x="4525" y="2701"/>
                </a:lnTo>
                <a:lnTo>
                  <a:pt x="4502" y="2732"/>
                </a:lnTo>
                <a:lnTo>
                  <a:pt x="4480" y="2763"/>
                </a:lnTo>
                <a:lnTo>
                  <a:pt x="4456" y="2793"/>
                </a:lnTo>
                <a:lnTo>
                  <a:pt x="4431" y="2824"/>
                </a:lnTo>
                <a:lnTo>
                  <a:pt x="4407" y="2853"/>
                </a:lnTo>
                <a:lnTo>
                  <a:pt x="4381" y="2883"/>
                </a:lnTo>
                <a:lnTo>
                  <a:pt x="4356" y="2910"/>
                </a:lnTo>
                <a:lnTo>
                  <a:pt x="4329" y="2938"/>
                </a:lnTo>
                <a:lnTo>
                  <a:pt x="4303" y="2965"/>
                </a:lnTo>
                <a:lnTo>
                  <a:pt x="4276" y="2991"/>
                </a:lnTo>
                <a:lnTo>
                  <a:pt x="4249" y="3017"/>
                </a:lnTo>
                <a:lnTo>
                  <a:pt x="4220" y="3041"/>
                </a:lnTo>
                <a:lnTo>
                  <a:pt x="4192" y="3066"/>
                </a:lnTo>
                <a:lnTo>
                  <a:pt x="4164" y="3089"/>
                </a:lnTo>
                <a:lnTo>
                  <a:pt x="4134" y="3112"/>
                </a:lnTo>
                <a:lnTo>
                  <a:pt x="4105" y="3134"/>
                </a:lnTo>
                <a:lnTo>
                  <a:pt x="4075" y="3155"/>
                </a:lnTo>
                <a:lnTo>
                  <a:pt x="4045" y="3176"/>
                </a:lnTo>
                <a:lnTo>
                  <a:pt x="4014" y="3196"/>
                </a:lnTo>
                <a:lnTo>
                  <a:pt x="3982" y="3215"/>
                </a:lnTo>
                <a:lnTo>
                  <a:pt x="3950" y="3233"/>
                </a:lnTo>
                <a:lnTo>
                  <a:pt x="3919" y="3252"/>
                </a:lnTo>
                <a:lnTo>
                  <a:pt x="3887" y="3269"/>
                </a:lnTo>
                <a:lnTo>
                  <a:pt x="3854" y="3286"/>
                </a:lnTo>
                <a:lnTo>
                  <a:pt x="3820" y="3301"/>
                </a:lnTo>
                <a:lnTo>
                  <a:pt x="3786" y="3316"/>
                </a:lnTo>
                <a:lnTo>
                  <a:pt x="3752" y="3331"/>
                </a:lnTo>
                <a:lnTo>
                  <a:pt x="3718" y="3344"/>
                </a:lnTo>
                <a:lnTo>
                  <a:pt x="3683" y="3358"/>
                </a:lnTo>
                <a:lnTo>
                  <a:pt x="3647" y="3370"/>
                </a:lnTo>
                <a:lnTo>
                  <a:pt x="3611" y="3381"/>
                </a:lnTo>
                <a:lnTo>
                  <a:pt x="3575" y="3393"/>
                </a:lnTo>
                <a:lnTo>
                  <a:pt x="3538" y="3402"/>
                </a:lnTo>
                <a:lnTo>
                  <a:pt x="3500" y="3412"/>
                </a:lnTo>
                <a:lnTo>
                  <a:pt x="3463" y="3421"/>
                </a:lnTo>
                <a:lnTo>
                  <a:pt x="3425" y="3429"/>
                </a:lnTo>
                <a:lnTo>
                  <a:pt x="3438" y="3443"/>
                </a:lnTo>
                <a:lnTo>
                  <a:pt x="3449" y="3456"/>
                </a:lnTo>
                <a:lnTo>
                  <a:pt x="3459" y="3468"/>
                </a:lnTo>
                <a:lnTo>
                  <a:pt x="3466" y="3480"/>
                </a:lnTo>
                <a:lnTo>
                  <a:pt x="3473" y="3491"/>
                </a:lnTo>
                <a:lnTo>
                  <a:pt x="3477" y="3501"/>
                </a:lnTo>
                <a:lnTo>
                  <a:pt x="3479" y="3512"/>
                </a:lnTo>
                <a:lnTo>
                  <a:pt x="3480" y="3522"/>
                </a:lnTo>
                <a:close/>
              </a:path>
            </a:pathLst>
          </a:custGeom>
          <a:solidFill>
            <a:schemeClr val="bg1">
              <a:lumMod val="75000"/>
            </a:schemeClr>
          </a:solidFill>
          <a:ln w="9525">
            <a:noFill/>
            <a:round/>
            <a:headEnd/>
            <a:tailEnd/>
          </a:ln>
        </p:spPr>
        <p:txBody>
          <a:bodyPr/>
          <a:lstStyle>
            <a:defPPr>
              <a:defRPr lang="en-US"/>
            </a:defPPr>
            <a:lvl1pPr marL="0" algn="l" defTabSz="1018824" rtl="0" eaLnBrk="1" latinLnBrk="0" hangingPunct="1">
              <a:defRPr sz="2000" kern="1200">
                <a:solidFill>
                  <a:schemeClr val="tx1"/>
                </a:solidFill>
                <a:latin typeface="+mn-lt"/>
                <a:ea typeface="+mn-ea"/>
                <a:cs typeface="+mn-cs"/>
              </a:defRPr>
            </a:lvl1pPr>
            <a:lvl2pPr marL="509412" algn="l" defTabSz="1018824" rtl="0" eaLnBrk="1" latinLnBrk="0" hangingPunct="1">
              <a:defRPr sz="2000" kern="1200">
                <a:solidFill>
                  <a:schemeClr val="tx1"/>
                </a:solidFill>
                <a:latin typeface="+mn-lt"/>
                <a:ea typeface="+mn-ea"/>
                <a:cs typeface="+mn-cs"/>
              </a:defRPr>
            </a:lvl2pPr>
            <a:lvl3pPr marL="1018824" algn="l" defTabSz="1018824" rtl="0" eaLnBrk="1" latinLnBrk="0" hangingPunct="1">
              <a:defRPr sz="2000" kern="1200">
                <a:solidFill>
                  <a:schemeClr val="tx1"/>
                </a:solidFill>
                <a:latin typeface="+mn-lt"/>
                <a:ea typeface="+mn-ea"/>
                <a:cs typeface="+mn-cs"/>
              </a:defRPr>
            </a:lvl3pPr>
            <a:lvl4pPr marL="1528237" algn="l" defTabSz="1018824" rtl="0" eaLnBrk="1" latinLnBrk="0" hangingPunct="1">
              <a:defRPr sz="2000" kern="1200">
                <a:solidFill>
                  <a:schemeClr val="tx1"/>
                </a:solidFill>
                <a:latin typeface="+mn-lt"/>
                <a:ea typeface="+mn-ea"/>
                <a:cs typeface="+mn-cs"/>
              </a:defRPr>
            </a:lvl4pPr>
            <a:lvl5pPr marL="2037649" algn="l" defTabSz="1018824" rtl="0" eaLnBrk="1" latinLnBrk="0" hangingPunct="1">
              <a:defRPr sz="2000" kern="1200">
                <a:solidFill>
                  <a:schemeClr val="tx1"/>
                </a:solidFill>
                <a:latin typeface="+mn-lt"/>
                <a:ea typeface="+mn-ea"/>
                <a:cs typeface="+mn-cs"/>
              </a:defRPr>
            </a:lvl5pPr>
            <a:lvl6pPr marL="2547061" algn="l" defTabSz="1018824" rtl="0" eaLnBrk="1" latinLnBrk="0" hangingPunct="1">
              <a:defRPr sz="2000" kern="1200">
                <a:solidFill>
                  <a:schemeClr val="tx1"/>
                </a:solidFill>
                <a:latin typeface="+mn-lt"/>
                <a:ea typeface="+mn-ea"/>
                <a:cs typeface="+mn-cs"/>
              </a:defRPr>
            </a:lvl6pPr>
            <a:lvl7pPr marL="3056473" algn="l" defTabSz="1018824" rtl="0" eaLnBrk="1" latinLnBrk="0" hangingPunct="1">
              <a:defRPr sz="2000" kern="1200">
                <a:solidFill>
                  <a:schemeClr val="tx1"/>
                </a:solidFill>
                <a:latin typeface="+mn-lt"/>
                <a:ea typeface="+mn-ea"/>
                <a:cs typeface="+mn-cs"/>
              </a:defRPr>
            </a:lvl7pPr>
            <a:lvl8pPr marL="3565886" algn="l" defTabSz="1018824" rtl="0" eaLnBrk="1" latinLnBrk="0" hangingPunct="1">
              <a:defRPr sz="2000" kern="1200">
                <a:solidFill>
                  <a:schemeClr val="tx1"/>
                </a:solidFill>
                <a:latin typeface="+mn-lt"/>
                <a:ea typeface="+mn-ea"/>
                <a:cs typeface="+mn-cs"/>
              </a:defRPr>
            </a:lvl8pPr>
            <a:lvl9pPr marL="4075298" algn="l" defTabSz="1018824" rtl="0" eaLnBrk="1" latinLnBrk="0" hangingPunct="1">
              <a:defRPr sz="2000" kern="1200">
                <a:solidFill>
                  <a:schemeClr val="tx1"/>
                </a:solidFill>
                <a:latin typeface="+mn-lt"/>
                <a:ea typeface="+mn-ea"/>
                <a:cs typeface="+mn-cs"/>
              </a:defRPr>
            </a:lvl9pPr>
          </a:lstStyle>
          <a:p>
            <a:pPr marL="0" marR="0" lvl="0" indent="0" algn="l" defTabSz="1018824" rtl="0" eaLnBrk="1" fontAlgn="auto" latinLnBrk="0" hangingPunct="1">
              <a:lnSpc>
                <a:spcPct val="100000"/>
              </a:lnSpc>
              <a:spcBef>
                <a:spcPts val="0"/>
              </a:spcBef>
              <a:spcAft>
                <a:spcPts val="0"/>
              </a:spcAft>
              <a:buClrTx/>
              <a:buSzTx/>
              <a:buFontTx/>
              <a:buNone/>
              <a:tabLst/>
              <a:defRPr/>
            </a:pPr>
            <a:endParaRPr kumimoji="0" lang="en-GB" sz="1589"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 name="Freeform 15">
            <a:extLst>
              <a:ext uri="{FF2B5EF4-FFF2-40B4-BE49-F238E27FC236}">
                <a16:creationId xmlns:a16="http://schemas.microsoft.com/office/drawing/2014/main" id="{FAF630F5-095F-4415-B2B0-D370E9111B62}"/>
              </a:ext>
            </a:extLst>
          </p:cNvPr>
          <p:cNvSpPr>
            <a:spLocks/>
          </p:cNvSpPr>
          <p:nvPr/>
        </p:nvSpPr>
        <p:spPr bwMode="auto">
          <a:xfrm>
            <a:off x="2294791" y="4835747"/>
            <a:ext cx="197037" cy="470851"/>
          </a:xfrm>
          <a:custGeom>
            <a:avLst/>
            <a:gdLst>
              <a:gd name="T0" fmla="*/ 13344091 w 6132"/>
              <a:gd name="T1" fmla="*/ 10441401 h 16980"/>
              <a:gd name="T2" fmla="*/ 14439013 w 6132"/>
              <a:gd name="T3" fmla="*/ 10808942 h 16980"/>
              <a:gd name="T4" fmla="*/ 15478309 w 6132"/>
              <a:gd name="T5" fmla="*/ 11467619 h 16980"/>
              <a:gd name="T6" fmla="*/ 16450295 w 6132"/>
              <a:gd name="T7" fmla="*/ 12408541 h 16980"/>
              <a:gd name="T8" fmla="*/ 17214401 w 6132"/>
              <a:gd name="T9" fmla="*/ 13481773 h 16980"/>
              <a:gd name="T10" fmla="*/ 17709159 w 6132"/>
              <a:gd name="T11" fmla="*/ 14605004 h 16980"/>
              <a:gd name="T12" fmla="*/ 17937493 w 6132"/>
              <a:gd name="T13" fmla="*/ 15789994 h 16980"/>
              <a:gd name="T14" fmla="*/ 17922884 w 6132"/>
              <a:gd name="T15" fmla="*/ 28795453 h 16980"/>
              <a:gd name="T16" fmla="*/ 17720901 w 6132"/>
              <a:gd name="T17" fmla="*/ 29724608 h 16980"/>
              <a:gd name="T18" fmla="*/ 17322724 w 6132"/>
              <a:gd name="T19" fmla="*/ 30571448 h 16980"/>
              <a:gd name="T20" fmla="*/ 16731329 w 6132"/>
              <a:gd name="T21" fmla="*/ 31344758 h 16980"/>
              <a:gd name="T22" fmla="*/ 15970146 w 6132"/>
              <a:gd name="T23" fmla="*/ 32000508 h 16980"/>
              <a:gd name="T24" fmla="*/ 15062602 w 6132"/>
              <a:gd name="T25" fmla="*/ 32509198 h 16980"/>
              <a:gd name="T26" fmla="*/ 14014483 w 6132"/>
              <a:gd name="T27" fmla="*/ 32867899 h 16980"/>
              <a:gd name="T28" fmla="*/ 4168927 w 6132"/>
              <a:gd name="T29" fmla="*/ 32935519 h 16980"/>
              <a:gd name="T30" fmla="*/ 3003722 w 6132"/>
              <a:gd name="T31" fmla="*/ 32515054 h 16980"/>
              <a:gd name="T32" fmla="*/ 2104943 w 6132"/>
              <a:gd name="T33" fmla="*/ 32053432 h 16980"/>
              <a:gd name="T34" fmla="*/ 1334994 w 6132"/>
              <a:gd name="T35" fmla="*/ 31503585 h 16980"/>
              <a:gd name="T36" fmla="*/ 723146 w 6132"/>
              <a:gd name="T37" fmla="*/ 30883136 h 16980"/>
              <a:gd name="T38" fmla="*/ 295697 w 6132"/>
              <a:gd name="T39" fmla="*/ 30230369 h 16980"/>
              <a:gd name="T40" fmla="*/ 55622 w 6132"/>
              <a:gd name="T41" fmla="*/ 29542302 h 16980"/>
              <a:gd name="T42" fmla="*/ 2922 w 6132"/>
              <a:gd name="T43" fmla="*/ 16034064 h 16980"/>
              <a:gd name="T44" fmla="*/ 166867 w 6132"/>
              <a:gd name="T45" fmla="*/ 14637376 h 16980"/>
              <a:gd name="T46" fmla="*/ 608925 w 6132"/>
              <a:gd name="T47" fmla="*/ 13408297 h 16980"/>
              <a:gd name="T48" fmla="*/ 1326228 w 6132"/>
              <a:gd name="T49" fmla="*/ 12352689 h 16980"/>
              <a:gd name="T50" fmla="*/ 2309902 w 6132"/>
              <a:gd name="T51" fmla="*/ 11479386 h 16980"/>
              <a:gd name="T52" fmla="*/ 3495559 w 6132"/>
              <a:gd name="T53" fmla="*/ 10853081 h 16980"/>
              <a:gd name="T54" fmla="*/ 4889097 w 6132"/>
              <a:gd name="T55" fmla="*/ 10479630 h 16980"/>
              <a:gd name="T56" fmla="*/ 6475906 w 6132"/>
              <a:gd name="T57" fmla="*/ 10356104 h 16980"/>
              <a:gd name="T58" fmla="*/ 6768627 w 6132"/>
              <a:gd name="T59" fmla="*/ 10332625 h 16980"/>
              <a:gd name="T60" fmla="*/ 7661564 w 6132"/>
              <a:gd name="T61" fmla="*/ 10323786 h 16980"/>
              <a:gd name="T62" fmla="*/ 7863602 w 6132"/>
              <a:gd name="T63" fmla="*/ 10085627 h 16980"/>
              <a:gd name="T64" fmla="*/ 7032131 w 6132"/>
              <a:gd name="T65" fmla="*/ 9768029 h 16980"/>
              <a:gd name="T66" fmla="*/ 6197794 w 6132"/>
              <a:gd name="T67" fmla="*/ 9285801 h 16980"/>
              <a:gd name="T68" fmla="*/ 5471726 w 6132"/>
              <a:gd name="T69" fmla="*/ 8674191 h 16980"/>
              <a:gd name="T70" fmla="*/ 4859825 w 6132"/>
              <a:gd name="T71" fmla="*/ 7936181 h 16980"/>
              <a:gd name="T72" fmla="*/ 4409002 w 6132"/>
              <a:gd name="T73" fmla="*/ 7115803 h 16980"/>
              <a:gd name="T74" fmla="*/ 4122070 w 6132"/>
              <a:gd name="T75" fmla="*/ 6242499 h 16980"/>
              <a:gd name="T76" fmla="*/ 4002059 w 6132"/>
              <a:gd name="T77" fmla="*/ 5304506 h 16980"/>
              <a:gd name="T78" fmla="*/ 4069369 w 6132"/>
              <a:gd name="T79" fmla="*/ 4195974 h 16980"/>
              <a:gd name="T80" fmla="*/ 4370910 w 6132"/>
              <a:gd name="T81" fmla="*/ 3140364 h 16980"/>
              <a:gd name="T82" fmla="*/ 4906682 w 6132"/>
              <a:gd name="T83" fmla="*/ 2181765 h 16980"/>
              <a:gd name="T84" fmla="*/ 5679553 w 6132"/>
              <a:gd name="T85" fmla="*/ 1317301 h 16980"/>
              <a:gd name="T86" fmla="*/ 6578332 w 6132"/>
              <a:gd name="T87" fmla="*/ 643928 h 16980"/>
              <a:gd name="T88" fmla="*/ 7576670 w 6132"/>
              <a:gd name="T89" fmla="*/ 208768 h 16980"/>
              <a:gd name="T90" fmla="*/ 8671588 w 6132"/>
              <a:gd name="T91" fmla="*/ 11767 h 16980"/>
              <a:gd name="T92" fmla="*/ 9825105 w 6132"/>
              <a:gd name="T93" fmla="*/ 52924 h 16980"/>
              <a:gd name="T94" fmla="*/ 10893673 w 6132"/>
              <a:gd name="T95" fmla="*/ 326384 h 16980"/>
              <a:gd name="T96" fmla="*/ 11865659 w 6132"/>
              <a:gd name="T97" fmla="*/ 843912 h 16980"/>
              <a:gd name="T98" fmla="*/ 12743931 w 6132"/>
              <a:gd name="T99" fmla="*/ 1593689 h 16980"/>
              <a:gd name="T100" fmla="*/ 13431908 w 6132"/>
              <a:gd name="T101" fmla="*/ 2490525 h 16980"/>
              <a:gd name="T102" fmla="*/ 13891551 w 6132"/>
              <a:gd name="T103" fmla="*/ 3481443 h 16980"/>
              <a:gd name="T104" fmla="*/ 14111119 w 6132"/>
              <a:gd name="T105" fmla="*/ 4572353 h 16980"/>
              <a:gd name="T106" fmla="*/ 14105275 w 6132"/>
              <a:gd name="T107" fmla="*/ 5636746 h 16980"/>
              <a:gd name="T108" fmla="*/ 13912057 w 6132"/>
              <a:gd name="T109" fmla="*/ 6586506 h 16980"/>
              <a:gd name="T110" fmla="*/ 13537309 w 6132"/>
              <a:gd name="T111" fmla="*/ 7471577 h 16980"/>
              <a:gd name="T112" fmla="*/ 12972265 w 6132"/>
              <a:gd name="T113" fmla="*/ 8303722 h 16980"/>
              <a:gd name="T114" fmla="*/ 12272601 w 6132"/>
              <a:gd name="T115" fmla="*/ 9015324 h 16980"/>
              <a:gd name="T116" fmla="*/ 11473326 w 6132"/>
              <a:gd name="T117" fmla="*/ 9562188 h 16980"/>
              <a:gd name="T118" fmla="*/ 10571626 w 6132"/>
              <a:gd name="T119" fmla="*/ 9941550 h 16980"/>
              <a:gd name="T120" fmla="*/ 10147098 w 6132"/>
              <a:gd name="T121" fmla="*/ 10232633 h 1698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6132"/>
              <a:gd name="T184" fmla="*/ 0 h 16980"/>
              <a:gd name="T185" fmla="*/ 6132 w 6132"/>
              <a:gd name="T186" fmla="*/ 16980 h 16980"/>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6132" h="16980">
                <a:moveTo>
                  <a:pt x="3480" y="3522"/>
                </a:moveTo>
                <a:lnTo>
                  <a:pt x="4254" y="3522"/>
                </a:lnTo>
                <a:lnTo>
                  <a:pt x="4298" y="3522"/>
                </a:lnTo>
                <a:lnTo>
                  <a:pt x="4342" y="3524"/>
                </a:lnTo>
                <a:lnTo>
                  <a:pt x="4386" y="3527"/>
                </a:lnTo>
                <a:lnTo>
                  <a:pt x="4429" y="3531"/>
                </a:lnTo>
                <a:lnTo>
                  <a:pt x="4473" y="3536"/>
                </a:lnTo>
                <a:lnTo>
                  <a:pt x="4515" y="3543"/>
                </a:lnTo>
                <a:lnTo>
                  <a:pt x="4558" y="3551"/>
                </a:lnTo>
                <a:lnTo>
                  <a:pt x="4601" y="3560"/>
                </a:lnTo>
                <a:lnTo>
                  <a:pt x="4643" y="3570"/>
                </a:lnTo>
                <a:lnTo>
                  <a:pt x="4685" y="3582"/>
                </a:lnTo>
                <a:lnTo>
                  <a:pt x="4727" y="3595"/>
                </a:lnTo>
                <a:lnTo>
                  <a:pt x="4769" y="3609"/>
                </a:lnTo>
                <a:lnTo>
                  <a:pt x="4809" y="3624"/>
                </a:lnTo>
                <a:lnTo>
                  <a:pt x="4851" y="3640"/>
                </a:lnTo>
                <a:lnTo>
                  <a:pt x="4892" y="3658"/>
                </a:lnTo>
                <a:lnTo>
                  <a:pt x="4932" y="3676"/>
                </a:lnTo>
                <a:lnTo>
                  <a:pt x="4973" y="3696"/>
                </a:lnTo>
                <a:lnTo>
                  <a:pt x="5013" y="3717"/>
                </a:lnTo>
                <a:lnTo>
                  <a:pt x="5052" y="3739"/>
                </a:lnTo>
                <a:lnTo>
                  <a:pt x="5093" y="3763"/>
                </a:lnTo>
                <a:lnTo>
                  <a:pt x="5132" y="3788"/>
                </a:lnTo>
                <a:lnTo>
                  <a:pt x="5171" y="3814"/>
                </a:lnTo>
                <a:lnTo>
                  <a:pt x="5210" y="3842"/>
                </a:lnTo>
                <a:lnTo>
                  <a:pt x="5249" y="3870"/>
                </a:lnTo>
                <a:lnTo>
                  <a:pt x="5287" y="3900"/>
                </a:lnTo>
                <a:lnTo>
                  <a:pt x="5325" y="3931"/>
                </a:lnTo>
                <a:lnTo>
                  <a:pt x="5364" y="3963"/>
                </a:lnTo>
                <a:lnTo>
                  <a:pt x="5401" y="3997"/>
                </a:lnTo>
                <a:lnTo>
                  <a:pt x="5438" y="4031"/>
                </a:lnTo>
                <a:lnTo>
                  <a:pt x="5475" y="4067"/>
                </a:lnTo>
                <a:lnTo>
                  <a:pt x="5512" y="4104"/>
                </a:lnTo>
                <a:lnTo>
                  <a:pt x="5549" y="4142"/>
                </a:lnTo>
                <a:lnTo>
                  <a:pt x="5584" y="4181"/>
                </a:lnTo>
                <a:lnTo>
                  <a:pt x="5619" y="4220"/>
                </a:lnTo>
                <a:lnTo>
                  <a:pt x="5652" y="4260"/>
                </a:lnTo>
                <a:lnTo>
                  <a:pt x="5685" y="4300"/>
                </a:lnTo>
                <a:lnTo>
                  <a:pt x="5716" y="4339"/>
                </a:lnTo>
                <a:lnTo>
                  <a:pt x="5747" y="4379"/>
                </a:lnTo>
                <a:lnTo>
                  <a:pt x="5775" y="4420"/>
                </a:lnTo>
                <a:lnTo>
                  <a:pt x="5803" y="4460"/>
                </a:lnTo>
                <a:lnTo>
                  <a:pt x="5830" y="4502"/>
                </a:lnTo>
                <a:lnTo>
                  <a:pt x="5855" y="4543"/>
                </a:lnTo>
                <a:lnTo>
                  <a:pt x="5880" y="4585"/>
                </a:lnTo>
                <a:lnTo>
                  <a:pt x="5904" y="4626"/>
                </a:lnTo>
                <a:lnTo>
                  <a:pt x="5925" y="4667"/>
                </a:lnTo>
                <a:lnTo>
                  <a:pt x="5946" y="4710"/>
                </a:lnTo>
                <a:lnTo>
                  <a:pt x="5967" y="4752"/>
                </a:lnTo>
                <a:lnTo>
                  <a:pt x="5986" y="4795"/>
                </a:lnTo>
                <a:lnTo>
                  <a:pt x="6004" y="4838"/>
                </a:lnTo>
                <a:lnTo>
                  <a:pt x="6020" y="4880"/>
                </a:lnTo>
                <a:lnTo>
                  <a:pt x="6036" y="4924"/>
                </a:lnTo>
                <a:lnTo>
                  <a:pt x="6049" y="4967"/>
                </a:lnTo>
                <a:lnTo>
                  <a:pt x="6063" y="5011"/>
                </a:lnTo>
                <a:lnTo>
                  <a:pt x="6075" y="5055"/>
                </a:lnTo>
                <a:lnTo>
                  <a:pt x="6085" y="5100"/>
                </a:lnTo>
                <a:lnTo>
                  <a:pt x="6095" y="5144"/>
                </a:lnTo>
                <a:lnTo>
                  <a:pt x="6104" y="5189"/>
                </a:lnTo>
                <a:lnTo>
                  <a:pt x="6111" y="5234"/>
                </a:lnTo>
                <a:lnTo>
                  <a:pt x="6117" y="5280"/>
                </a:lnTo>
                <a:lnTo>
                  <a:pt x="6123" y="5324"/>
                </a:lnTo>
                <a:lnTo>
                  <a:pt x="6127" y="5370"/>
                </a:lnTo>
                <a:lnTo>
                  <a:pt x="6130" y="5417"/>
                </a:lnTo>
                <a:lnTo>
                  <a:pt x="6131" y="5463"/>
                </a:lnTo>
                <a:lnTo>
                  <a:pt x="6132" y="5509"/>
                </a:lnTo>
                <a:lnTo>
                  <a:pt x="6132" y="9605"/>
                </a:lnTo>
                <a:lnTo>
                  <a:pt x="6132" y="9643"/>
                </a:lnTo>
                <a:lnTo>
                  <a:pt x="6130" y="9682"/>
                </a:lnTo>
                <a:lnTo>
                  <a:pt x="6129" y="9719"/>
                </a:lnTo>
                <a:lnTo>
                  <a:pt x="6126" y="9756"/>
                </a:lnTo>
                <a:lnTo>
                  <a:pt x="6122" y="9793"/>
                </a:lnTo>
                <a:lnTo>
                  <a:pt x="6117" y="9829"/>
                </a:lnTo>
                <a:lnTo>
                  <a:pt x="6112" y="9866"/>
                </a:lnTo>
                <a:lnTo>
                  <a:pt x="6107" y="9901"/>
                </a:lnTo>
                <a:lnTo>
                  <a:pt x="6099" y="9937"/>
                </a:lnTo>
                <a:lnTo>
                  <a:pt x="6092" y="9972"/>
                </a:lnTo>
                <a:lnTo>
                  <a:pt x="6083" y="10007"/>
                </a:lnTo>
                <a:lnTo>
                  <a:pt x="6074" y="10041"/>
                </a:lnTo>
                <a:lnTo>
                  <a:pt x="6063" y="10075"/>
                </a:lnTo>
                <a:lnTo>
                  <a:pt x="6053" y="10109"/>
                </a:lnTo>
                <a:lnTo>
                  <a:pt x="6041" y="10142"/>
                </a:lnTo>
                <a:lnTo>
                  <a:pt x="6028" y="10175"/>
                </a:lnTo>
                <a:lnTo>
                  <a:pt x="6014" y="10208"/>
                </a:lnTo>
                <a:lnTo>
                  <a:pt x="6001" y="10241"/>
                </a:lnTo>
                <a:lnTo>
                  <a:pt x="5986" y="10273"/>
                </a:lnTo>
                <a:lnTo>
                  <a:pt x="5970" y="10305"/>
                </a:lnTo>
                <a:lnTo>
                  <a:pt x="5953" y="10335"/>
                </a:lnTo>
                <a:lnTo>
                  <a:pt x="5935" y="10366"/>
                </a:lnTo>
                <a:lnTo>
                  <a:pt x="5917" y="10397"/>
                </a:lnTo>
                <a:lnTo>
                  <a:pt x="5898" y="10428"/>
                </a:lnTo>
                <a:lnTo>
                  <a:pt x="5877" y="10458"/>
                </a:lnTo>
                <a:lnTo>
                  <a:pt x="5857" y="10487"/>
                </a:lnTo>
                <a:lnTo>
                  <a:pt x="5835" y="10517"/>
                </a:lnTo>
                <a:lnTo>
                  <a:pt x="5813" y="10546"/>
                </a:lnTo>
                <a:lnTo>
                  <a:pt x="5789" y="10575"/>
                </a:lnTo>
                <a:lnTo>
                  <a:pt x="5766" y="10603"/>
                </a:lnTo>
                <a:lnTo>
                  <a:pt x="5740" y="10632"/>
                </a:lnTo>
                <a:lnTo>
                  <a:pt x="5715" y="10660"/>
                </a:lnTo>
                <a:lnTo>
                  <a:pt x="5688" y="10687"/>
                </a:lnTo>
                <a:lnTo>
                  <a:pt x="5661" y="10714"/>
                </a:lnTo>
                <a:lnTo>
                  <a:pt x="5633" y="10739"/>
                </a:lnTo>
                <a:lnTo>
                  <a:pt x="5606" y="10765"/>
                </a:lnTo>
                <a:lnTo>
                  <a:pt x="5576" y="10790"/>
                </a:lnTo>
                <a:lnTo>
                  <a:pt x="5546" y="10814"/>
                </a:lnTo>
                <a:lnTo>
                  <a:pt x="5516" y="10838"/>
                </a:lnTo>
                <a:lnTo>
                  <a:pt x="5486" y="10860"/>
                </a:lnTo>
                <a:lnTo>
                  <a:pt x="5455" y="10883"/>
                </a:lnTo>
                <a:lnTo>
                  <a:pt x="5422" y="10905"/>
                </a:lnTo>
                <a:lnTo>
                  <a:pt x="5390" y="10925"/>
                </a:lnTo>
                <a:lnTo>
                  <a:pt x="5357" y="10947"/>
                </a:lnTo>
                <a:lnTo>
                  <a:pt x="5323" y="10966"/>
                </a:lnTo>
                <a:lnTo>
                  <a:pt x="5288" y="10985"/>
                </a:lnTo>
                <a:lnTo>
                  <a:pt x="5253" y="11004"/>
                </a:lnTo>
                <a:lnTo>
                  <a:pt x="5218" y="11022"/>
                </a:lnTo>
                <a:lnTo>
                  <a:pt x="5182" y="11039"/>
                </a:lnTo>
                <a:lnTo>
                  <a:pt x="5145" y="11056"/>
                </a:lnTo>
                <a:lnTo>
                  <a:pt x="5108" y="11072"/>
                </a:lnTo>
                <a:lnTo>
                  <a:pt x="5069" y="11087"/>
                </a:lnTo>
                <a:lnTo>
                  <a:pt x="5031" y="11102"/>
                </a:lnTo>
                <a:lnTo>
                  <a:pt x="4992" y="11117"/>
                </a:lnTo>
                <a:lnTo>
                  <a:pt x="4952" y="11130"/>
                </a:lnTo>
                <a:lnTo>
                  <a:pt x="4911" y="11143"/>
                </a:lnTo>
                <a:lnTo>
                  <a:pt x="4871" y="11155"/>
                </a:lnTo>
                <a:lnTo>
                  <a:pt x="4828" y="11167"/>
                </a:lnTo>
                <a:lnTo>
                  <a:pt x="4787" y="11178"/>
                </a:lnTo>
                <a:lnTo>
                  <a:pt x="4743" y="11189"/>
                </a:lnTo>
                <a:lnTo>
                  <a:pt x="4701" y="11199"/>
                </a:lnTo>
                <a:lnTo>
                  <a:pt x="4656" y="11208"/>
                </a:lnTo>
                <a:lnTo>
                  <a:pt x="4612" y="11217"/>
                </a:lnTo>
                <a:lnTo>
                  <a:pt x="4567" y="11225"/>
                </a:lnTo>
                <a:lnTo>
                  <a:pt x="4567" y="16980"/>
                </a:lnTo>
                <a:lnTo>
                  <a:pt x="1510" y="16980"/>
                </a:lnTo>
                <a:lnTo>
                  <a:pt x="1510" y="11225"/>
                </a:lnTo>
                <a:lnTo>
                  <a:pt x="1424" y="11201"/>
                </a:lnTo>
                <a:lnTo>
                  <a:pt x="1340" y="11175"/>
                </a:lnTo>
                <a:lnTo>
                  <a:pt x="1298" y="11161"/>
                </a:lnTo>
                <a:lnTo>
                  <a:pt x="1258" y="11148"/>
                </a:lnTo>
                <a:lnTo>
                  <a:pt x="1218" y="11134"/>
                </a:lnTo>
                <a:lnTo>
                  <a:pt x="1178" y="11120"/>
                </a:lnTo>
                <a:lnTo>
                  <a:pt x="1139" y="11105"/>
                </a:lnTo>
                <a:lnTo>
                  <a:pt x="1101" y="11089"/>
                </a:lnTo>
                <a:lnTo>
                  <a:pt x="1064" y="11074"/>
                </a:lnTo>
                <a:lnTo>
                  <a:pt x="1026" y="11058"/>
                </a:lnTo>
                <a:lnTo>
                  <a:pt x="990" y="11042"/>
                </a:lnTo>
                <a:lnTo>
                  <a:pt x="954" y="11025"/>
                </a:lnTo>
                <a:lnTo>
                  <a:pt x="918" y="11009"/>
                </a:lnTo>
                <a:lnTo>
                  <a:pt x="884" y="10991"/>
                </a:lnTo>
                <a:lnTo>
                  <a:pt x="849" y="10974"/>
                </a:lnTo>
                <a:lnTo>
                  <a:pt x="816" y="10956"/>
                </a:lnTo>
                <a:lnTo>
                  <a:pt x="782" y="10938"/>
                </a:lnTo>
                <a:lnTo>
                  <a:pt x="750" y="10920"/>
                </a:lnTo>
                <a:lnTo>
                  <a:pt x="719" y="10901"/>
                </a:lnTo>
                <a:lnTo>
                  <a:pt x="687" y="10882"/>
                </a:lnTo>
                <a:lnTo>
                  <a:pt x="656" y="10862"/>
                </a:lnTo>
                <a:lnTo>
                  <a:pt x="626" y="10841"/>
                </a:lnTo>
                <a:lnTo>
                  <a:pt x="596" y="10821"/>
                </a:lnTo>
                <a:lnTo>
                  <a:pt x="567" y="10801"/>
                </a:lnTo>
                <a:lnTo>
                  <a:pt x="539" y="10780"/>
                </a:lnTo>
                <a:lnTo>
                  <a:pt x="510" y="10758"/>
                </a:lnTo>
                <a:lnTo>
                  <a:pt x="484" y="10736"/>
                </a:lnTo>
                <a:lnTo>
                  <a:pt x="456" y="10714"/>
                </a:lnTo>
                <a:lnTo>
                  <a:pt x="431" y="10691"/>
                </a:lnTo>
                <a:lnTo>
                  <a:pt x="405" y="10668"/>
                </a:lnTo>
                <a:lnTo>
                  <a:pt x="380" y="10646"/>
                </a:lnTo>
                <a:lnTo>
                  <a:pt x="355" y="10622"/>
                </a:lnTo>
                <a:lnTo>
                  <a:pt x="332" y="10599"/>
                </a:lnTo>
                <a:lnTo>
                  <a:pt x="310" y="10576"/>
                </a:lnTo>
                <a:lnTo>
                  <a:pt x="289" y="10551"/>
                </a:lnTo>
                <a:lnTo>
                  <a:pt x="267" y="10528"/>
                </a:lnTo>
                <a:lnTo>
                  <a:pt x="247" y="10503"/>
                </a:lnTo>
                <a:lnTo>
                  <a:pt x="228" y="10480"/>
                </a:lnTo>
                <a:lnTo>
                  <a:pt x="209" y="10455"/>
                </a:lnTo>
                <a:lnTo>
                  <a:pt x="191" y="10431"/>
                </a:lnTo>
                <a:lnTo>
                  <a:pt x="174" y="10407"/>
                </a:lnTo>
                <a:lnTo>
                  <a:pt x="158" y="10382"/>
                </a:lnTo>
                <a:lnTo>
                  <a:pt x="142" y="10357"/>
                </a:lnTo>
                <a:lnTo>
                  <a:pt x="128" y="10332"/>
                </a:lnTo>
                <a:lnTo>
                  <a:pt x="114" y="10307"/>
                </a:lnTo>
                <a:lnTo>
                  <a:pt x="101" y="10281"/>
                </a:lnTo>
                <a:lnTo>
                  <a:pt x="89" y="10256"/>
                </a:lnTo>
                <a:lnTo>
                  <a:pt x="77" y="10230"/>
                </a:lnTo>
                <a:lnTo>
                  <a:pt x="67" y="10205"/>
                </a:lnTo>
                <a:lnTo>
                  <a:pt x="57" y="10179"/>
                </a:lnTo>
                <a:lnTo>
                  <a:pt x="48" y="10153"/>
                </a:lnTo>
                <a:lnTo>
                  <a:pt x="39" y="10127"/>
                </a:lnTo>
                <a:lnTo>
                  <a:pt x="32" y="10100"/>
                </a:lnTo>
                <a:lnTo>
                  <a:pt x="25" y="10074"/>
                </a:lnTo>
                <a:lnTo>
                  <a:pt x="19" y="10047"/>
                </a:lnTo>
                <a:lnTo>
                  <a:pt x="14" y="10021"/>
                </a:lnTo>
                <a:lnTo>
                  <a:pt x="9" y="9994"/>
                </a:lnTo>
                <a:lnTo>
                  <a:pt x="6" y="9967"/>
                </a:lnTo>
                <a:lnTo>
                  <a:pt x="3" y="9940"/>
                </a:lnTo>
                <a:lnTo>
                  <a:pt x="1" y="9912"/>
                </a:lnTo>
                <a:lnTo>
                  <a:pt x="0" y="9885"/>
                </a:lnTo>
                <a:lnTo>
                  <a:pt x="0" y="9857"/>
                </a:lnTo>
                <a:lnTo>
                  <a:pt x="0" y="5509"/>
                </a:lnTo>
                <a:lnTo>
                  <a:pt x="1" y="5453"/>
                </a:lnTo>
                <a:lnTo>
                  <a:pt x="2" y="5398"/>
                </a:lnTo>
                <a:lnTo>
                  <a:pt x="5" y="5342"/>
                </a:lnTo>
                <a:lnTo>
                  <a:pt x="9" y="5288"/>
                </a:lnTo>
                <a:lnTo>
                  <a:pt x="15" y="5235"/>
                </a:lnTo>
                <a:lnTo>
                  <a:pt x="21" y="5182"/>
                </a:lnTo>
                <a:lnTo>
                  <a:pt x="28" y="5130"/>
                </a:lnTo>
                <a:lnTo>
                  <a:pt x="37" y="5079"/>
                </a:lnTo>
                <a:lnTo>
                  <a:pt x="47" y="5028"/>
                </a:lnTo>
                <a:lnTo>
                  <a:pt x="57" y="4978"/>
                </a:lnTo>
                <a:lnTo>
                  <a:pt x="70" y="4929"/>
                </a:lnTo>
                <a:lnTo>
                  <a:pt x="83" y="4880"/>
                </a:lnTo>
                <a:lnTo>
                  <a:pt x="97" y="4832"/>
                </a:lnTo>
                <a:lnTo>
                  <a:pt x="112" y="4785"/>
                </a:lnTo>
                <a:lnTo>
                  <a:pt x="129" y="4739"/>
                </a:lnTo>
                <a:lnTo>
                  <a:pt x="147" y="4693"/>
                </a:lnTo>
                <a:lnTo>
                  <a:pt x="166" y="4648"/>
                </a:lnTo>
                <a:lnTo>
                  <a:pt x="187" y="4604"/>
                </a:lnTo>
                <a:lnTo>
                  <a:pt x="208" y="4560"/>
                </a:lnTo>
                <a:lnTo>
                  <a:pt x="230" y="4518"/>
                </a:lnTo>
                <a:lnTo>
                  <a:pt x="255" y="4476"/>
                </a:lnTo>
                <a:lnTo>
                  <a:pt x="279" y="4435"/>
                </a:lnTo>
                <a:lnTo>
                  <a:pt x="306" y="4393"/>
                </a:lnTo>
                <a:lnTo>
                  <a:pt x="332" y="4354"/>
                </a:lnTo>
                <a:lnTo>
                  <a:pt x="361" y="4315"/>
                </a:lnTo>
                <a:lnTo>
                  <a:pt x="391" y="4275"/>
                </a:lnTo>
                <a:lnTo>
                  <a:pt x="421" y="4238"/>
                </a:lnTo>
                <a:lnTo>
                  <a:pt x="453" y="4201"/>
                </a:lnTo>
                <a:lnTo>
                  <a:pt x="486" y="4165"/>
                </a:lnTo>
                <a:lnTo>
                  <a:pt x="520" y="4129"/>
                </a:lnTo>
                <a:lnTo>
                  <a:pt x="556" y="4093"/>
                </a:lnTo>
                <a:lnTo>
                  <a:pt x="592" y="4059"/>
                </a:lnTo>
                <a:lnTo>
                  <a:pt x="629" y="4025"/>
                </a:lnTo>
                <a:lnTo>
                  <a:pt x="668" y="3994"/>
                </a:lnTo>
                <a:lnTo>
                  <a:pt x="707" y="3963"/>
                </a:lnTo>
                <a:lnTo>
                  <a:pt x="747" y="3933"/>
                </a:lnTo>
                <a:lnTo>
                  <a:pt x="789" y="3904"/>
                </a:lnTo>
                <a:lnTo>
                  <a:pt x="830" y="3876"/>
                </a:lnTo>
                <a:lnTo>
                  <a:pt x="873" y="3849"/>
                </a:lnTo>
                <a:lnTo>
                  <a:pt x="916" y="3823"/>
                </a:lnTo>
                <a:lnTo>
                  <a:pt x="961" y="3799"/>
                </a:lnTo>
                <a:lnTo>
                  <a:pt x="1005" y="3775"/>
                </a:lnTo>
                <a:lnTo>
                  <a:pt x="1052" y="3752"/>
                </a:lnTo>
                <a:lnTo>
                  <a:pt x="1099" y="3731"/>
                </a:lnTo>
                <a:lnTo>
                  <a:pt x="1146" y="3711"/>
                </a:lnTo>
                <a:lnTo>
                  <a:pt x="1194" y="3691"/>
                </a:lnTo>
                <a:lnTo>
                  <a:pt x="1244" y="3672"/>
                </a:lnTo>
                <a:lnTo>
                  <a:pt x="1294" y="3655"/>
                </a:lnTo>
                <a:lnTo>
                  <a:pt x="1345" y="3640"/>
                </a:lnTo>
                <a:lnTo>
                  <a:pt x="1397" y="3624"/>
                </a:lnTo>
                <a:lnTo>
                  <a:pt x="1450" y="3610"/>
                </a:lnTo>
                <a:lnTo>
                  <a:pt x="1503" y="3597"/>
                </a:lnTo>
                <a:lnTo>
                  <a:pt x="1558" y="3584"/>
                </a:lnTo>
                <a:lnTo>
                  <a:pt x="1614" y="3574"/>
                </a:lnTo>
                <a:lnTo>
                  <a:pt x="1670" y="3564"/>
                </a:lnTo>
                <a:lnTo>
                  <a:pt x="1726" y="3554"/>
                </a:lnTo>
                <a:lnTo>
                  <a:pt x="1785" y="3547"/>
                </a:lnTo>
                <a:lnTo>
                  <a:pt x="1843" y="3540"/>
                </a:lnTo>
                <a:lnTo>
                  <a:pt x="1902" y="3534"/>
                </a:lnTo>
                <a:lnTo>
                  <a:pt x="1963" y="3530"/>
                </a:lnTo>
                <a:lnTo>
                  <a:pt x="2024" y="3526"/>
                </a:lnTo>
                <a:lnTo>
                  <a:pt x="2086" y="3524"/>
                </a:lnTo>
                <a:lnTo>
                  <a:pt x="2149" y="3522"/>
                </a:lnTo>
                <a:lnTo>
                  <a:pt x="2212" y="3522"/>
                </a:lnTo>
                <a:lnTo>
                  <a:pt x="2218" y="3517"/>
                </a:lnTo>
                <a:lnTo>
                  <a:pt x="2224" y="3514"/>
                </a:lnTo>
                <a:lnTo>
                  <a:pt x="2230" y="3513"/>
                </a:lnTo>
                <a:lnTo>
                  <a:pt x="2237" y="3512"/>
                </a:lnTo>
                <a:lnTo>
                  <a:pt x="2243" y="3512"/>
                </a:lnTo>
                <a:lnTo>
                  <a:pt x="2251" y="3512"/>
                </a:lnTo>
                <a:lnTo>
                  <a:pt x="2261" y="3512"/>
                </a:lnTo>
                <a:lnTo>
                  <a:pt x="2274" y="3512"/>
                </a:lnTo>
                <a:lnTo>
                  <a:pt x="2312" y="3514"/>
                </a:lnTo>
                <a:lnTo>
                  <a:pt x="2353" y="3516"/>
                </a:lnTo>
                <a:lnTo>
                  <a:pt x="2393" y="3517"/>
                </a:lnTo>
                <a:lnTo>
                  <a:pt x="2435" y="3519"/>
                </a:lnTo>
                <a:lnTo>
                  <a:pt x="2479" y="3520"/>
                </a:lnTo>
                <a:lnTo>
                  <a:pt x="2522" y="3520"/>
                </a:lnTo>
                <a:lnTo>
                  <a:pt x="2568" y="3522"/>
                </a:lnTo>
                <a:lnTo>
                  <a:pt x="2615" y="3522"/>
                </a:lnTo>
                <a:lnTo>
                  <a:pt x="2616" y="3516"/>
                </a:lnTo>
                <a:lnTo>
                  <a:pt x="2617" y="3511"/>
                </a:lnTo>
                <a:lnTo>
                  <a:pt x="2620" y="3505"/>
                </a:lnTo>
                <a:lnTo>
                  <a:pt x="2623" y="3498"/>
                </a:lnTo>
                <a:lnTo>
                  <a:pt x="2634" y="3483"/>
                </a:lnTo>
                <a:lnTo>
                  <a:pt x="2649" y="3466"/>
                </a:lnTo>
                <a:lnTo>
                  <a:pt x="2663" y="3450"/>
                </a:lnTo>
                <a:lnTo>
                  <a:pt x="2674" y="3439"/>
                </a:lnTo>
                <a:lnTo>
                  <a:pt x="2678" y="3434"/>
                </a:lnTo>
                <a:lnTo>
                  <a:pt x="2683" y="3431"/>
                </a:lnTo>
                <a:lnTo>
                  <a:pt x="2686" y="3430"/>
                </a:lnTo>
                <a:lnTo>
                  <a:pt x="2688" y="3429"/>
                </a:lnTo>
                <a:lnTo>
                  <a:pt x="2651" y="3417"/>
                </a:lnTo>
                <a:lnTo>
                  <a:pt x="2614" y="3406"/>
                </a:lnTo>
                <a:lnTo>
                  <a:pt x="2578" y="3393"/>
                </a:lnTo>
                <a:lnTo>
                  <a:pt x="2542" y="3380"/>
                </a:lnTo>
                <a:lnTo>
                  <a:pt x="2506" y="3366"/>
                </a:lnTo>
                <a:lnTo>
                  <a:pt x="2471" y="3351"/>
                </a:lnTo>
                <a:lnTo>
                  <a:pt x="2436" y="3337"/>
                </a:lnTo>
                <a:lnTo>
                  <a:pt x="2402" y="3322"/>
                </a:lnTo>
                <a:lnTo>
                  <a:pt x="2368" y="3306"/>
                </a:lnTo>
                <a:lnTo>
                  <a:pt x="2336" y="3289"/>
                </a:lnTo>
                <a:lnTo>
                  <a:pt x="2303" y="3272"/>
                </a:lnTo>
                <a:lnTo>
                  <a:pt x="2271" y="3255"/>
                </a:lnTo>
                <a:lnTo>
                  <a:pt x="2239" y="3237"/>
                </a:lnTo>
                <a:lnTo>
                  <a:pt x="2208" y="3218"/>
                </a:lnTo>
                <a:lnTo>
                  <a:pt x="2177" y="3198"/>
                </a:lnTo>
                <a:lnTo>
                  <a:pt x="2147" y="3178"/>
                </a:lnTo>
                <a:lnTo>
                  <a:pt x="2117" y="3158"/>
                </a:lnTo>
                <a:lnTo>
                  <a:pt x="2087" y="3137"/>
                </a:lnTo>
                <a:lnTo>
                  <a:pt x="2058" y="3115"/>
                </a:lnTo>
                <a:lnTo>
                  <a:pt x="2030" y="3093"/>
                </a:lnTo>
                <a:lnTo>
                  <a:pt x="2002" y="3071"/>
                </a:lnTo>
                <a:lnTo>
                  <a:pt x="1975" y="3047"/>
                </a:lnTo>
                <a:lnTo>
                  <a:pt x="1948" y="3024"/>
                </a:lnTo>
                <a:lnTo>
                  <a:pt x="1921" y="3000"/>
                </a:lnTo>
                <a:lnTo>
                  <a:pt x="1895" y="2975"/>
                </a:lnTo>
                <a:lnTo>
                  <a:pt x="1869" y="2950"/>
                </a:lnTo>
                <a:lnTo>
                  <a:pt x="1844" y="2924"/>
                </a:lnTo>
                <a:lnTo>
                  <a:pt x="1820" y="2898"/>
                </a:lnTo>
                <a:lnTo>
                  <a:pt x="1795" y="2871"/>
                </a:lnTo>
                <a:lnTo>
                  <a:pt x="1771" y="2843"/>
                </a:lnTo>
                <a:lnTo>
                  <a:pt x="1747" y="2816"/>
                </a:lnTo>
                <a:lnTo>
                  <a:pt x="1725" y="2787"/>
                </a:lnTo>
                <a:lnTo>
                  <a:pt x="1703" y="2757"/>
                </a:lnTo>
                <a:lnTo>
                  <a:pt x="1682" y="2729"/>
                </a:lnTo>
                <a:lnTo>
                  <a:pt x="1660" y="2699"/>
                </a:lnTo>
                <a:lnTo>
                  <a:pt x="1640" y="2669"/>
                </a:lnTo>
                <a:lnTo>
                  <a:pt x="1621" y="2638"/>
                </a:lnTo>
                <a:lnTo>
                  <a:pt x="1603" y="2608"/>
                </a:lnTo>
                <a:lnTo>
                  <a:pt x="1585" y="2578"/>
                </a:lnTo>
                <a:lnTo>
                  <a:pt x="1568" y="2547"/>
                </a:lnTo>
                <a:lnTo>
                  <a:pt x="1551" y="2516"/>
                </a:lnTo>
                <a:lnTo>
                  <a:pt x="1535" y="2484"/>
                </a:lnTo>
                <a:lnTo>
                  <a:pt x="1520" y="2452"/>
                </a:lnTo>
                <a:lnTo>
                  <a:pt x="1506" y="2420"/>
                </a:lnTo>
                <a:lnTo>
                  <a:pt x="1493" y="2388"/>
                </a:lnTo>
                <a:lnTo>
                  <a:pt x="1479" y="2356"/>
                </a:lnTo>
                <a:lnTo>
                  <a:pt x="1467" y="2324"/>
                </a:lnTo>
                <a:lnTo>
                  <a:pt x="1455" y="2291"/>
                </a:lnTo>
                <a:lnTo>
                  <a:pt x="1445" y="2258"/>
                </a:lnTo>
                <a:lnTo>
                  <a:pt x="1434" y="2225"/>
                </a:lnTo>
                <a:lnTo>
                  <a:pt x="1425" y="2191"/>
                </a:lnTo>
                <a:lnTo>
                  <a:pt x="1416" y="2157"/>
                </a:lnTo>
                <a:lnTo>
                  <a:pt x="1408" y="2123"/>
                </a:lnTo>
                <a:lnTo>
                  <a:pt x="1400" y="2089"/>
                </a:lnTo>
                <a:lnTo>
                  <a:pt x="1394" y="2054"/>
                </a:lnTo>
                <a:lnTo>
                  <a:pt x="1389" y="2018"/>
                </a:lnTo>
                <a:lnTo>
                  <a:pt x="1383" y="1983"/>
                </a:lnTo>
                <a:lnTo>
                  <a:pt x="1378" y="1948"/>
                </a:lnTo>
                <a:lnTo>
                  <a:pt x="1375" y="1912"/>
                </a:lnTo>
                <a:lnTo>
                  <a:pt x="1372" y="1876"/>
                </a:lnTo>
                <a:lnTo>
                  <a:pt x="1368" y="1840"/>
                </a:lnTo>
                <a:lnTo>
                  <a:pt x="1367" y="1804"/>
                </a:lnTo>
                <a:lnTo>
                  <a:pt x="1366" y="1767"/>
                </a:lnTo>
                <a:lnTo>
                  <a:pt x="1365" y="1729"/>
                </a:lnTo>
                <a:lnTo>
                  <a:pt x="1366" y="1686"/>
                </a:lnTo>
                <a:lnTo>
                  <a:pt x="1367" y="1641"/>
                </a:lnTo>
                <a:lnTo>
                  <a:pt x="1370" y="1598"/>
                </a:lnTo>
                <a:lnTo>
                  <a:pt x="1374" y="1555"/>
                </a:lnTo>
                <a:lnTo>
                  <a:pt x="1378" y="1511"/>
                </a:lnTo>
                <a:lnTo>
                  <a:pt x="1383" y="1469"/>
                </a:lnTo>
                <a:lnTo>
                  <a:pt x="1390" y="1427"/>
                </a:lnTo>
                <a:lnTo>
                  <a:pt x="1397" y="1386"/>
                </a:lnTo>
                <a:lnTo>
                  <a:pt x="1405" y="1345"/>
                </a:lnTo>
                <a:lnTo>
                  <a:pt x="1415" y="1304"/>
                </a:lnTo>
                <a:lnTo>
                  <a:pt x="1426" y="1264"/>
                </a:lnTo>
                <a:lnTo>
                  <a:pt x="1437" y="1223"/>
                </a:lnTo>
                <a:lnTo>
                  <a:pt x="1449" y="1184"/>
                </a:lnTo>
                <a:lnTo>
                  <a:pt x="1463" y="1145"/>
                </a:lnTo>
                <a:lnTo>
                  <a:pt x="1477" y="1106"/>
                </a:lnTo>
                <a:lnTo>
                  <a:pt x="1493" y="1068"/>
                </a:lnTo>
                <a:lnTo>
                  <a:pt x="1508" y="1030"/>
                </a:lnTo>
                <a:lnTo>
                  <a:pt x="1527" y="993"/>
                </a:lnTo>
                <a:lnTo>
                  <a:pt x="1545" y="955"/>
                </a:lnTo>
                <a:lnTo>
                  <a:pt x="1564" y="919"/>
                </a:lnTo>
                <a:lnTo>
                  <a:pt x="1585" y="883"/>
                </a:lnTo>
                <a:lnTo>
                  <a:pt x="1606" y="847"/>
                </a:lnTo>
                <a:lnTo>
                  <a:pt x="1628" y="811"/>
                </a:lnTo>
                <a:lnTo>
                  <a:pt x="1652" y="776"/>
                </a:lnTo>
                <a:lnTo>
                  <a:pt x="1676" y="742"/>
                </a:lnTo>
                <a:lnTo>
                  <a:pt x="1702" y="708"/>
                </a:lnTo>
                <a:lnTo>
                  <a:pt x="1728" y="674"/>
                </a:lnTo>
                <a:lnTo>
                  <a:pt x="1756" y="640"/>
                </a:lnTo>
                <a:lnTo>
                  <a:pt x="1783" y="607"/>
                </a:lnTo>
                <a:lnTo>
                  <a:pt x="1813" y="574"/>
                </a:lnTo>
                <a:lnTo>
                  <a:pt x="1844" y="542"/>
                </a:lnTo>
                <a:lnTo>
                  <a:pt x="1875" y="510"/>
                </a:lnTo>
                <a:lnTo>
                  <a:pt x="1907" y="478"/>
                </a:lnTo>
                <a:lnTo>
                  <a:pt x="1940" y="448"/>
                </a:lnTo>
                <a:lnTo>
                  <a:pt x="1971" y="419"/>
                </a:lnTo>
                <a:lnTo>
                  <a:pt x="2005" y="390"/>
                </a:lnTo>
                <a:lnTo>
                  <a:pt x="2038" y="362"/>
                </a:lnTo>
                <a:lnTo>
                  <a:pt x="2072" y="336"/>
                </a:lnTo>
                <a:lnTo>
                  <a:pt x="2106" y="311"/>
                </a:lnTo>
                <a:lnTo>
                  <a:pt x="2141" y="287"/>
                </a:lnTo>
                <a:lnTo>
                  <a:pt x="2176" y="263"/>
                </a:lnTo>
                <a:lnTo>
                  <a:pt x="2211" y="240"/>
                </a:lnTo>
                <a:lnTo>
                  <a:pt x="2247" y="219"/>
                </a:lnTo>
                <a:lnTo>
                  <a:pt x="2284" y="199"/>
                </a:lnTo>
                <a:lnTo>
                  <a:pt x="2320" y="179"/>
                </a:lnTo>
                <a:lnTo>
                  <a:pt x="2357" y="160"/>
                </a:lnTo>
                <a:lnTo>
                  <a:pt x="2395" y="143"/>
                </a:lnTo>
                <a:lnTo>
                  <a:pt x="2432" y="127"/>
                </a:lnTo>
                <a:lnTo>
                  <a:pt x="2470" y="111"/>
                </a:lnTo>
                <a:lnTo>
                  <a:pt x="2510" y="98"/>
                </a:lnTo>
                <a:lnTo>
                  <a:pt x="2549" y="84"/>
                </a:lnTo>
                <a:lnTo>
                  <a:pt x="2588" y="71"/>
                </a:lnTo>
                <a:lnTo>
                  <a:pt x="2628" y="60"/>
                </a:lnTo>
                <a:lnTo>
                  <a:pt x="2668" y="50"/>
                </a:lnTo>
                <a:lnTo>
                  <a:pt x="2709" y="40"/>
                </a:lnTo>
                <a:lnTo>
                  <a:pt x="2750" y="32"/>
                </a:lnTo>
                <a:lnTo>
                  <a:pt x="2791" y="24"/>
                </a:lnTo>
                <a:lnTo>
                  <a:pt x="2833" y="18"/>
                </a:lnTo>
                <a:lnTo>
                  <a:pt x="2876" y="13"/>
                </a:lnTo>
                <a:lnTo>
                  <a:pt x="2918" y="7"/>
                </a:lnTo>
                <a:lnTo>
                  <a:pt x="2962" y="4"/>
                </a:lnTo>
                <a:lnTo>
                  <a:pt x="3005" y="2"/>
                </a:lnTo>
                <a:lnTo>
                  <a:pt x="3049" y="1"/>
                </a:lnTo>
                <a:lnTo>
                  <a:pt x="3094" y="0"/>
                </a:lnTo>
                <a:lnTo>
                  <a:pt x="3138" y="1"/>
                </a:lnTo>
                <a:lnTo>
                  <a:pt x="3183" y="2"/>
                </a:lnTo>
                <a:lnTo>
                  <a:pt x="3226" y="4"/>
                </a:lnTo>
                <a:lnTo>
                  <a:pt x="3270" y="7"/>
                </a:lnTo>
                <a:lnTo>
                  <a:pt x="3312" y="13"/>
                </a:lnTo>
                <a:lnTo>
                  <a:pt x="3356" y="18"/>
                </a:lnTo>
                <a:lnTo>
                  <a:pt x="3397" y="24"/>
                </a:lnTo>
                <a:lnTo>
                  <a:pt x="3440" y="32"/>
                </a:lnTo>
                <a:lnTo>
                  <a:pt x="3481" y="40"/>
                </a:lnTo>
                <a:lnTo>
                  <a:pt x="3521" y="50"/>
                </a:lnTo>
                <a:lnTo>
                  <a:pt x="3563" y="60"/>
                </a:lnTo>
                <a:lnTo>
                  <a:pt x="3602" y="71"/>
                </a:lnTo>
                <a:lnTo>
                  <a:pt x="3643" y="84"/>
                </a:lnTo>
                <a:lnTo>
                  <a:pt x="3682" y="98"/>
                </a:lnTo>
                <a:lnTo>
                  <a:pt x="3721" y="111"/>
                </a:lnTo>
                <a:lnTo>
                  <a:pt x="3759" y="127"/>
                </a:lnTo>
                <a:lnTo>
                  <a:pt x="3798" y="143"/>
                </a:lnTo>
                <a:lnTo>
                  <a:pt x="3835" y="160"/>
                </a:lnTo>
                <a:lnTo>
                  <a:pt x="3873" y="179"/>
                </a:lnTo>
                <a:lnTo>
                  <a:pt x="3909" y="199"/>
                </a:lnTo>
                <a:lnTo>
                  <a:pt x="3946" y="219"/>
                </a:lnTo>
                <a:lnTo>
                  <a:pt x="3982" y="240"/>
                </a:lnTo>
                <a:lnTo>
                  <a:pt x="4017" y="263"/>
                </a:lnTo>
                <a:lnTo>
                  <a:pt x="4053" y="287"/>
                </a:lnTo>
                <a:lnTo>
                  <a:pt x="4088" y="311"/>
                </a:lnTo>
                <a:lnTo>
                  <a:pt x="4122" y="336"/>
                </a:lnTo>
                <a:lnTo>
                  <a:pt x="4156" y="362"/>
                </a:lnTo>
                <a:lnTo>
                  <a:pt x="4190" y="390"/>
                </a:lnTo>
                <a:lnTo>
                  <a:pt x="4223" y="419"/>
                </a:lnTo>
                <a:lnTo>
                  <a:pt x="4256" y="448"/>
                </a:lnTo>
                <a:lnTo>
                  <a:pt x="4289" y="478"/>
                </a:lnTo>
                <a:lnTo>
                  <a:pt x="4321" y="510"/>
                </a:lnTo>
                <a:lnTo>
                  <a:pt x="4353" y="542"/>
                </a:lnTo>
                <a:lnTo>
                  <a:pt x="4383" y="574"/>
                </a:lnTo>
                <a:lnTo>
                  <a:pt x="4412" y="607"/>
                </a:lnTo>
                <a:lnTo>
                  <a:pt x="4440" y="640"/>
                </a:lnTo>
                <a:lnTo>
                  <a:pt x="4467" y="674"/>
                </a:lnTo>
                <a:lnTo>
                  <a:pt x="4493" y="708"/>
                </a:lnTo>
                <a:lnTo>
                  <a:pt x="4518" y="742"/>
                </a:lnTo>
                <a:lnTo>
                  <a:pt x="4543" y="776"/>
                </a:lnTo>
                <a:lnTo>
                  <a:pt x="4566" y="811"/>
                </a:lnTo>
                <a:lnTo>
                  <a:pt x="4588" y="847"/>
                </a:lnTo>
                <a:lnTo>
                  <a:pt x="4610" y="883"/>
                </a:lnTo>
                <a:lnTo>
                  <a:pt x="4630" y="919"/>
                </a:lnTo>
                <a:lnTo>
                  <a:pt x="4649" y="955"/>
                </a:lnTo>
                <a:lnTo>
                  <a:pt x="4667" y="993"/>
                </a:lnTo>
                <a:lnTo>
                  <a:pt x="4685" y="1030"/>
                </a:lnTo>
                <a:lnTo>
                  <a:pt x="4701" y="1068"/>
                </a:lnTo>
                <a:lnTo>
                  <a:pt x="4716" y="1106"/>
                </a:lnTo>
                <a:lnTo>
                  <a:pt x="4731" y="1145"/>
                </a:lnTo>
                <a:lnTo>
                  <a:pt x="4745" y="1184"/>
                </a:lnTo>
                <a:lnTo>
                  <a:pt x="4756" y="1223"/>
                </a:lnTo>
                <a:lnTo>
                  <a:pt x="4768" y="1264"/>
                </a:lnTo>
                <a:lnTo>
                  <a:pt x="4779" y="1304"/>
                </a:lnTo>
                <a:lnTo>
                  <a:pt x="4788" y="1345"/>
                </a:lnTo>
                <a:lnTo>
                  <a:pt x="4797" y="1386"/>
                </a:lnTo>
                <a:lnTo>
                  <a:pt x="4803" y="1427"/>
                </a:lnTo>
                <a:lnTo>
                  <a:pt x="4810" y="1469"/>
                </a:lnTo>
                <a:lnTo>
                  <a:pt x="4816" y="1511"/>
                </a:lnTo>
                <a:lnTo>
                  <a:pt x="4820" y="1555"/>
                </a:lnTo>
                <a:lnTo>
                  <a:pt x="4823" y="1598"/>
                </a:lnTo>
                <a:lnTo>
                  <a:pt x="4825" y="1641"/>
                </a:lnTo>
                <a:lnTo>
                  <a:pt x="4827" y="1686"/>
                </a:lnTo>
                <a:lnTo>
                  <a:pt x="4827" y="1729"/>
                </a:lnTo>
                <a:lnTo>
                  <a:pt x="4827" y="1768"/>
                </a:lnTo>
                <a:lnTo>
                  <a:pt x="4826" y="1806"/>
                </a:lnTo>
                <a:lnTo>
                  <a:pt x="4824" y="1843"/>
                </a:lnTo>
                <a:lnTo>
                  <a:pt x="4822" y="1880"/>
                </a:lnTo>
                <a:lnTo>
                  <a:pt x="4818" y="1917"/>
                </a:lnTo>
                <a:lnTo>
                  <a:pt x="4814" y="1954"/>
                </a:lnTo>
                <a:lnTo>
                  <a:pt x="4808" y="1990"/>
                </a:lnTo>
                <a:lnTo>
                  <a:pt x="4803" y="2027"/>
                </a:lnTo>
                <a:lnTo>
                  <a:pt x="4797" y="2062"/>
                </a:lnTo>
                <a:lnTo>
                  <a:pt x="4789" y="2098"/>
                </a:lnTo>
                <a:lnTo>
                  <a:pt x="4781" y="2134"/>
                </a:lnTo>
                <a:lnTo>
                  <a:pt x="4772" y="2169"/>
                </a:lnTo>
                <a:lnTo>
                  <a:pt x="4763" y="2204"/>
                </a:lnTo>
                <a:lnTo>
                  <a:pt x="4752" y="2240"/>
                </a:lnTo>
                <a:lnTo>
                  <a:pt x="4740" y="2274"/>
                </a:lnTo>
                <a:lnTo>
                  <a:pt x="4729" y="2308"/>
                </a:lnTo>
                <a:lnTo>
                  <a:pt x="4716" y="2342"/>
                </a:lnTo>
                <a:lnTo>
                  <a:pt x="4702" y="2376"/>
                </a:lnTo>
                <a:lnTo>
                  <a:pt x="4688" y="2410"/>
                </a:lnTo>
                <a:lnTo>
                  <a:pt x="4673" y="2443"/>
                </a:lnTo>
                <a:lnTo>
                  <a:pt x="4657" y="2476"/>
                </a:lnTo>
                <a:lnTo>
                  <a:pt x="4641" y="2508"/>
                </a:lnTo>
                <a:lnTo>
                  <a:pt x="4624" y="2541"/>
                </a:lnTo>
                <a:lnTo>
                  <a:pt x="4605" y="2573"/>
                </a:lnTo>
                <a:lnTo>
                  <a:pt x="4586" y="2606"/>
                </a:lnTo>
                <a:lnTo>
                  <a:pt x="4566" y="2638"/>
                </a:lnTo>
                <a:lnTo>
                  <a:pt x="4546" y="2669"/>
                </a:lnTo>
                <a:lnTo>
                  <a:pt x="4525" y="2701"/>
                </a:lnTo>
                <a:lnTo>
                  <a:pt x="4502" y="2732"/>
                </a:lnTo>
                <a:lnTo>
                  <a:pt x="4480" y="2763"/>
                </a:lnTo>
                <a:lnTo>
                  <a:pt x="4456" y="2793"/>
                </a:lnTo>
                <a:lnTo>
                  <a:pt x="4431" y="2824"/>
                </a:lnTo>
                <a:lnTo>
                  <a:pt x="4407" y="2853"/>
                </a:lnTo>
                <a:lnTo>
                  <a:pt x="4381" y="2883"/>
                </a:lnTo>
                <a:lnTo>
                  <a:pt x="4356" y="2910"/>
                </a:lnTo>
                <a:lnTo>
                  <a:pt x="4329" y="2938"/>
                </a:lnTo>
                <a:lnTo>
                  <a:pt x="4303" y="2965"/>
                </a:lnTo>
                <a:lnTo>
                  <a:pt x="4276" y="2991"/>
                </a:lnTo>
                <a:lnTo>
                  <a:pt x="4249" y="3017"/>
                </a:lnTo>
                <a:lnTo>
                  <a:pt x="4220" y="3041"/>
                </a:lnTo>
                <a:lnTo>
                  <a:pt x="4192" y="3066"/>
                </a:lnTo>
                <a:lnTo>
                  <a:pt x="4164" y="3089"/>
                </a:lnTo>
                <a:lnTo>
                  <a:pt x="4134" y="3112"/>
                </a:lnTo>
                <a:lnTo>
                  <a:pt x="4105" y="3134"/>
                </a:lnTo>
                <a:lnTo>
                  <a:pt x="4075" y="3155"/>
                </a:lnTo>
                <a:lnTo>
                  <a:pt x="4045" y="3176"/>
                </a:lnTo>
                <a:lnTo>
                  <a:pt x="4014" y="3196"/>
                </a:lnTo>
                <a:lnTo>
                  <a:pt x="3982" y="3215"/>
                </a:lnTo>
                <a:lnTo>
                  <a:pt x="3950" y="3233"/>
                </a:lnTo>
                <a:lnTo>
                  <a:pt x="3919" y="3252"/>
                </a:lnTo>
                <a:lnTo>
                  <a:pt x="3887" y="3269"/>
                </a:lnTo>
                <a:lnTo>
                  <a:pt x="3854" y="3286"/>
                </a:lnTo>
                <a:lnTo>
                  <a:pt x="3820" y="3301"/>
                </a:lnTo>
                <a:lnTo>
                  <a:pt x="3786" y="3316"/>
                </a:lnTo>
                <a:lnTo>
                  <a:pt x="3752" y="3331"/>
                </a:lnTo>
                <a:lnTo>
                  <a:pt x="3718" y="3344"/>
                </a:lnTo>
                <a:lnTo>
                  <a:pt x="3683" y="3358"/>
                </a:lnTo>
                <a:lnTo>
                  <a:pt x="3647" y="3370"/>
                </a:lnTo>
                <a:lnTo>
                  <a:pt x="3611" y="3381"/>
                </a:lnTo>
                <a:lnTo>
                  <a:pt x="3575" y="3393"/>
                </a:lnTo>
                <a:lnTo>
                  <a:pt x="3538" y="3402"/>
                </a:lnTo>
                <a:lnTo>
                  <a:pt x="3500" y="3412"/>
                </a:lnTo>
                <a:lnTo>
                  <a:pt x="3463" y="3421"/>
                </a:lnTo>
                <a:lnTo>
                  <a:pt x="3425" y="3429"/>
                </a:lnTo>
                <a:lnTo>
                  <a:pt x="3438" y="3443"/>
                </a:lnTo>
                <a:lnTo>
                  <a:pt x="3449" y="3456"/>
                </a:lnTo>
                <a:lnTo>
                  <a:pt x="3459" y="3468"/>
                </a:lnTo>
                <a:lnTo>
                  <a:pt x="3466" y="3480"/>
                </a:lnTo>
                <a:lnTo>
                  <a:pt x="3473" y="3491"/>
                </a:lnTo>
                <a:lnTo>
                  <a:pt x="3477" y="3501"/>
                </a:lnTo>
                <a:lnTo>
                  <a:pt x="3479" y="3512"/>
                </a:lnTo>
                <a:lnTo>
                  <a:pt x="3480" y="3522"/>
                </a:lnTo>
                <a:close/>
              </a:path>
            </a:pathLst>
          </a:custGeom>
          <a:solidFill>
            <a:schemeClr val="bg1">
              <a:lumMod val="75000"/>
            </a:schemeClr>
          </a:solidFill>
          <a:ln w="9525">
            <a:noFill/>
            <a:round/>
            <a:headEnd/>
            <a:tailEnd/>
          </a:ln>
        </p:spPr>
        <p:txBody>
          <a:bodyPr/>
          <a:lstStyle>
            <a:defPPr>
              <a:defRPr lang="en-US"/>
            </a:defPPr>
            <a:lvl1pPr marL="0" algn="l" defTabSz="1018824" rtl="0" eaLnBrk="1" latinLnBrk="0" hangingPunct="1">
              <a:defRPr sz="2000" kern="1200">
                <a:solidFill>
                  <a:schemeClr val="tx1"/>
                </a:solidFill>
                <a:latin typeface="+mn-lt"/>
                <a:ea typeface="+mn-ea"/>
                <a:cs typeface="+mn-cs"/>
              </a:defRPr>
            </a:lvl1pPr>
            <a:lvl2pPr marL="509412" algn="l" defTabSz="1018824" rtl="0" eaLnBrk="1" latinLnBrk="0" hangingPunct="1">
              <a:defRPr sz="2000" kern="1200">
                <a:solidFill>
                  <a:schemeClr val="tx1"/>
                </a:solidFill>
                <a:latin typeface="+mn-lt"/>
                <a:ea typeface="+mn-ea"/>
                <a:cs typeface="+mn-cs"/>
              </a:defRPr>
            </a:lvl2pPr>
            <a:lvl3pPr marL="1018824" algn="l" defTabSz="1018824" rtl="0" eaLnBrk="1" latinLnBrk="0" hangingPunct="1">
              <a:defRPr sz="2000" kern="1200">
                <a:solidFill>
                  <a:schemeClr val="tx1"/>
                </a:solidFill>
                <a:latin typeface="+mn-lt"/>
                <a:ea typeface="+mn-ea"/>
                <a:cs typeface="+mn-cs"/>
              </a:defRPr>
            </a:lvl3pPr>
            <a:lvl4pPr marL="1528237" algn="l" defTabSz="1018824" rtl="0" eaLnBrk="1" latinLnBrk="0" hangingPunct="1">
              <a:defRPr sz="2000" kern="1200">
                <a:solidFill>
                  <a:schemeClr val="tx1"/>
                </a:solidFill>
                <a:latin typeface="+mn-lt"/>
                <a:ea typeface="+mn-ea"/>
                <a:cs typeface="+mn-cs"/>
              </a:defRPr>
            </a:lvl4pPr>
            <a:lvl5pPr marL="2037649" algn="l" defTabSz="1018824" rtl="0" eaLnBrk="1" latinLnBrk="0" hangingPunct="1">
              <a:defRPr sz="2000" kern="1200">
                <a:solidFill>
                  <a:schemeClr val="tx1"/>
                </a:solidFill>
                <a:latin typeface="+mn-lt"/>
                <a:ea typeface="+mn-ea"/>
                <a:cs typeface="+mn-cs"/>
              </a:defRPr>
            </a:lvl5pPr>
            <a:lvl6pPr marL="2547061" algn="l" defTabSz="1018824" rtl="0" eaLnBrk="1" latinLnBrk="0" hangingPunct="1">
              <a:defRPr sz="2000" kern="1200">
                <a:solidFill>
                  <a:schemeClr val="tx1"/>
                </a:solidFill>
                <a:latin typeface="+mn-lt"/>
                <a:ea typeface="+mn-ea"/>
                <a:cs typeface="+mn-cs"/>
              </a:defRPr>
            </a:lvl6pPr>
            <a:lvl7pPr marL="3056473" algn="l" defTabSz="1018824" rtl="0" eaLnBrk="1" latinLnBrk="0" hangingPunct="1">
              <a:defRPr sz="2000" kern="1200">
                <a:solidFill>
                  <a:schemeClr val="tx1"/>
                </a:solidFill>
                <a:latin typeface="+mn-lt"/>
                <a:ea typeface="+mn-ea"/>
                <a:cs typeface="+mn-cs"/>
              </a:defRPr>
            </a:lvl7pPr>
            <a:lvl8pPr marL="3565886" algn="l" defTabSz="1018824" rtl="0" eaLnBrk="1" latinLnBrk="0" hangingPunct="1">
              <a:defRPr sz="2000" kern="1200">
                <a:solidFill>
                  <a:schemeClr val="tx1"/>
                </a:solidFill>
                <a:latin typeface="+mn-lt"/>
                <a:ea typeface="+mn-ea"/>
                <a:cs typeface="+mn-cs"/>
              </a:defRPr>
            </a:lvl8pPr>
            <a:lvl9pPr marL="4075298" algn="l" defTabSz="1018824" rtl="0" eaLnBrk="1" latinLnBrk="0" hangingPunct="1">
              <a:defRPr sz="2000" kern="1200">
                <a:solidFill>
                  <a:schemeClr val="tx1"/>
                </a:solidFill>
                <a:latin typeface="+mn-lt"/>
                <a:ea typeface="+mn-ea"/>
                <a:cs typeface="+mn-cs"/>
              </a:defRPr>
            </a:lvl9pPr>
          </a:lstStyle>
          <a:p>
            <a:pPr marL="0" marR="0" lvl="0" indent="0" algn="l" defTabSz="1018824" rtl="0" eaLnBrk="1" fontAlgn="auto" latinLnBrk="0" hangingPunct="1">
              <a:lnSpc>
                <a:spcPct val="100000"/>
              </a:lnSpc>
              <a:spcBef>
                <a:spcPts val="0"/>
              </a:spcBef>
              <a:spcAft>
                <a:spcPts val="0"/>
              </a:spcAft>
              <a:buClrTx/>
              <a:buSzTx/>
              <a:buFontTx/>
              <a:buNone/>
              <a:tabLst/>
              <a:defRPr/>
            </a:pPr>
            <a:endParaRPr kumimoji="0" lang="en-GB" sz="1589"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 name="Freeform 21">
            <a:extLst>
              <a:ext uri="{FF2B5EF4-FFF2-40B4-BE49-F238E27FC236}">
                <a16:creationId xmlns:a16="http://schemas.microsoft.com/office/drawing/2014/main" id="{99E59342-B651-43C8-87F2-9C9B76051010}"/>
              </a:ext>
            </a:extLst>
          </p:cNvPr>
          <p:cNvSpPr>
            <a:spLocks/>
          </p:cNvSpPr>
          <p:nvPr/>
        </p:nvSpPr>
        <p:spPr bwMode="auto">
          <a:xfrm>
            <a:off x="6024186" y="2374602"/>
            <a:ext cx="197037" cy="470851"/>
          </a:xfrm>
          <a:custGeom>
            <a:avLst/>
            <a:gdLst>
              <a:gd name="T0" fmla="*/ 13344091 w 6132"/>
              <a:gd name="T1" fmla="*/ 10441401 h 16980"/>
              <a:gd name="T2" fmla="*/ 14439013 w 6132"/>
              <a:gd name="T3" fmla="*/ 10808942 h 16980"/>
              <a:gd name="T4" fmla="*/ 15478309 w 6132"/>
              <a:gd name="T5" fmla="*/ 11467619 h 16980"/>
              <a:gd name="T6" fmla="*/ 16450295 w 6132"/>
              <a:gd name="T7" fmla="*/ 12408541 h 16980"/>
              <a:gd name="T8" fmla="*/ 17214401 w 6132"/>
              <a:gd name="T9" fmla="*/ 13481773 h 16980"/>
              <a:gd name="T10" fmla="*/ 17709159 w 6132"/>
              <a:gd name="T11" fmla="*/ 14605004 h 16980"/>
              <a:gd name="T12" fmla="*/ 17937493 w 6132"/>
              <a:gd name="T13" fmla="*/ 15789994 h 16980"/>
              <a:gd name="T14" fmla="*/ 17922884 w 6132"/>
              <a:gd name="T15" fmla="*/ 28795453 h 16980"/>
              <a:gd name="T16" fmla="*/ 17720901 w 6132"/>
              <a:gd name="T17" fmla="*/ 29724608 h 16980"/>
              <a:gd name="T18" fmla="*/ 17322724 w 6132"/>
              <a:gd name="T19" fmla="*/ 30571448 h 16980"/>
              <a:gd name="T20" fmla="*/ 16731329 w 6132"/>
              <a:gd name="T21" fmla="*/ 31344758 h 16980"/>
              <a:gd name="T22" fmla="*/ 15970146 w 6132"/>
              <a:gd name="T23" fmla="*/ 32000508 h 16980"/>
              <a:gd name="T24" fmla="*/ 15062602 w 6132"/>
              <a:gd name="T25" fmla="*/ 32509198 h 16980"/>
              <a:gd name="T26" fmla="*/ 14014483 w 6132"/>
              <a:gd name="T27" fmla="*/ 32867899 h 16980"/>
              <a:gd name="T28" fmla="*/ 4168927 w 6132"/>
              <a:gd name="T29" fmla="*/ 32935519 h 16980"/>
              <a:gd name="T30" fmla="*/ 3003722 w 6132"/>
              <a:gd name="T31" fmla="*/ 32515054 h 16980"/>
              <a:gd name="T32" fmla="*/ 2104943 w 6132"/>
              <a:gd name="T33" fmla="*/ 32053432 h 16980"/>
              <a:gd name="T34" fmla="*/ 1334994 w 6132"/>
              <a:gd name="T35" fmla="*/ 31503585 h 16980"/>
              <a:gd name="T36" fmla="*/ 723146 w 6132"/>
              <a:gd name="T37" fmla="*/ 30883136 h 16980"/>
              <a:gd name="T38" fmla="*/ 295697 w 6132"/>
              <a:gd name="T39" fmla="*/ 30230369 h 16980"/>
              <a:gd name="T40" fmla="*/ 55622 w 6132"/>
              <a:gd name="T41" fmla="*/ 29542302 h 16980"/>
              <a:gd name="T42" fmla="*/ 2922 w 6132"/>
              <a:gd name="T43" fmla="*/ 16034064 h 16980"/>
              <a:gd name="T44" fmla="*/ 166867 w 6132"/>
              <a:gd name="T45" fmla="*/ 14637376 h 16980"/>
              <a:gd name="T46" fmla="*/ 608925 w 6132"/>
              <a:gd name="T47" fmla="*/ 13408297 h 16980"/>
              <a:gd name="T48" fmla="*/ 1326228 w 6132"/>
              <a:gd name="T49" fmla="*/ 12352689 h 16980"/>
              <a:gd name="T50" fmla="*/ 2309902 w 6132"/>
              <a:gd name="T51" fmla="*/ 11479386 h 16980"/>
              <a:gd name="T52" fmla="*/ 3495559 w 6132"/>
              <a:gd name="T53" fmla="*/ 10853081 h 16980"/>
              <a:gd name="T54" fmla="*/ 4889097 w 6132"/>
              <a:gd name="T55" fmla="*/ 10479630 h 16980"/>
              <a:gd name="T56" fmla="*/ 6475906 w 6132"/>
              <a:gd name="T57" fmla="*/ 10356104 h 16980"/>
              <a:gd name="T58" fmla="*/ 6768627 w 6132"/>
              <a:gd name="T59" fmla="*/ 10332625 h 16980"/>
              <a:gd name="T60" fmla="*/ 7661564 w 6132"/>
              <a:gd name="T61" fmla="*/ 10323786 h 16980"/>
              <a:gd name="T62" fmla="*/ 7863602 w 6132"/>
              <a:gd name="T63" fmla="*/ 10085627 h 16980"/>
              <a:gd name="T64" fmla="*/ 7032131 w 6132"/>
              <a:gd name="T65" fmla="*/ 9768029 h 16980"/>
              <a:gd name="T66" fmla="*/ 6197794 w 6132"/>
              <a:gd name="T67" fmla="*/ 9285801 h 16980"/>
              <a:gd name="T68" fmla="*/ 5471726 w 6132"/>
              <a:gd name="T69" fmla="*/ 8674191 h 16980"/>
              <a:gd name="T70" fmla="*/ 4859825 w 6132"/>
              <a:gd name="T71" fmla="*/ 7936181 h 16980"/>
              <a:gd name="T72" fmla="*/ 4409002 w 6132"/>
              <a:gd name="T73" fmla="*/ 7115803 h 16980"/>
              <a:gd name="T74" fmla="*/ 4122070 w 6132"/>
              <a:gd name="T75" fmla="*/ 6242499 h 16980"/>
              <a:gd name="T76" fmla="*/ 4002059 w 6132"/>
              <a:gd name="T77" fmla="*/ 5304506 h 16980"/>
              <a:gd name="T78" fmla="*/ 4069369 w 6132"/>
              <a:gd name="T79" fmla="*/ 4195974 h 16980"/>
              <a:gd name="T80" fmla="*/ 4370910 w 6132"/>
              <a:gd name="T81" fmla="*/ 3140364 h 16980"/>
              <a:gd name="T82" fmla="*/ 4906682 w 6132"/>
              <a:gd name="T83" fmla="*/ 2181765 h 16980"/>
              <a:gd name="T84" fmla="*/ 5679553 w 6132"/>
              <a:gd name="T85" fmla="*/ 1317301 h 16980"/>
              <a:gd name="T86" fmla="*/ 6578332 w 6132"/>
              <a:gd name="T87" fmla="*/ 643928 h 16980"/>
              <a:gd name="T88" fmla="*/ 7576670 w 6132"/>
              <a:gd name="T89" fmla="*/ 208768 h 16980"/>
              <a:gd name="T90" fmla="*/ 8671588 w 6132"/>
              <a:gd name="T91" fmla="*/ 11767 h 16980"/>
              <a:gd name="T92" fmla="*/ 9825105 w 6132"/>
              <a:gd name="T93" fmla="*/ 52924 h 16980"/>
              <a:gd name="T94" fmla="*/ 10893673 w 6132"/>
              <a:gd name="T95" fmla="*/ 326384 h 16980"/>
              <a:gd name="T96" fmla="*/ 11865659 w 6132"/>
              <a:gd name="T97" fmla="*/ 843912 h 16980"/>
              <a:gd name="T98" fmla="*/ 12743931 w 6132"/>
              <a:gd name="T99" fmla="*/ 1593689 h 16980"/>
              <a:gd name="T100" fmla="*/ 13431908 w 6132"/>
              <a:gd name="T101" fmla="*/ 2490525 h 16980"/>
              <a:gd name="T102" fmla="*/ 13891551 w 6132"/>
              <a:gd name="T103" fmla="*/ 3481443 h 16980"/>
              <a:gd name="T104" fmla="*/ 14111119 w 6132"/>
              <a:gd name="T105" fmla="*/ 4572353 h 16980"/>
              <a:gd name="T106" fmla="*/ 14105275 w 6132"/>
              <a:gd name="T107" fmla="*/ 5636746 h 16980"/>
              <a:gd name="T108" fmla="*/ 13912057 w 6132"/>
              <a:gd name="T109" fmla="*/ 6586506 h 16980"/>
              <a:gd name="T110" fmla="*/ 13537309 w 6132"/>
              <a:gd name="T111" fmla="*/ 7471577 h 16980"/>
              <a:gd name="T112" fmla="*/ 12972265 w 6132"/>
              <a:gd name="T113" fmla="*/ 8303722 h 16980"/>
              <a:gd name="T114" fmla="*/ 12272601 w 6132"/>
              <a:gd name="T115" fmla="*/ 9015324 h 16980"/>
              <a:gd name="T116" fmla="*/ 11473326 w 6132"/>
              <a:gd name="T117" fmla="*/ 9562188 h 16980"/>
              <a:gd name="T118" fmla="*/ 10571626 w 6132"/>
              <a:gd name="T119" fmla="*/ 9941550 h 16980"/>
              <a:gd name="T120" fmla="*/ 10147098 w 6132"/>
              <a:gd name="T121" fmla="*/ 10232633 h 1698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6132"/>
              <a:gd name="T184" fmla="*/ 0 h 16980"/>
              <a:gd name="T185" fmla="*/ 6132 w 6132"/>
              <a:gd name="T186" fmla="*/ 16980 h 16980"/>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6132" h="16980">
                <a:moveTo>
                  <a:pt x="3480" y="3522"/>
                </a:moveTo>
                <a:lnTo>
                  <a:pt x="4254" y="3522"/>
                </a:lnTo>
                <a:lnTo>
                  <a:pt x="4298" y="3522"/>
                </a:lnTo>
                <a:lnTo>
                  <a:pt x="4342" y="3524"/>
                </a:lnTo>
                <a:lnTo>
                  <a:pt x="4386" y="3527"/>
                </a:lnTo>
                <a:lnTo>
                  <a:pt x="4429" y="3531"/>
                </a:lnTo>
                <a:lnTo>
                  <a:pt x="4473" y="3536"/>
                </a:lnTo>
                <a:lnTo>
                  <a:pt x="4515" y="3543"/>
                </a:lnTo>
                <a:lnTo>
                  <a:pt x="4558" y="3551"/>
                </a:lnTo>
                <a:lnTo>
                  <a:pt x="4601" y="3560"/>
                </a:lnTo>
                <a:lnTo>
                  <a:pt x="4643" y="3570"/>
                </a:lnTo>
                <a:lnTo>
                  <a:pt x="4685" y="3582"/>
                </a:lnTo>
                <a:lnTo>
                  <a:pt x="4727" y="3595"/>
                </a:lnTo>
                <a:lnTo>
                  <a:pt x="4769" y="3609"/>
                </a:lnTo>
                <a:lnTo>
                  <a:pt x="4809" y="3624"/>
                </a:lnTo>
                <a:lnTo>
                  <a:pt x="4851" y="3640"/>
                </a:lnTo>
                <a:lnTo>
                  <a:pt x="4892" y="3658"/>
                </a:lnTo>
                <a:lnTo>
                  <a:pt x="4932" y="3676"/>
                </a:lnTo>
                <a:lnTo>
                  <a:pt x="4973" y="3696"/>
                </a:lnTo>
                <a:lnTo>
                  <a:pt x="5013" y="3717"/>
                </a:lnTo>
                <a:lnTo>
                  <a:pt x="5052" y="3739"/>
                </a:lnTo>
                <a:lnTo>
                  <a:pt x="5093" y="3763"/>
                </a:lnTo>
                <a:lnTo>
                  <a:pt x="5132" y="3788"/>
                </a:lnTo>
                <a:lnTo>
                  <a:pt x="5171" y="3814"/>
                </a:lnTo>
                <a:lnTo>
                  <a:pt x="5210" y="3842"/>
                </a:lnTo>
                <a:lnTo>
                  <a:pt x="5249" y="3870"/>
                </a:lnTo>
                <a:lnTo>
                  <a:pt x="5287" y="3900"/>
                </a:lnTo>
                <a:lnTo>
                  <a:pt x="5325" y="3931"/>
                </a:lnTo>
                <a:lnTo>
                  <a:pt x="5364" y="3963"/>
                </a:lnTo>
                <a:lnTo>
                  <a:pt x="5401" y="3997"/>
                </a:lnTo>
                <a:lnTo>
                  <a:pt x="5438" y="4031"/>
                </a:lnTo>
                <a:lnTo>
                  <a:pt x="5475" y="4067"/>
                </a:lnTo>
                <a:lnTo>
                  <a:pt x="5512" y="4104"/>
                </a:lnTo>
                <a:lnTo>
                  <a:pt x="5549" y="4142"/>
                </a:lnTo>
                <a:lnTo>
                  <a:pt x="5584" y="4181"/>
                </a:lnTo>
                <a:lnTo>
                  <a:pt x="5619" y="4220"/>
                </a:lnTo>
                <a:lnTo>
                  <a:pt x="5652" y="4260"/>
                </a:lnTo>
                <a:lnTo>
                  <a:pt x="5685" y="4300"/>
                </a:lnTo>
                <a:lnTo>
                  <a:pt x="5716" y="4339"/>
                </a:lnTo>
                <a:lnTo>
                  <a:pt x="5747" y="4379"/>
                </a:lnTo>
                <a:lnTo>
                  <a:pt x="5775" y="4420"/>
                </a:lnTo>
                <a:lnTo>
                  <a:pt x="5803" y="4460"/>
                </a:lnTo>
                <a:lnTo>
                  <a:pt x="5830" y="4502"/>
                </a:lnTo>
                <a:lnTo>
                  <a:pt x="5855" y="4543"/>
                </a:lnTo>
                <a:lnTo>
                  <a:pt x="5880" y="4585"/>
                </a:lnTo>
                <a:lnTo>
                  <a:pt x="5904" y="4626"/>
                </a:lnTo>
                <a:lnTo>
                  <a:pt x="5925" y="4667"/>
                </a:lnTo>
                <a:lnTo>
                  <a:pt x="5946" y="4710"/>
                </a:lnTo>
                <a:lnTo>
                  <a:pt x="5967" y="4752"/>
                </a:lnTo>
                <a:lnTo>
                  <a:pt x="5986" y="4795"/>
                </a:lnTo>
                <a:lnTo>
                  <a:pt x="6004" y="4838"/>
                </a:lnTo>
                <a:lnTo>
                  <a:pt x="6020" y="4880"/>
                </a:lnTo>
                <a:lnTo>
                  <a:pt x="6036" y="4924"/>
                </a:lnTo>
                <a:lnTo>
                  <a:pt x="6049" y="4967"/>
                </a:lnTo>
                <a:lnTo>
                  <a:pt x="6063" y="5011"/>
                </a:lnTo>
                <a:lnTo>
                  <a:pt x="6075" y="5055"/>
                </a:lnTo>
                <a:lnTo>
                  <a:pt x="6085" y="5100"/>
                </a:lnTo>
                <a:lnTo>
                  <a:pt x="6095" y="5144"/>
                </a:lnTo>
                <a:lnTo>
                  <a:pt x="6104" y="5189"/>
                </a:lnTo>
                <a:lnTo>
                  <a:pt x="6111" y="5234"/>
                </a:lnTo>
                <a:lnTo>
                  <a:pt x="6117" y="5280"/>
                </a:lnTo>
                <a:lnTo>
                  <a:pt x="6123" y="5324"/>
                </a:lnTo>
                <a:lnTo>
                  <a:pt x="6127" y="5370"/>
                </a:lnTo>
                <a:lnTo>
                  <a:pt x="6130" y="5417"/>
                </a:lnTo>
                <a:lnTo>
                  <a:pt x="6131" y="5463"/>
                </a:lnTo>
                <a:lnTo>
                  <a:pt x="6132" y="5509"/>
                </a:lnTo>
                <a:lnTo>
                  <a:pt x="6132" y="9605"/>
                </a:lnTo>
                <a:lnTo>
                  <a:pt x="6132" y="9643"/>
                </a:lnTo>
                <a:lnTo>
                  <a:pt x="6130" y="9682"/>
                </a:lnTo>
                <a:lnTo>
                  <a:pt x="6129" y="9719"/>
                </a:lnTo>
                <a:lnTo>
                  <a:pt x="6126" y="9756"/>
                </a:lnTo>
                <a:lnTo>
                  <a:pt x="6122" y="9793"/>
                </a:lnTo>
                <a:lnTo>
                  <a:pt x="6117" y="9829"/>
                </a:lnTo>
                <a:lnTo>
                  <a:pt x="6112" y="9866"/>
                </a:lnTo>
                <a:lnTo>
                  <a:pt x="6107" y="9901"/>
                </a:lnTo>
                <a:lnTo>
                  <a:pt x="6099" y="9937"/>
                </a:lnTo>
                <a:lnTo>
                  <a:pt x="6092" y="9972"/>
                </a:lnTo>
                <a:lnTo>
                  <a:pt x="6083" y="10007"/>
                </a:lnTo>
                <a:lnTo>
                  <a:pt x="6074" y="10041"/>
                </a:lnTo>
                <a:lnTo>
                  <a:pt x="6063" y="10075"/>
                </a:lnTo>
                <a:lnTo>
                  <a:pt x="6053" y="10109"/>
                </a:lnTo>
                <a:lnTo>
                  <a:pt x="6041" y="10142"/>
                </a:lnTo>
                <a:lnTo>
                  <a:pt x="6028" y="10175"/>
                </a:lnTo>
                <a:lnTo>
                  <a:pt x="6014" y="10208"/>
                </a:lnTo>
                <a:lnTo>
                  <a:pt x="6001" y="10241"/>
                </a:lnTo>
                <a:lnTo>
                  <a:pt x="5986" y="10273"/>
                </a:lnTo>
                <a:lnTo>
                  <a:pt x="5970" y="10305"/>
                </a:lnTo>
                <a:lnTo>
                  <a:pt x="5953" y="10335"/>
                </a:lnTo>
                <a:lnTo>
                  <a:pt x="5935" y="10366"/>
                </a:lnTo>
                <a:lnTo>
                  <a:pt x="5917" y="10397"/>
                </a:lnTo>
                <a:lnTo>
                  <a:pt x="5898" y="10428"/>
                </a:lnTo>
                <a:lnTo>
                  <a:pt x="5877" y="10458"/>
                </a:lnTo>
                <a:lnTo>
                  <a:pt x="5857" y="10487"/>
                </a:lnTo>
                <a:lnTo>
                  <a:pt x="5835" y="10517"/>
                </a:lnTo>
                <a:lnTo>
                  <a:pt x="5813" y="10546"/>
                </a:lnTo>
                <a:lnTo>
                  <a:pt x="5789" y="10575"/>
                </a:lnTo>
                <a:lnTo>
                  <a:pt x="5766" y="10603"/>
                </a:lnTo>
                <a:lnTo>
                  <a:pt x="5740" y="10632"/>
                </a:lnTo>
                <a:lnTo>
                  <a:pt x="5715" y="10660"/>
                </a:lnTo>
                <a:lnTo>
                  <a:pt x="5688" y="10687"/>
                </a:lnTo>
                <a:lnTo>
                  <a:pt x="5661" y="10714"/>
                </a:lnTo>
                <a:lnTo>
                  <a:pt x="5633" y="10739"/>
                </a:lnTo>
                <a:lnTo>
                  <a:pt x="5606" y="10765"/>
                </a:lnTo>
                <a:lnTo>
                  <a:pt x="5576" y="10790"/>
                </a:lnTo>
                <a:lnTo>
                  <a:pt x="5546" y="10814"/>
                </a:lnTo>
                <a:lnTo>
                  <a:pt x="5516" y="10838"/>
                </a:lnTo>
                <a:lnTo>
                  <a:pt x="5486" y="10860"/>
                </a:lnTo>
                <a:lnTo>
                  <a:pt x="5455" y="10883"/>
                </a:lnTo>
                <a:lnTo>
                  <a:pt x="5422" y="10905"/>
                </a:lnTo>
                <a:lnTo>
                  <a:pt x="5390" y="10925"/>
                </a:lnTo>
                <a:lnTo>
                  <a:pt x="5357" y="10947"/>
                </a:lnTo>
                <a:lnTo>
                  <a:pt x="5323" y="10966"/>
                </a:lnTo>
                <a:lnTo>
                  <a:pt x="5288" y="10985"/>
                </a:lnTo>
                <a:lnTo>
                  <a:pt x="5253" y="11004"/>
                </a:lnTo>
                <a:lnTo>
                  <a:pt x="5218" y="11022"/>
                </a:lnTo>
                <a:lnTo>
                  <a:pt x="5182" y="11039"/>
                </a:lnTo>
                <a:lnTo>
                  <a:pt x="5145" y="11056"/>
                </a:lnTo>
                <a:lnTo>
                  <a:pt x="5108" y="11072"/>
                </a:lnTo>
                <a:lnTo>
                  <a:pt x="5069" y="11087"/>
                </a:lnTo>
                <a:lnTo>
                  <a:pt x="5031" y="11102"/>
                </a:lnTo>
                <a:lnTo>
                  <a:pt x="4992" y="11117"/>
                </a:lnTo>
                <a:lnTo>
                  <a:pt x="4952" y="11130"/>
                </a:lnTo>
                <a:lnTo>
                  <a:pt x="4911" y="11143"/>
                </a:lnTo>
                <a:lnTo>
                  <a:pt x="4871" y="11155"/>
                </a:lnTo>
                <a:lnTo>
                  <a:pt x="4828" y="11167"/>
                </a:lnTo>
                <a:lnTo>
                  <a:pt x="4787" y="11178"/>
                </a:lnTo>
                <a:lnTo>
                  <a:pt x="4743" y="11189"/>
                </a:lnTo>
                <a:lnTo>
                  <a:pt x="4701" y="11199"/>
                </a:lnTo>
                <a:lnTo>
                  <a:pt x="4656" y="11208"/>
                </a:lnTo>
                <a:lnTo>
                  <a:pt x="4612" y="11217"/>
                </a:lnTo>
                <a:lnTo>
                  <a:pt x="4567" y="11225"/>
                </a:lnTo>
                <a:lnTo>
                  <a:pt x="4567" y="16980"/>
                </a:lnTo>
                <a:lnTo>
                  <a:pt x="1510" y="16980"/>
                </a:lnTo>
                <a:lnTo>
                  <a:pt x="1510" y="11225"/>
                </a:lnTo>
                <a:lnTo>
                  <a:pt x="1424" y="11201"/>
                </a:lnTo>
                <a:lnTo>
                  <a:pt x="1340" y="11175"/>
                </a:lnTo>
                <a:lnTo>
                  <a:pt x="1298" y="11161"/>
                </a:lnTo>
                <a:lnTo>
                  <a:pt x="1258" y="11148"/>
                </a:lnTo>
                <a:lnTo>
                  <a:pt x="1218" y="11134"/>
                </a:lnTo>
                <a:lnTo>
                  <a:pt x="1178" y="11120"/>
                </a:lnTo>
                <a:lnTo>
                  <a:pt x="1139" y="11105"/>
                </a:lnTo>
                <a:lnTo>
                  <a:pt x="1101" y="11089"/>
                </a:lnTo>
                <a:lnTo>
                  <a:pt x="1064" y="11074"/>
                </a:lnTo>
                <a:lnTo>
                  <a:pt x="1026" y="11058"/>
                </a:lnTo>
                <a:lnTo>
                  <a:pt x="990" y="11042"/>
                </a:lnTo>
                <a:lnTo>
                  <a:pt x="954" y="11025"/>
                </a:lnTo>
                <a:lnTo>
                  <a:pt x="918" y="11009"/>
                </a:lnTo>
                <a:lnTo>
                  <a:pt x="884" y="10991"/>
                </a:lnTo>
                <a:lnTo>
                  <a:pt x="849" y="10974"/>
                </a:lnTo>
                <a:lnTo>
                  <a:pt x="816" y="10956"/>
                </a:lnTo>
                <a:lnTo>
                  <a:pt x="782" y="10938"/>
                </a:lnTo>
                <a:lnTo>
                  <a:pt x="750" y="10920"/>
                </a:lnTo>
                <a:lnTo>
                  <a:pt x="719" y="10901"/>
                </a:lnTo>
                <a:lnTo>
                  <a:pt x="687" y="10882"/>
                </a:lnTo>
                <a:lnTo>
                  <a:pt x="656" y="10862"/>
                </a:lnTo>
                <a:lnTo>
                  <a:pt x="626" y="10841"/>
                </a:lnTo>
                <a:lnTo>
                  <a:pt x="596" y="10821"/>
                </a:lnTo>
                <a:lnTo>
                  <a:pt x="567" y="10801"/>
                </a:lnTo>
                <a:lnTo>
                  <a:pt x="539" y="10780"/>
                </a:lnTo>
                <a:lnTo>
                  <a:pt x="510" y="10758"/>
                </a:lnTo>
                <a:lnTo>
                  <a:pt x="484" y="10736"/>
                </a:lnTo>
                <a:lnTo>
                  <a:pt x="456" y="10714"/>
                </a:lnTo>
                <a:lnTo>
                  <a:pt x="431" y="10691"/>
                </a:lnTo>
                <a:lnTo>
                  <a:pt x="405" y="10668"/>
                </a:lnTo>
                <a:lnTo>
                  <a:pt x="380" y="10646"/>
                </a:lnTo>
                <a:lnTo>
                  <a:pt x="355" y="10622"/>
                </a:lnTo>
                <a:lnTo>
                  <a:pt x="332" y="10599"/>
                </a:lnTo>
                <a:lnTo>
                  <a:pt x="310" y="10576"/>
                </a:lnTo>
                <a:lnTo>
                  <a:pt x="289" y="10551"/>
                </a:lnTo>
                <a:lnTo>
                  <a:pt x="267" y="10528"/>
                </a:lnTo>
                <a:lnTo>
                  <a:pt x="247" y="10503"/>
                </a:lnTo>
                <a:lnTo>
                  <a:pt x="228" y="10480"/>
                </a:lnTo>
                <a:lnTo>
                  <a:pt x="209" y="10455"/>
                </a:lnTo>
                <a:lnTo>
                  <a:pt x="191" y="10431"/>
                </a:lnTo>
                <a:lnTo>
                  <a:pt x="174" y="10407"/>
                </a:lnTo>
                <a:lnTo>
                  <a:pt x="158" y="10382"/>
                </a:lnTo>
                <a:lnTo>
                  <a:pt x="142" y="10357"/>
                </a:lnTo>
                <a:lnTo>
                  <a:pt x="128" y="10332"/>
                </a:lnTo>
                <a:lnTo>
                  <a:pt x="114" y="10307"/>
                </a:lnTo>
                <a:lnTo>
                  <a:pt x="101" y="10281"/>
                </a:lnTo>
                <a:lnTo>
                  <a:pt x="89" y="10256"/>
                </a:lnTo>
                <a:lnTo>
                  <a:pt x="77" y="10230"/>
                </a:lnTo>
                <a:lnTo>
                  <a:pt x="67" y="10205"/>
                </a:lnTo>
                <a:lnTo>
                  <a:pt x="57" y="10179"/>
                </a:lnTo>
                <a:lnTo>
                  <a:pt x="48" y="10153"/>
                </a:lnTo>
                <a:lnTo>
                  <a:pt x="39" y="10127"/>
                </a:lnTo>
                <a:lnTo>
                  <a:pt x="32" y="10100"/>
                </a:lnTo>
                <a:lnTo>
                  <a:pt x="25" y="10074"/>
                </a:lnTo>
                <a:lnTo>
                  <a:pt x="19" y="10047"/>
                </a:lnTo>
                <a:lnTo>
                  <a:pt x="14" y="10021"/>
                </a:lnTo>
                <a:lnTo>
                  <a:pt x="9" y="9994"/>
                </a:lnTo>
                <a:lnTo>
                  <a:pt x="6" y="9967"/>
                </a:lnTo>
                <a:lnTo>
                  <a:pt x="3" y="9940"/>
                </a:lnTo>
                <a:lnTo>
                  <a:pt x="1" y="9912"/>
                </a:lnTo>
                <a:lnTo>
                  <a:pt x="0" y="9885"/>
                </a:lnTo>
                <a:lnTo>
                  <a:pt x="0" y="9857"/>
                </a:lnTo>
                <a:lnTo>
                  <a:pt x="0" y="5509"/>
                </a:lnTo>
                <a:lnTo>
                  <a:pt x="1" y="5453"/>
                </a:lnTo>
                <a:lnTo>
                  <a:pt x="2" y="5398"/>
                </a:lnTo>
                <a:lnTo>
                  <a:pt x="5" y="5342"/>
                </a:lnTo>
                <a:lnTo>
                  <a:pt x="9" y="5288"/>
                </a:lnTo>
                <a:lnTo>
                  <a:pt x="15" y="5235"/>
                </a:lnTo>
                <a:lnTo>
                  <a:pt x="21" y="5182"/>
                </a:lnTo>
                <a:lnTo>
                  <a:pt x="28" y="5130"/>
                </a:lnTo>
                <a:lnTo>
                  <a:pt x="37" y="5079"/>
                </a:lnTo>
                <a:lnTo>
                  <a:pt x="47" y="5028"/>
                </a:lnTo>
                <a:lnTo>
                  <a:pt x="57" y="4978"/>
                </a:lnTo>
                <a:lnTo>
                  <a:pt x="70" y="4929"/>
                </a:lnTo>
                <a:lnTo>
                  <a:pt x="83" y="4880"/>
                </a:lnTo>
                <a:lnTo>
                  <a:pt x="97" y="4832"/>
                </a:lnTo>
                <a:lnTo>
                  <a:pt x="112" y="4785"/>
                </a:lnTo>
                <a:lnTo>
                  <a:pt x="129" y="4739"/>
                </a:lnTo>
                <a:lnTo>
                  <a:pt x="147" y="4693"/>
                </a:lnTo>
                <a:lnTo>
                  <a:pt x="166" y="4648"/>
                </a:lnTo>
                <a:lnTo>
                  <a:pt x="187" y="4604"/>
                </a:lnTo>
                <a:lnTo>
                  <a:pt x="208" y="4560"/>
                </a:lnTo>
                <a:lnTo>
                  <a:pt x="230" y="4518"/>
                </a:lnTo>
                <a:lnTo>
                  <a:pt x="255" y="4476"/>
                </a:lnTo>
                <a:lnTo>
                  <a:pt x="279" y="4435"/>
                </a:lnTo>
                <a:lnTo>
                  <a:pt x="306" y="4393"/>
                </a:lnTo>
                <a:lnTo>
                  <a:pt x="332" y="4354"/>
                </a:lnTo>
                <a:lnTo>
                  <a:pt x="361" y="4315"/>
                </a:lnTo>
                <a:lnTo>
                  <a:pt x="391" y="4275"/>
                </a:lnTo>
                <a:lnTo>
                  <a:pt x="421" y="4238"/>
                </a:lnTo>
                <a:lnTo>
                  <a:pt x="453" y="4201"/>
                </a:lnTo>
                <a:lnTo>
                  <a:pt x="486" y="4165"/>
                </a:lnTo>
                <a:lnTo>
                  <a:pt x="520" y="4129"/>
                </a:lnTo>
                <a:lnTo>
                  <a:pt x="556" y="4093"/>
                </a:lnTo>
                <a:lnTo>
                  <a:pt x="592" y="4059"/>
                </a:lnTo>
                <a:lnTo>
                  <a:pt x="629" y="4025"/>
                </a:lnTo>
                <a:lnTo>
                  <a:pt x="668" y="3994"/>
                </a:lnTo>
                <a:lnTo>
                  <a:pt x="707" y="3963"/>
                </a:lnTo>
                <a:lnTo>
                  <a:pt x="747" y="3933"/>
                </a:lnTo>
                <a:lnTo>
                  <a:pt x="789" y="3904"/>
                </a:lnTo>
                <a:lnTo>
                  <a:pt x="830" y="3876"/>
                </a:lnTo>
                <a:lnTo>
                  <a:pt x="873" y="3849"/>
                </a:lnTo>
                <a:lnTo>
                  <a:pt x="916" y="3823"/>
                </a:lnTo>
                <a:lnTo>
                  <a:pt x="961" y="3799"/>
                </a:lnTo>
                <a:lnTo>
                  <a:pt x="1005" y="3775"/>
                </a:lnTo>
                <a:lnTo>
                  <a:pt x="1052" y="3752"/>
                </a:lnTo>
                <a:lnTo>
                  <a:pt x="1099" y="3731"/>
                </a:lnTo>
                <a:lnTo>
                  <a:pt x="1146" y="3711"/>
                </a:lnTo>
                <a:lnTo>
                  <a:pt x="1194" y="3691"/>
                </a:lnTo>
                <a:lnTo>
                  <a:pt x="1244" y="3672"/>
                </a:lnTo>
                <a:lnTo>
                  <a:pt x="1294" y="3655"/>
                </a:lnTo>
                <a:lnTo>
                  <a:pt x="1345" y="3640"/>
                </a:lnTo>
                <a:lnTo>
                  <a:pt x="1397" y="3624"/>
                </a:lnTo>
                <a:lnTo>
                  <a:pt x="1450" y="3610"/>
                </a:lnTo>
                <a:lnTo>
                  <a:pt x="1503" y="3597"/>
                </a:lnTo>
                <a:lnTo>
                  <a:pt x="1558" y="3584"/>
                </a:lnTo>
                <a:lnTo>
                  <a:pt x="1614" y="3574"/>
                </a:lnTo>
                <a:lnTo>
                  <a:pt x="1670" y="3564"/>
                </a:lnTo>
                <a:lnTo>
                  <a:pt x="1726" y="3554"/>
                </a:lnTo>
                <a:lnTo>
                  <a:pt x="1785" y="3547"/>
                </a:lnTo>
                <a:lnTo>
                  <a:pt x="1843" y="3540"/>
                </a:lnTo>
                <a:lnTo>
                  <a:pt x="1902" y="3534"/>
                </a:lnTo>
                <a:lnTo>
                  <a:pt x="1963" y="3530"/>
                </a:lnTo>
                <a:lnTo>
                  <a:pt x="2024" y="3526"/>
                </a:lnTo>
                <a:lnTo>
                  <a:pt x="2086" y="3524"/>
                </a:lnTo>
                <a:lnTo>
                  <a:pt x="2149" y="3522"/>
                </a:lnTo>
                <a:lnTo>
                  <a:pt x="2212" y="3522"/>
                </a:lnTo>
                <a:lnTo>
                  <a:pt x="2218" y="3517"/>
                </a:lnTo>
                <a:lnTo>
                  <a:pt x="2224" y="3514"/>
                </a:lnTo>
                <a:lnTo>
                  <a:pt x="2230" y="3513"/>
                </a:lnTo>
                <a:lnTo>
                  <a:pt x="2237" y="3512"/>
                </a:lnTo>
                <a:lnTo>
                  <a:pt x="2243" y="3512"/>
                </a:lnTo>
                <a:lnTo>
                  <a:pt x="2251" y="3512"/>
                </a:lnTo>
                <a:lnTo>
                  <a:pt x="2261" y="3512"/>
                </a:lnTo>
                <a:lnTo>
                  <a:pt x="2274" y="3512"/>
                </a:lnTo>
                <a:lnTo>
                  <a:pt x="2312" y="3514"/>
                </a:lnTo>
                <a:lnTo>
                  <a:pt x="2353" y="3516"/>
                </a:lnTo>
                <a:lnTo>
                  <a:pt x="2393" y="3517"/>
                </a:lnTo>
                <a:lnTo>
                  <a:pt x="2435" y="3519"/>
                </a:lnTo>
                <a:lnTo>
                  <a:pt x="2479" y="3520"/>
                </a:lnTo>
                <a:lnTo>
                  <a:pt x="2522" y="3520"/>
                </a:lnTo>
                <a:lnTo>
                  <a:pt x="2568" y="3522"/>
                </a:lnTo>
                <a:lnTo>
                  <a:pt x="2615" y="3522"/>
                </a:lnTo>
                <a:lnTo>
                  <a:pt x="2616" y="3516"/>
                </a:lnTo>
                <a:lnTo>
                  <a:pt x="2617" y="3511"/>
                </a:lnTo>
                <a:lnTo>
                  <a:pt x="2620" y="3505"/>
                </a:lnTo>
                <a:lnTo>
                  <a:pt x="2623" y="3498"/>
                </a:lnTo>
                <a:lnTo>
                  <a:pt x="2634" y="3483"/>
                </a:lnTo>
                <a:lnTo>
                  <a:pt x="2649" y="3466"/>
                </a:lnTo>
                <a:lnTo>
                  <a:pt x="2663" y="3450"/>
                </a:lnTo>
                <a:lnTo>
                  <a:pt x="2674" y="3439"/>
                </a:lnTo>
                <a:lnTo>
                  <a:pt x="2678" y="3434"/>
                </a:lnTo>
                <a:lnTo>
                  <a:pt x="2683" y="3431"/>
                </a:lnTo>
                <a:lnTo>
                  <a:pt x="2686" y="3430"/>
                </a:lnTo>
                <a:lnTo>
                  <a:pt x="2688" y="3429"/>
                </a:lnTo>
                <a:lnTo>
                  <a:pt x="2651" y="3417"/>
                </a:lnTo>
                <a:lnTo>
                  <a:pt x="2614" y="3406"/>
                </a:lnTo>
                <a:lnTo>
                  <a:pt x="2578" y="3393"/>
                </a:lnTo>
                <a:lnTo>
                  <a:pt x="2542" y="3380"/>
                </a:lnTo>
                <a:lnTo>
                  <a:pt x="2506" y="3366"/>
                </a:lnTo>
                <a:lnTo>
                  <a:pt x="2471" y="3351"/>
                </a:lnTo>
                <a:lnTo>
                  <a:pt x="2436" y="3337"/>
                </a:lnTo>
                <a:lnTo>
                  <a:pt x="2402" y="3322"/>
                </a:lnTo>
                <a:lnTo>
                  <a:pt x="2368" y="3306"/>
                </a:lnTo>
                <a:lnTo>
                  <a:pt x="2336" y="3289"/>
                </a:lnTo>
                <a:lnTo>
                  <a:pt x="2303" y="3272"/>
                </a:lnTo>
                <a:lnTo>
                  <a:pt x="2271" y="3255"/>
                </a:lnTo>
                <a:lnTo>
                  <a:pt x="2239" y="3237"/>
                </a:lnTo>
                <a:lnTo>
                  <a:pt x="2208" y="3218"/>
                </a:lnTo>
                <a:lnTo>
                  <a:pt x="2177" y="3198"/>
                </a:lnTo>
                <a:lnTo>
                  <a:pt x="2147" y="3178"/>
                </a:lnTo>
                <a:lnTo>
                  <a:pt x="2117" y="3158"/>
                </a:lnTo>
                <a:lnTo>
                  <a:pt x="2087" y="3137"/>
                </a:lnTo>
                <a:lnTo>
                  <a:pt x="2058" y="3115"/>
                </a:lnTo>
                <a:lnTo>
                  <a:pt x="2030" y="3093"/>
                </a:lnTo>
                <a:lnTo>
                  <a:pt x="2002" y="3071"/>
                </a:lnTo>
                <a:lnTo>
                  <a:pt x="1975" y="3047"/>
                </a:lnTo>
                <a:lnTo>
                  <a:pt x="1948" y="3024"/>
                </a:lnTo>
                <a:lnTo>
                  <a:pt x="1921" y="3000"/>
                </a:lnTo>
                <a:lnTo>
                  <a:pt x="1895" y="2975"/>
                </a:lnTo>
                <a:lnTo>
                  <a:pt x="1869" y="2950"/>
                </a:lnTo>
                <a:lnTo>
                  <a:pt x="1844" y="2924"/>
                </a:lnTo>
                <a:lnTo>
                  <a:pt x="1820" y="2898"/>
                </a:lnTo>
                <a:lnTo>
                  <a:pt x="1795" y="2871"/>
                </a:lnTo>
                <a:lnTo>
                  <a:pt x="1771" y="2843"/>
                </a:lnTo>
                <a:lnTo>
                  <a:pt x="1747" y="2816"/>
                </a:lnTo>
                <a:lnTo>
                  <a:pt x="1725" y="2787"/>
                </a:lnTo>
                <a:lnTo>
                  <a:pt x="1703" y="2757"/>
                </a:lnTo>
                <a:lnTo>
                  <a:pt x="1682" y="2729"/>
                </a:lnTo>
                <a:lnTo>
                  <a:pt x="1660" y="2699"/>
                </a:lnTo>
                <a:lnTo>
                  <a:pt x="1640" y="2669"/>
                </a:lnTo>
                <a:lnTo>
                  <a:pt x="1621" y="2638"/>
                </a:lnTo>
                <a:lnTo>
                  <a:pt x="1603" y="2608"/>
                </a:lnTo>
                <a:lnTo>
                  <a:pt x="1585" y="2578"/>
                </a:lnTo>
                <a:lnTo>
                  <a:pt x="1568" y="2547"/>
                </a:lnTo>
                <a:lnTo>
                  <a:pt x="1551" y="2516"/>
                </a:lnTo>
                <a:lnTo>
                  <a:pt x="1535" y="2484"/>
                </a:lnTo>
                <a:lnTo>
                  <a:pt x="1520" y="2452"/>
                </a:lnTo>
                <a:lnTo>
                  <a:pt x="1506" y="2420"/>
                </a:lnTo>
                <a:lnTo>
                  <a:pt x="1493" y="2388"/>
                </a:lnTo>
                <a:lnTo>
                  <a:pt x="1479" y="2356"/>
                </a:lnTo>
                <a:lnTo>
                  <a:pt x="1467" y="2324"/>
                </a:lnTo>
                <a:lnTo>
                  <a:pt x="1455" y="2291"/>
                </a:lnTo>
                <a:lnTo>
                  <a:pt x="1445" y="2258"/>
                </a:lnTo>
                <a:lnTo>
                  <a:pt x="1434" y="2225"/>
                </a:lnTo>
                <a:lnTo>
                  <a:pt x="1425" y="2191"/>
                </a:lnTo>
                <a:lnTo>
                  <a:pt x="1416" y="2157"/>
                </a:lnTo>
                <a:lnTo>
                  <a:pt x="1408" y="2123"/>
                </a:lnTo>
                <a:lnTo>
                  <a:pt x="1400" y="2089"/>
                </a:lnTo>
                <a:lnTo>
                  <a:pt x="1394" y="2054"/>
                </a:lnTo>
                <a:lnTo>
                  <a:pt x="1389" y="2018"/>
                </a:lnTo>
                <a:lnTo>
                  <a:pt x="1383" y="1983"/>
                </a:lnTo>
                <a:lnTo>
                  <a:pt x="1378" y="1948"/>
                </a:lnTo>
                <a:lnTo>
                  <a:pt x="1375" y="1912"/>
                </a:lnTo>
                <a:lnTo>
                  <a:pt x="1372" y="1876"/>
                </a:lnTo>
                <a:lnTo>
                  <a:pt x="1368" y="1840"/>
                </a:lnTo>
                <a:lnTo>
                  <a:pt x="1367" y="1804"/>
                </a:lnTo>
                <a:lnTo>
                  <a:pt x="1366" y="1767"/>
                </a:lnTo>
                <a:lnTo>
                  <a:pt x="1365" y="1729"/>
                </a:lnTo>
                <a:lnTo>
                  <a:pt x="1366" y="1686"/>
                </a:lnTo>
                <a:lnTo>
                  <a:pt x="1367" y="1641"/>
                </a:lnTo>
                <a:lnTo>
                  <a:pt x="1370" y="1598"/>
                </a:lnTo>
                <a:lnTo>
                  <a:pt x="1374" y="1555"/>
                </a:lnTo>
                <a:lnTo>
                  <a:pt x="1378" y="1511"/>
                </a:lnTo>
                <a:lnTo>
                  <a:pt x="1383" y="1469"/>
                </a:lnTo>
                <a:lnTo>
                  <a:pt x="1390" y="1427"/>
                </a:lnTo>
                <a:lnTo>
                  <a:pt x="1397" y="1386"/>
                </a:lnTo>
                <a:lnTo>
                  <a:pt x="1405" y="1345"/>
                </a:lnTo>
                <a:lnTo>
                  <a:pt x="1415" y="1304"/>
                </a:lnTo>
                <a:lnTo>
                  <a:pt x="1426" y="1264"/>
                </a:lnTo>
                <a:lnTo>
                  <a:pt x="1437" y="1223"/>
                </a:lnTo>
                <a:lnTo>
                  <a:pt x="1449" y="1184"/>
                </a:lnTo>
                <a:lnTo>
                  <a:pt x="1463" y="1145"/>
                </a:lnTo>
                <a:lnTo>
                  <a:pt x="1477" y="1106"/>
                </a:lnTo>
                <a:lnTo>
                  <a:pt x="1493" y="1068"/>
                </a:lnTo>
                <a:lnTo>
                  <a:pt x="1508" y="1030"/>
                </a:lnTo>
                <a:lnTo>
                  <a:pt x="1527" y="993"/>
                </a:lnTo>
                <a:lnTo>
                  <a:pt x="1545" y="955"/>
                </a:lnTo>
                <a:lnTo>
                  <a:pt x="1564" y="919"/>
                </a:lnTo>
                <a:lnTo>
                  <a:pt x="1585" y="883"/>
                </a:lnTo>
                <a:lnTo>
                  <a:pt x="1606" y="847"/>
                </a:lnTo>
                <a:lnTo>
                  <a:pt x="1628" y="811"/>
                </a:lnTo>
                <a:lnTo>
                  <a:pt x="1652" y="776"/>
                </a:lnTo>
                <a:lnTo>
                  <a:pt x="1676" y="742"/>
                </a:lnTo>
                <a:lnTo>
                  <a:pt x="1702" y="708"/>
                </a:lnTo>
                <a:lnTo>
                  <a:pt x="1728" y="674"/>
                </a:lnTo>
                <a:lnTo>
                  <a:pt x="1756" y="640"/>
                </a:lnTo>
                <a:lnTo>
                  <a:pt x="1783" y="607"/>
                </a:lnTo>
                <a:lnTo>
                  <a:pt x="1813" y="574"/>
                </a:lnTo>
                <a:lnTo>
                  <a:pt x="1844" y="542"/>
                </a:lnTo>
                <a:lnTo>
                  <a:pt x="1875" y="510"/>
                </a:lnTo>
                <a:lnTo>
                  <a:pt x="1907" y="478"/>
                </a:lnTo>
                <a:lnTo>
                  <a:pt x="1940" y="448"/>
                </a:lnTo>
                <a:lnTo>
                  <a:pt x="1971" y="419"/>
                </a:lnTo>
                <a:lnTo>
                  <a:pt x="2005" y="390"/>
                </a:lnTo>
                <a:lnTo>
                  <a:pt x="2038" y="362"/>
                </a:lnTo>
                <a:lnTo>
                  <a:pt x="2072" y="336"/>
                </a:lnTo>
                <a:lnTo>
                  <a:pt x="2106" y="311"/>
                </a:lnTo>
                <a:lnTo>
                  <a:pt x="2141" y="287"/>
                </a:lnTo>
                <a:lnTo>
                  <a:pt x="2176" y="263"/>
                </a:lnTo>
                <a:lnTo>
                  <a:pt x="2211" y="240"/>
                </a:lnTo>
                <a:lnTo>
                  <a:pt x="2247" y="219"/>
                </a:lnTo>
                <a:lnTo>
                  <a:pt x="2284" y="199"/>
                </a:lnTo>
                <a:lnTo>
                  <a:pt x="2320" y="179"/>
                </a:lnTo>
                <a:lnTo>
                  <a:pt x="2357" y="160"/>
                </a:lnTo>
                <a:lnTo>
                  <a:pt x="2395" y="143"/>
                </a:lnTo>
                <a:lnTo>
                  <a:pt x="2432" y="127"/>
                </a:lnTo>
                <a:lnTo>
                  <a:pt x="2470" y="111"/>
                </a:lnTo>
                <a:lnTo>
                  <a:pt x="2510" y="98"/>
                </a:lnTo>
                <a:lnTo>
                  <a:pt x="2549" y="84"/>
                </a:lnTo>
                <a:lnTo>
                  <a:pt x="2588" y="71"/>
                </a:lnTo>
                <a:lnTo>
                  <a:pt x="2628" y="60"/>
                </a:lnTo>
                <a:lnTo>
                  <a:pt x="2668" y="50"/>
                </a:lnTo>
                <a:lnTo>
                  <a:pt x="2709" y="40"/>
                </a:lnTo>
                <a:lnTo>
                  <a:pt x="2750" y="32"/>
                </a:lnTo>
                <a:lnTo>
                  <a:pt x="2791" y="24"/>
                </a:lnTo>
                <a:lnTo>
                  <a:pt x="2833" y="18"/>
                </a:lnTo>
                <a:lnTo>
                  <a:pt x="2876" y="13"/>
                </a:lnTo>
                <a:lnTo>
                  <a:pt x="2918" y="7"/>
                </a:lnTo>
                <a:lnTo>
                  <a:pt x="2962" y="4"/>
                </a:lnTo>
                <a:lnTo>
                  <a:pt x="3005" y="2"/>
                </a:lnTo>
                <a:lnTo>
                  <a:pt x="3049" y="1"/>
                </a:lnTo>
                <a:lnTo>
                  <a:pt x="3094" y="0"/>
                </a:lnTo>
                <a:lnTo>
                  <a:pt x="3138" y="1"/>
                </a:lnTo>
                <a:lnTo>
                  <a:pt x="3183" y="2"/>
                </a:lnTo>
                <a:lnTo>
                  <a:pt x="3226" y="4"/>
                </a:lnTo>
                <a:lnTo>
                  <a:pt x="3270" y="7"/>
                </a:lnTo>
                <a:lnTo>
                  <a:pt x="3312" y="13"/>
                </a:lnTo>
                <a:lnTo>
                  <a:pt x="3356" y="18"/>
                </a:lnTo>
                <a:lnTo>
                  <a:pt x="3397" y="24"/>
                </a:lnTo>
                <a:lnTo>
                  <a:pt x="3440" y="32"/>
                </a:lnTo>
                <a:lnTo>
                  <a:pt x="3481" y="40"/>
                </a:lnTo>
                <a:lnTo>
                  <a:pt x="3521" y="50"/>
                </a:lnTo>
                <a:lnTo>
                  <a:pt x="3563" y="60"/>
                </a:lnTo>
                <a:lnTo>
                  <a:pt x="3602" y="71"/>
                </a:lnTo>
                <a:lnTo>
                  <a:pt x="3643" y="84"/>
                </a:lnTo>
                <a:lnTo>
                  <a:pt x="3682" y="98"/>
                </a:lnTo>
                <a:lnTo>
                  <a:pt x="3721" y="111"/>
                </a:lnTo>
                <a:lnTo>
                  <a:pt x="3759" y="127"/>
                </a:lnTo>
                <a:lnTo>
                  <a:pt x="3798" y="143"/>
                </a:lnTo>
                <a:lnTo>
                  <a:pt x="3835" y="160"/>
                </a:lnTo>
                <a:lnTo>
                  <a:pt x="3873" y="179"/>
                </a:lnTo>
                <a:lnTo>
                  <a:pt x="3909" y="199"/>
                </a:lnTo>
                <a:lnTo>
                  <a:pt x="3946" y="219"/>
                </a:lnTo>
                <a:lnTo>
                  <a:pt x="3982" y="240"/>
                </a:lnTo>
                <a:lnTo>
                  <a:pt x="4017" y="263"/>
                </a:lnTo>
                <a:lnTo>
                  <a:pt x="4053" y="287"/>
                </a:lnTo>
                <a:lnTo>
                  <a:pt x="4088" y="311"/>
                </a:lnTo>
                <a:lnTo>
                  <a:pt x="4122" y="336"/>
                </a:lnTo>
                <a:lnTo>
                  <a:pt x="4156" y="362"/>
                </a:lnTo>
                <a:lnTo>
                  <a:pt x="4190" y="390"/>
                </a:lnTo>
                <a:lnTo>
                  <a:pt x="4223" y="419"/>
                </a:lnTo>
                <a:lnTo>
                  <a:pt x="4256" y="448"/>
                </a:lnTo>
                <a:lnTo>
                  <a:pt x="4289" y="478"/>
                </a:lnTo>
                <a:lnTo>
                  <a:pt x="4321" y="510"/>
                </a:lnTo>
                <a:lnTo>
                  <a:pt x="4353" y="542"/>
                </a:lnTo>
                <a:lnTo>
                  <a:pt x="4383" y="574"/>
                </a:lnTo>
                <a:lnTo>
                  <a:pt x="4412" y="607"/>
                </a:lnTo>
                <a:lnTo>
                  <a:pt x="4440" y="640"/>
                </a:lnTo>
                <a:lnTo>
                  <a:pt x="4467" y="674"/>
                </a:lnTo>
                <a:lnTo>
                  <a:pt x="4493" y="708"/>
                </a:lnTo>
                <a:lnTo>
                  <a:pt x="4518" y="742"/>
                </a:lnTo>
                <a:lnTo>
                  <a:pt x="4543" y="776"/>
                </a:lnTo>
                <a:lnTo>
                  <a:pt x="4566" y="811"/>
                </a:lnTo>
                <a:lnTo>
                  <a:pt x="4588" y="847"/>
                </a:lnTo>
                <a:lnTo>
                  <a:pt x="4610" y="883"/>
                </a:lnTo>
                <a:lnTo>
                  <a:pt x="4630" y="919"/>
                </a:lnTo>
                <a:lnTo>
                  <a:pt x="4649" y="955"/>
                </a:lnTo>
                <a:lnTo>
                  <a:pt x="4667" y="993"/>
                </a:lnTo>
                <a:lnTo>
                  <a:pt x="4685" y="1030"/>
                </a:lnTo>
                <a:lnTo>
                  <a:pt x="4701" y="1068"/>
                </a:lnTo>
                <a:lnTo>
                  <a:pt x="4716" y="1106"/>
                </a:lnTo>
                <a:lnTo>
                  <a:pt x="4731" y="1145"/>
                </a:lnTo>
                <a:lnTo>
                  <a:pt x="4745" y="1184"/>
                </a:lnTo>
                <a:lnTo>
                  <a:pt x="4756" y="1223"/>
                </a:lnTo>
                <a:lnTo>
                  <a:pt x="4768" y="1264"/>
                </a:lnTo>
                <a:lnTo>
                  <a:pt x="4779" y="1304"/>
                </a:lnTo>
                <a:lnTo>
                  <a:pt x="4788" y="1345"/>
                </a:lnTo>
                <a:lnTo>
                  <a:pt x="4797" y="1386"/>
                </a:lnTo>
                <a:lnTo>
                  <a:pt x="4803" y="1427"/>
                </a:lnTo>
                <a:lnTo>
                  <a:pt x="4810" y="1469"/>
                </a:lnTo>
                <a:lnTo>
                  <a:pt x="4816" y="1511"/>
                </a:lnTo>
                <a:lnTo>
                  <a:pt x="4820" y="1555"/>
                </a:lnTo>
                <a:lnTo>
                  <a:pt x="4823" y="1598"/>
                </a:lnTo>
                <a:lnTo>
                  <a:pt x="4825" y="1641"/>
                </a:lnTo>
                <a:lnTo>
                  <a:pt x="4827" y="1686"/>
                </a:lnTo>
                <a:lnTo>
                  <a:pt x="4827" y="1729"/>
                </a:lnTo>
                <a:lnTo>
                  <a:pt x="4827" y="1768"/>
                </a:lnTo>
                <a:lnTo>
                  <a:pt x="4826" y="1806"/>
                </a:lnTo>
                <a:lnTo>
                  <a:pt x="4824" y="1843"/>
                </a:lnTo>
                <a:lnTo>
                  <a:pt x="4822" y="1880"/>
                </a:lnTo>
                <a:lnTo>
                  <a:pt x="4818" y="1917"/>
                </a:lnTo>
                <a:lnTo>
                  <a:pt x="4814" y="1954"/>
                </a:lnTo>
                <a:lnTo>
                  <a:pt x="4808" y="1990"/>
                </a:lnTo>
                <a:lnTo>
                  <a:pt x="4803" y="2027"/>
                </a:lnTo>
                <a:lnTo>
                  <a:pt x="4797" y="2062"/>
                </a:lnTo>
                <a:lnTo>
                  <a:pt x="4789" y="2098"/>
                </a:lnTo>
                <a:lnTo>
                  <a:pt x="4781" y="2134"/>
                </a:lnTo>
                <a:lnTo>
                  <a:pt x="4772" y="2169"/>
                </a:lnTo>
                <a:lnTo>
                  <a:pt x="4763" y="2204"/>
                </a:lnTo>
                <a:lnTo>
                  <a:pt x="4752" y="2240"/>
                </a:lnTo>
                <a:lnTo>
                  <a:pt x="4740" y="2274"/>
                </a:lnTo>
                <a:lnTo>
                  <a:pt x="4729" y="2308"/>
                </a:lnTo>
                <a:lnTo>
                  <a:pt x="4716" y="2342"/>
                </a:lnTo>
                <a:lnTo>
                  <a:pt x="4702" y="2376"/>
                </a:lnTo>
                <a:lnTo>
                  <a:pt x="4688" y="2410"/>
                </a:lnTo>
                <a:lnTo>
                  <a:pt x="4673" y="2443"/>
                </a:lnTo>
                <a:lnTo>
                  <a:pt x="4657" y="2476"/>
                </a:lnTo>
                <a:lnTo>
                  <a:pt x="4641" y="2508"/>
                </a:lnTo>
                <a:lnTo>
                  <a:pt x="4624" y="2541"/>
                </a:lnTo>
                <a:lnTo>
                  <a:pt x="4605" y="2573"/>
                </a:lnTo>
                <a:lnTo>
                  <a:pt x="4586" y="2606"/>
                </a:lnTo>
                <a:lnTo>
                  <a:pt x="4566" y="2638"/>
                </a:lnTo>
                <a:lnTo>
                  <a:pt x="4546" y="2669"/>
                </a:lnTo>
                <a:lnTo>
                  <a:pt x="4525" y="2701"/>
                </a:lnTo>
                <a:lnTo>
                  <a:pt x="4502" y="2732"/>
                </a:lnTo>
                <a:lnTo>
                  <a:pt x="4480" y="2763"/>
                </a:lnTo>
                <a:lnTo>
                  <a:pt x="4456" y="2793"/>
                </a:lnTo>
                <a:lnTo>
                  <a:pt x="4431" y="2824"/>
                </a:lnTo>
                <a:lnTo>
                  <a:pt x="4407" y="2853"/>
                </a:lnTo>
                <a:lnTo>
                  <a:pt x="4381" y="2883"/>
                </a:lnTo>
                <a:lnTo>
                  <a:pt x="4356" y="2910"/>
                </a:lnTo>
                <a:lnTo>
                  <a:pt x="4329" y="2938"/>
                </a:lnTo>
                <a:lnTo>
                  <a:pt x="4303" y="2965"/>
                </a:lnTo>
                <a:lnTo>
                  <a:pt x="4276" y="2991"/>
                </a:lnTo>
                <a:lnTo>
                  <a:pt x="4249" y="3017"/>
                </a:lnTo>
                <a:lnTo>
                  <a:pt x="4220" y="3041"/>
                </a:lnTo>
                <a:lnTo>
                  <a:pt x="4192" y="3066"/>
                </a:lnTo>
                <a:lnTo>
                  <a:pt x="4164" y="3089"/>
                </a:lnTo>
                <a:lnTo>
                  <a:pt x="4134" y="3112"/>
                </a:lnTo>
                <a:lnTo>
                  <a:pt x="4105" y="3134"/>
                </a:lnTo>
                <a:lnTo>
                  <a:pt x="4075" y="3155"/>
                </a:lnTo>
                <a:lnTo>
                  <a:pt x="4045" y="3176"/>
                </a:lnTo>
                <a:lnTo>
                  <a:pt x="4014" y="3196"/>
                </a:lnTo>
                <a:lnTo>
                  <a:pt x="3982" y="3215"/>
                </a:lnTo>
                <a:lnTo>
                  <a:pt x="3950" y="3233"/>
                </a:lnTo>
                <a:lnTo>
                  <a:pt x="3919" y="3252"/>
                </a:lnTo>
                <a:lnTo>
                  <a:pt x="3887" y="3269"/>
                </a:lnTo>
                <a:lnTo>
                  <a:pt x="3854" y="3286"/>
                </a:lnTo>
                <a:lnTo>
                  <a:pt x="3820" y="3301"/>
                </a:lnTo>
                <a:lnTo>
                  <a:pt x="3786" y="3316"/>
                </a:lnTo>
                <a:lnTo>
                  <a:pt x="3752" y="3331"/>
                </a:lnTo>
                <a:lnTo>
                  <a:pt x="3718" y="3344"/>
                </a:lnTo>
                <a:lnTo>
                  <a:pt x="3683" y="3358"/>
                </a:lnTo>
                <a:lnTo>
                  <a:pt x="3647" y="3370"/>
                </a:lnTo>
                <a:lnTo>
                  <a:pt x="3611" y="3381"/>
                </a:lnTo>
                <a:lnTo>
                  <a:pt x="3575" y="3393"/>
                </a:lnTo>
                <a:lnTo>
                  <a:pt x="3538" y="3402"/>
                </a:lnTo>
                <a:lnTo>
                  <a:pt x="3500" y="3412"/>
                </a:lnTo>
                <a:lnTo>
                  <a:pt x="3463" y="3421"/>
                </a:lnTo>
                <a:lnTo>
                  <a:pt x="3425" y="3429"/>
                </a:lnTo>
                <a:lnTo>
                  <a:pt x="3438" y="3443"/>
                </a:lnTo>
                <a:lnTo>
                  <a:pt x="3449" y="3456"/>
                </a:lnTo>
                <a:lnTo>
                  <a:pt x="3459" y="3468"/>
                </a:lnTo>
                <a:lnTo>
                  <a:pt x="3466" y="3480"/>
                </a:lnTo>
                <a:lnTo>
                  <a:pt x="3473" y="3491"/>
                </a:lnTo>
                <a:lnTo>
                  <a:pt x="3477" y="3501"/>
                </a:lnTo>
                <a:lnTo>
                  <a:pt x="3479" y="3512"/>
                </a:lnTo>
                <a:lnTo>
                  <a:pt x="3480" y="3522"/>
                </a:lnTo>
                <a:close/>
              </a:path>
            </a:pathLst>
          </a:custGeom>
          <a:solidFill>
            <a:schemeClr val="bg1">
              <a:lumMod val="85000"/>
            </a:schemeClr>
          </a:solidFill>
          <a:ln w="9525">
            <a:noFill/>
            <a:round/>
            <a:headEnd/>
            <a:tailEnd/>
          </a:ln>
        </p:spPr>
        <p:txBody>
          <a:bodyPr/>
          <a:lstStyle>
            <a:defPPr>
              <a:defRPr lang="en-US"/>
            </a:defPPr>
            <a:lvl1pPr marL="0" algn="l" defTabSz="1018824" rtl="0" eaLnBrk="1" latinLnBrk="0" hangingPunct="1">
              <a:defRPr sz="2000" kern="1200">
                <a:solidFill>
                  <a:schemeClr val="tx1"/>
                </a:solidFill>
                <a:latin typeface="+mn-lt"/>
                <a:ea typeface="+mn-ea"/>
                <a:cs typeface="+mn-cs"/>
              </a:defRPr>
            </a:lvl1pPr>
            <a:lvl2pPr marL="509412" algn="l" defTabSz="1018824" rtl="0" eaLnBrk="1" latinLnBrk="0" hangingPunct="1">
              <a:defRPr sz="2000" kern="1200">
                <a:solidFill>
                  <a:schemeClr val="tx1"/>
                </a:solidFill>
                <a:latin typeface="+mn-lt"/>
                <a:ea typeface="+mn-ea"/>
                <a:cs typeface="+mn-cs"/>
              </a:defRPr>
            </a:lvl2pPr>
            <a:lvl3pPr marL="1018824" algn="l" defTabSz="1018824" rtl="0" eaLnBrk="1" latinLnBrk="0" hangingPunct="1">
              <a:defRPr sz="2000" kern="1200">
                <a:solidFill>
                  <a:schemeClr val="tx1"/>
                </a:solidFill>
                <a:latin typeface="+mn-lt"/>
                <a:ea typeface="+mn-ea"/>
                <a:cs typeface="+mn-cs"/>
              </a:defRPr>
            </a:lvl3pPr>
            <a:lvl4pPr marL="1528237" algn="l" defTabSz="1018824" rtl="0" eaLnBrk="1" latinLnBrk="0" hangingPunct="1">
              <a:defRPr sz="2000" kern="1200">
                <a:solidFill>
                  <a:schemeClr val="tx1"/>
                </a:solidFill>
                <a:latin typeface="+mn-lt"/>
                <a:ea typeface="+mn-ea"/>
                <a:cs typeface="+mn-cs"/>
              </a:defRPr>
            </a:lvl4pPr>
            <a:lvl5pPr marL="2037649" algn="l" defTabSz="1018824" rtl="0" eaLnBrk="1" latinLnBrk="0" hangingPunct="1">
              <a:defRPr sz="2000" kern="1200">
                <a:solidFill>
                  <a:schemeClr val="tx1"/>
                </a:solidFill>
                <a:latin typeface="+mn-lt"/>
                <a:ea typeface="+mn-ea"/>
                <a:cs typeface="+mn-cs"/>
              </a:defRPr>
            </a:lvl5pPr>
            <a:lvl6pPr marL="2547061" algn="l" defTabSz="1018824" rtl="0" eaLnBrk="1" latinLnBrk="0" hangingPunct="1">
              <a:defRPr sz="2000" kern="1200">
                <a:solidFill>
                  <a:schemeClr val="tx1"/>
                </a:solidFill>
                <a:latin typeface="+mn-lt"/>
                <a:ea typeface="+mn-ea"/>
                <a:cs typeface="+mn-cs"/>
              </a:defRPr>
            </a:lvl6pPr>
            <a:lvl7pPr marL="3056473" algn="l" defTabSz="1018824" rtl="0" eaLnBrk="1" latinLnBrk="0" hangingPunct="1">
              <a:defRPr sz="2000" kern="1200">
                <a:solidFill>
                  <a:schemeClr val="tx1"/>
                </a:solidFill>
                <a:latin typeface="+mn-lt"/>
                <a:ea typeface="+mn-ea"/>
                <a:cs typeface="+mn-cs"/>
              </a:defRPr>
            </a:lvl7pPr>
            <a:lvl8pPr marL="3565886" algn="l" defTabSz="1018824" rtl="0" eaLnBrk="1" latinLnBrk="0" hangingPunct="1">
              <a:defRPr sz="2000" kern="1200">
                <a:solidFill>
                  <a:schemeClr val="tx1"/>
                </a:solidFill>
                <a:latin typeface="+mn-lt"/>
                <a:ea typeface="+mn-ea"/>
                <a:cs typeface="+mn-cs"/>
              </a:defRPr>
            </a:lvl8pPr>
            <a:lvl9pPr marL="4075298" algn="l" defTabSz="1018824" rtl="0" eaLnBrk="1" latinLnBrk="0" hangingPunct="1">
              <a:defRPr sz="2000" kern="1200">
                <a:solidFill>
                  <a:schemeClr val="tx1"/>
                </a:solidFill>
                <a:latin typeface="+mn-lt"/>
                <a:ea typeface="+mn-ea"/>
                <a:cs typeface="+mn-cs"/>
              </a:defRPr>
            </a:lvl9pPr>
          </a:lstStyle>
          <a:p>
            <a:pPr marL="0" marR="0" lvl="0" indent="0" algn="l" defTabSz="1018824" rtl="0" eaLnBrk="1" fontAlgn="auto" latinLnBrk="0" hangingPunct="1">
              <a:lnSpc>
                <a:spcPct val="100000"/>
              </a:lnSpc>
              <a:spcBef>
                <a:spcPts val="0"/>
              </a:spcBef>
              <a:spcAft>
                <a:spcPts val="0"/>
              </a:spcAft>
              <a:buClrTx/>
              <a:buSzTx/>
              <a:buFontTx/>
              <a:buNone/>
              <a:tabLst/>
              <a:defRPr/>
            </a:pPr>
            <a:endParaRPr kumimoji="0" lang="en-GB" sz="1589"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 name="Freeform 22">
            <a:extLst>
              <a:ext uri="{FF2B5EF4-FFF2-40B4-BE49-F238E27FC236}">
                <a16:creationId xmlns:a16="http://schemas.microsoft.com/office/drawing/2014/main" id="{3B8288B8-E1B9-4131-9BEA-FA41C97727DE}"/>
              </a:ext>
            </a:extLst>
          </p:cNvPr>
          <p:cNvSpPr>
            <a:spLocks/>
          </p:cNvSpPr>
          <p:nvPr/>
        </p:nvSpPr>
        <p:spPr bwMode="auto">
          <a:xfrm>
            <a:off x="6296865" y="2374602"/>
            <a:ext cx="197037" cy="470851"/>
          </a:xfrm>
          <a:custGeom>
            <a:avLst/>
            <a:gdLst>
              <a:gd name="T0" fmla="*/ 13344091 w 6132"/>
              <a:gd name="T1" fmla="*/ 10441401 h 16980"/>
              <a:gd name="T2" fmla="*/ 14439013 w 6132"/>
              <a:gd name="T3" fmla="*/ 10808942 h 16980"/>
              <a:gd name="T4" fmla="*/ 15478309 w 6132"/>
              <a:gd name="T5" fmla="*/ 11467619 h 16980"/>
              <a:gd name="T6" fmla="*/ 16450295 w 6132"/>
              <a:gd name="T7" fmla="*/ 12408541 h 16980"/>
              <a:gd name="T8" fmla="*/ 17214401 w 6132"/>
              <a:gd name="T9" fmla="*/ 13481773 h 16980"/>
              <a:gd name="T10" fmla="*/ 17709159 w 6132"/>
              <a:gd name="T11" fmla="*/ 14605004 h 16980"/>
              <a:gd name="T12" fmla="*/ 17937493 w 6132"/>
              <a:gd name="T13" fmla="*/ 15789994 h 16980"/>
              <a:gd name="T14" fmla="*/ 17922884 w 6132"/>
              <a:gd name="T15" fmla="*/ 28795453 h 16980"/>
              <a:gd name="T16" fmla="*/ 17720901 w 6132"/>
              <a:gd name="T17" fmla="*/ 29724608 h 16980"/>
              <a:gd name="T18" fmla="*/ 17322724 w 6132"/>
              <a:gd name="T19" fmla="*/ 30571448 h 16980"/>
              <a:gd name="T20" fmla="*/ 16731329 w 6132"/>
              <a:gd name="T21" fmla="*/ 31344758 h 16980"/>
              <a:gd name="T22" fmla="*/ 15970146 w 6132"/>
              <a:gd name="T23" fmla="*/ 32000508 h 16980"/>
              <a:gd name="T24" fmla="*/ 15062602 w 6132"/>
              <a:gd name="T25" fmla="*/ 32509198 h 16980"/>
              <a:gd name="T26" fmla="*/ 14014483 w 6132"/>
              <a:gd name="T27" fmla="*/ 32867899 h 16980"/>
              <a:gd name="T28" fmla="*/ 4168927 w 6132"/>
              <a:gd name="T29" fmla="*/ 32935519 h 16980"/>
              <a:gd name="T30" fmla="*/ 3003722 w 6132"/>
              <a:gd name="T31" fmla="*/ 32515054 h 16980"/>
              <a:gd name="T32" fmla="*/ 2104943 w 6132"/>
              <a:gd name="T33" fmla="*/ 32053432 h 16980"/>
              <a:gd name="T34" fmla="*/ 1334994 w 6132"/>
              <a:gd name="T35" fmla="*/ 31503585 h 16980"/>
              <a:gd name="T36" fmla="*/ 723146 w 6132"/>
              <a:gd name="T37" fmla="*/ 30883136 h 16980"/>
              <a:gd name="T38" fmla="*/ 295697 w 6132"/>
              <a:gd name="T39" fmla="*/ 30230369 h 16980"/>
              <a:gd name="T40" fmla="*/ 55622 w 6132"/>
              <a:gd name="T41" fmla="*/ 29542302 h 16980"/>
              <a:gd name="T42" fmla="*/ 2922 w 6132"/>
              <a:gd name="T43" fmla="*/ 16034064 h 16980"/>
              <a:gd name="T44" fmla="*/ 166867 w 6132"/>
              <a:gd name="T45" fmla="*/ 14637376 h 16980"/>
              <a:gd name="T46" fmla="*/ 608925 w 6132"/>
              <a:gd name="T47" fmla="*/ 13408297 h 16980"/>
              <a:gd name="T48" fmla="*/ 1326228 w 6132"/>
              <a:gd name="T49" fmla="*/ 12352689 h 16980"/>
              <a:gd name="T50" fmla="*/ 2309902 w 6132"/>
              <a:gd name="T51" fmla="*/ 11479386 h 16980"/>
              <a:gd name="T52" fmla="*/ 3495559 w 6132"/>
              <a:gd name="T53" fmla="*/ 10853081 h 16980"/>
              <a:gd name="T54" fmla="*/ 4889097 w 6132"/>
              <a:gd name="T55" fmla="*/ 10479630 h 16980"/>
              <a:gd name="T56" fmla="*/ 6475906 w 6132"/>
              <a:gd name="T57" fmla="*/ 10356104 h 16980"/>
              <a:gd name="T58" fmla="*/ 6768627 w 6132"/>
              <a:gd name="T59" fmla="*/ 10332625 h 16980"/>
              <a:gd name="T60" fmla="*/ 7661564 w 6132"/>
              <a:gd name="T61" fmla="*/ 10323786 h 16980"/>
              <a:gd name="T62" fmla="*/ 7863602 w 6132"/>
              <a:gd name="T63" fmla="*/ 10085627 h 16980"/>
              <a:gd name="T64" fmla="*/ 7032131 w 6132"/>
              <a:gd name="T65" fmla="*/ 9768029 h 16980"/>
              <a:gd name="T66" fmla="*/ 6197794 w 6132"/>
              <a:gd name="T67" fmla="*/ 9285801 h 16980"/>
              <a:gd name="T68" fmla="*/ 5471726 w 6132"/>
              <a:gd name="T69" fmla="*/ 8674191 h 16980"/>
              <a:gd name="T70" fmla="*/ 4859825 w 6132"/>
              <a:gd name="T71" fmla="*/ 7936181 h 16980"/>
              <a:gd name="T72" fmla="*/ 4409002 w 6132"/>
              <a:gd name="T73" fmla="*/ 7115803 h 16980"/>
              <a:gd name="T74" fmla="*/ 4122070 w 6132"/>
              <a:gd name="T75" fmla="*/ 6242499 h 16980"/>
              <a:gd name="T76" fmla="*/ 4002059 w 6132"/>
              <a:gd name="T77" fmla="*/ 5304506 h 16980"/>
              <a:gd name="T78" fmla="*/ 4069369 w 6132"/>
              <a:gd name="T79" fmla="*/ 4195974 h 16980"/>
              <a:gd name="T80" fmla="*/ 4370910 w 6132"/>
              <a:gd name="T81" fmla="*/ 3140364 h 16980"/>
              <a:gd name="T82" fmla="*/ 4906682 w 6132"/>
              <a:gd name="T83" fmla="*/ 2181765 h 16980"/>
              <a:gd name="T84" fmla="*/ 5679553 w 6132"/>
              <a:gd name="T85" fmla="*/ 1317301 h 16980"/>
              <a:gd name="T86" fmla="*/ 6578332 w 6132"/>
              <a:gd name="T87" fmla="*/ 643928 h 16980"/>
              <a:gd name="T88" fmla="*/ 7576670 w 6132"/>
              <a:gd name="T89" fmla="*/ 208768 h 16980"/>
              <a:gd name="T90" fmla="*/ 8671588 w 6132"/>
              <a:gd name="T91" fmla="*/ 11767 h 16980"/>
              <a:gd name="T92" fmla="*/ 9825105 w 6132"/>
              <a:gd name="T93" fmla="*/ 52924 h 16980"/>
              <a:gd name="T94" fmla="*/ 10893673 w 6132"/>
              <a:gd name="T95" fmla="*/ 326384 h 16980"/>
              <a:gd name="T96" fmla="*/ 11865659 w 6132"/>
              <a:gd name="T97" fmla="*/ 843912 h 16980"/>
              <a:gd name="T98" fmla="*/ 12743931 w 6132"/>
              <a:gd name="T99" fmla="*/ 1593689 h 16980"/>
              <a:gd name="T100" fmla="*/ 13431908 w 6132"/>
              <a:gd name="T101" fmla="*/ 2490525 h 16980"/>
              <a:gd name="T102" fmla="*/ 13891551 w 6132"/>
              <a:gd name="T103" fmla="*/ 3481443 h 16980"/>
              <a:gd name="T104" fmla="*/ 14111119 w 6132"/>
              <a:gd name="T105" fmla="*/ 4572353 h 16980"/>
              <a:gd name="T106" fmla="*/ 14105275 w 6132"/>
              <a:gd name="T107" fmla="*/ 5636746 h 16980"/>
              <a:gd name="T108" fmla="*/ 13912057 w 6132"/>
              <a:gd name="T109" fmla="*/ 6586506 h 16980"/>
              <a:gd name="T110" fmla="*/ 13537309 w 6132"/>
              <a:gd name="T111" fmla="*/ 7471577 h 16980"/>
              <a:gd name="T112" fmla="*/ 12972265 w 6132"/>
              <a:gd name="T113" fmla="*/ 8303722 h 16980"/>
              <a:gd name="T114" fmla="*/ 12272601 w 6132"/>
              <a:gd name="T115" fmla="*/ 9015324 h 16980"/>
              <a:gd name="T116" fmla="*/ 11473326 w 6132"/>
              <a:gd name="T117" fmla="*/ 9562188 h 16980"/>
              <a:gd name="T118" fmla="*/ 10571626 w 6132"/>
              <a:gd name="T119" fmla="*/ 9941550 h 16980"/>
              <a:gd name="T120" fmla="*/ 10147098 w 6132"/>
              <a:gd name="T121" fmla="*/ 10232633 h 1698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6132"/>
              <a:gd name="T184" fmla="*/ 0 h 16980"/>
              <a:gd name="T185" fmla="*/ 6132 w 6132"/>
              <a:gd name="T186" fmla="*/ 16980 h 16980"/>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6132" h="16980">
                <a:moveTo>
                  <a:pt x="3480" y="3522"/>
                </a:moveTo>
                <a:lnTo>
                  <a:pt x="4254" y="3522"/>
                </a:lnTo>
                <a:lnTo>
                  <a:pt x="4298" y="3522"/>
                </a:lnTo>
                <a:lnTo>
                  <a:pt x="4342" y="3524"/>
                </a:lnTo>
                <a:lnTo>
                  <a:pt x="4386" y="3527"/>
                </a:lnTo>
                <a:lnTo>
                  <a:pt x="4429" y="3531"/>
                </a:lnTo>
                <a:lnTo>
                  <a:pt x="4473" y="3536"/>
                </a:lnTo>
                <a:lnTo>
                  <a:pt x="4515" y="3543"/>
                </a:lnTo>
                <a:lnTo>
                  <a:pt x="4558" y="3551"/>
                </a:lnTo>
                <a:lnTo>
                  <a:pt x="4601" y="3560"/>
                </a:lnTo>
                <a:lnTo>
                  <a:pt x="4643" y="3570"/>
                </a:lnTo>
                <a:lnTo>
                  <a:pt x="4685" y="3582"/>
                </a:lnTo>
                <a:lnTo>
                  <a:pt x="4727" y="3595"/>
                </a:lnTo>
                <a:lnTo>
                  <a:pt x="4769" y="3609"/>
                </a:lnTo>
                <a:lnTo>
                  <a:pt x="4809" y="3624"/>
                </a:lnTo>
                <a:lnTo>
                  <a:pt x="4851" y="3640"/>
                </a:lnTo>
                <a:lnTo>
                  <a:pt x="4892" y="3658"/>
                </a:lnTo>
                <a:lnTo>
                  <a:pt x="4932" y="3676"/>
                </a:lnTo>
                <a:lnTo>
                  <a:pt x="4973" y="3696"/>
                </a:lnTo>
                <a:lnTo>
                  <a:pt x="5013" y="3717"/>
                </a:lnTo>
                <a:lnTo>
                  <a:pt x="5052" y="3739"/>
                </a:lnTo>
                <a:lnTo>
                  <a:pt x="5093" y="3763"/>
                </a:lnTo>
                <a:lnTo>
                  <a:pt x="5132" y="3788"/>
                </a:lnTo>
                <a:lnTo>
                  <a:pt x="5171" y="3814"/>
                </a:lnTo>
                <a:lnTo>
                  <a:pt x="5210" y="3842"/>
                </a:lnTo>
                <a:lnTo>
                  <a:pt x="5249" y="3870"/>
                </a:lnTo>
                <a:lnTo>
                  <a:pt x="5287" y="3900"/>
                </a:lnTo>
                <a:lnTo>
                  <a:pt x="5325" y="3931"/>
                </a:lnTo>
                <a:lnTo>
                  <a:pt x="5364" y="3963"/>
                </a:lnTo>
                <a:lnTo>
                  <a:pt x="5401" y="3997"/>
                </a:lnTo>
                <a:lnTo>
                  <a:pt x="5438" y="4031"/>
                </a:lnTo>
                <a:lnTo>
                  <a:pt x="5475" y="4067"/>
                </a:lnTo>
                <a:lnTo>
                  <a:pt x="5512" y="4104"/>
                </a:lnTo>
                <a:lnTo>
                  <a:pt x="5549" y="4142"/>
                </a:lnTo>
                <a:lnTo>
                  <a:pt x="5584" y="4181"/>
                </a:lnTo>
                <a:lnTo>
                  <a:pt x="5619" y="4220"/>
                </a:lnTo>
                <a:lnTo>
                  <a:pt x="5652" y="4260"/>
                </a:lnTo>
                <a:lnTo>
                  <a:pt x="5685" y="4300"/>
                </a:lnTo>
                <a:lnTo>
                  <a:pt x="5716" y="4339"/>
                </a:lnTo>
                <a:lnTo>
                  <a:pt x="5747" y="4379"/>
                </a:lnTo>
                <a:lnTo>
                  <a:pt x="5775" y="4420"/>
                </a:lnTo>
                <a:lnTo>
                  <a:pt x="5803" y="4460"/>
                </a:lnTo>
                <a:lnTo>
                  <a:pt x="5830" y="4502"/>
                </a:lnTo>
                <a:lnTo>
                  <a:pt x="5855" y="4543"/>
                </a:lnTo>
                <a:lnTo>
                  <a:pt x="5880" y="4585"/>
                </a:lnTo>
                <a:lnTo>
                  <a:pt x="5904" y="4626"/>
                </a:lnTo>
                <a:lnTo>
                  <a:pt x="5925" y="4667"/>
                </a:lnTo>
                <a:lnTo>
                  <a:pt x="5946" y="4710"/>
                </a:lnTo>
                <a:lnTo>
                  <a:pt x="5967" y="4752"/>
                </a:lnTo>
                <a:lnTo>
                  <a:pt x="5986" y="4795"/>
                </a:lnTo>
                <a:lnTo>
                  <a:pt x="6004" y="4838"/>
                </a:lnTo>
                <a:lnTo>
                  <a:pt x="6020" y="4880"/>
                </a:lnTo>
                <a:lnTo>
                  <a:pt x="6036" y="4924"/>
                </a:lnTo>
                <a:lnTo>
                  <a:pt x="6049" y="4967"/>
                </a:lnTo>
                <a:lnTo>
                  <a:pt x="6063" y="5011"/>
                </a:lnTo>
                <a:lnTo>
                  <a:pt x="6075" y="5055"/>
                </a:lnTo>
                <a:lnTo>
                  <a:pt x="6085" y="5100"/>
                </a:lnTo>
                <a:lnTo>
                  <a:pt x="6095" y="5144"/>
                </a:lnTo>
                <a:lnTo>
                  <a:pt x="6104" y="5189"/>
                </a:lnTo>
                <a:lnTo>
                  <a:pt x="6111" y="5234"/>
                </a:lnTo>
                <a:lnTo>
                  <a:pt x="6117" y="5280"/>
                </a:lnTo>
                <a:lnTo>
                  <a:pt x="6123" y="5324"/>
                </a:lnTo>
                <a:lnTo>
                  <a:pt x="6127" y="5370"/>
                </a:lnTo>
                <a:lnTo>
                  <a:pt x="6130" y="5417"/>
                </a:lnTo>
                <a:lnTo>
                  <a:pt x="6131" y="5463"/>
                </a:lnTo>
                <a:lnTo>
                  <a:pt x="6132" y="5509"/>
                </a:lnTo>
                <a:lnTo>
                  <a:pt x="6132" y="9605"/>
                </a:lnTo>
                <a:lnTo>
                  <a:pt x="6132" y="9643"/>
                </a:lnTo>
                <a:lnTo>
                  <a:pt x="6130" y="9682"/>
                </a:lnTo>
                <a:lnTo>
                  <a:pt x="6129" y="9719"/>
                </a:lnTo>
                <a:lnTo>
                  <a:pt x="6126" y="9756"/>
                </a:lnTo>
                <a:lnTo>
                  <a:pt x="6122" y="9793"/>
                </a:lnTo>
                <a:lnTo>
                  <a:pt x="6117" y="9829"/>
                </a:lnTo>
                <a:lnTo>
                  <a:pt x="6112" y="9866"/>
                </a:lnTo>
                <a:lnTo>
                  <a:pt x="6107" y="9901"/>
                </a:lnTo>
                <a:lnTo>
                  <a:pt x="6099" y="9937"/>
                </a:lnTo>
                <a:lnTo>
                  <a:pt x="6092" y="9972"/>
                </a:lnTo>
                <a:lnTo>
                  <a:pt x="6083" y="10007"/>
                </a:lnTo>
                <a:lnTo>
                  <a:pt x="6074" y="10041"/>
                </a:lnTo>
                <a:lnTo>
                  <a:pt x="6063" y="10075"/>
                </a:lnTo>
                <a:lnTo>
                  <a:pt x="6053" y="10109"/>
                </a:lnTo>
                <a:lnTo>
                  <a:pt x="6041" y="10142"/>
                </a:lnTo>
                <a:lnTo>
                  <a:pt x="6028" y="10175"/>
                </a:lnTo>
                <a:lnTo>
                  <a:pt x="6014" y="10208"/>
                </a:lnTo>
                <a:lnTo>
                  <a:pt x="6001" y="10241"/>
                </a:lnTo>
                <a:lnTo>
                  <a:pt x="5986" y="10273"/>
                </a:lnTo>
                <a:lnTo>
                  <a:pt x="5970" y="10305"/>
                </a:lnTo>
                <a:lnTo>
                  <a:pt x="5953" y="10335"/>
                </a:lnTo>
                <a:lnTo>
                  <a:pt x="5935" y="10366"/>
                </a:lnTo>
                <a:lnTo>
                  <a:pt x="5917" y="10397"/>
                </a:lnTo>
                <a:lnTo>
                  <a:pt x="5898" y="10428"/>
                </a:lnTo>
                <a:lnTo>
                  <a:pt x="5877" y="10458"/>
                </a:lnTo>
                <a:lnTo>
                  <a:pt x="5857" y="10487"/>
                </a:lnTo>
                <a:lnTo>
                  <a:pt x="5835" y="10517"/>
                </a:lnTo>
                <a:lnTo>
                  <a:pt x="5813" y="10546"/>
                </a:lnTo>
                <a:lnTo>
                  <a:pt x="5789" y="10575"/>
                </a:lnTo>
                <a:lnTo>
                  <a:pt x="5766" y="10603"/>
                </a:lnTo>
                <a:lnTo>
                  <a:pt x="5740" y="10632"/>
                </a:lnTo>
                <a:lnTo>
                  <a:pt x="5715" y="10660"/>
                </a:lnTo>
                <a:lnTo>
                  <a:pt x="5688" y="10687"/>
                </a:lnTo>
                <a:lnTo>
                  <a:pt x="5661" y="10714"/>
                </a:lnTo>
                <a:lnTo>
                  <a:pt x="5633" y="10739"/>
                </a:lnTo>
                <a:lnTo>
                  <a:pt x="5606" y="10765"/>
                </a:lnTo>
                <a:lnTo>
                  <a:pt x="5576" y="10790"/>
                </a:lnTo>
                <a:lnTo>
                  <a:pt x="5546" y="10814"/>
                </a:lnTo>
                <a:lnTo>
                  <a:pt x="5516" y="10838"/>
                </a:lnTo>
                <a:lnTo>
                  <a:pt x="5486" y="10860"/>
                </a:lnTo>
                <a:lnTo>
                  <a:pt x="5455" y="10883"/>
                </a:lnTo>
                <a:lnTo>
                  <a:pt x="5422" y="10905"/>
                </a:lnTo>
                <a:lnTo>
                  <a:pt x="5390" y="10925"/>
                </a:lnTo>
                <a:lnTo>
                  <a:pt x="5357" y="10947"/>
                </a:lnTo>
                <a:lnTo>
                  <a:pt x="5323" y="10966"/>
                </a:lnTo>
                <a:lnTo>
                  <a:pt x="5288" y="10985"/>
                </a:lnTo>
                <a:lnTo>
                  <a:pt x="5253" y="11004"/>
                </a:lnTo>
                <a:lnTo>
                  <a:pt x="5218" y="11022"/>
                </a:lnTo>
                <a:lnTo>
                  <a:pt x="5182" y="11039"/>
                </a:lnTo>
                <a:lnTo>
                  <a:pt x="5145" y="11056"/>
                </a:lnTo>
                <a:lnTo>
                  <a:pt x="5108" y="11072"/>
                </a:lnTo>
                <a:lnTo>
                  <a:pt x="5069" y="11087"/>
                </a:lnTo>
                <a:lnTo>
                  <a:pt x="5031" y="11102"/>
                </a:lnTo>
                <a:lnTo>
                  <a:pt x="4992" y="11117"/>
                </a:lnTo>
                <a:lnTo>
                  <a:pt x="4952" y="11130"/>
                </a:lnTo>
                <a:lnTo>
                  <a:pt x="4911" y="11143"/>
                </a:lnTo>
                <a:lnTo>
                  <a:pt x="4871" y="11155"/>
                </a:lnTo>
                <a:lnTo>
                  <a:pt x="4828" y="11167"/>
                </a:lnTo>
                <a:lnTo>
                  <a:pt x="4787" y="11178"/>
                </a:lnTo>
                <a:lnTo>
                  <a:pt x="4743" y="11189"/>
                </a:lnTo>
                <a:lnTo>
                  <a:pt x="4701" y="11199"/>
                </a:lnTo>
                <a:lnTo>
                  <a:pt x="4656" y="11208"/>
                </a:lnTo>
                <a:lnTo>
                  <a:pt x="4612" y="11217"/>
                </a:lnTo>
                <a:lnTo>
                  <a:pt x="4567" y="11225"/>
                </a:lnTo>
                <a:lnTo>
                  <a:pt x="4567" y="16980"/>
                </a:lnTo>
                <a:lnTo>
                  <a:pt x="1510" y="16980"/>
                </a:lnTo>
                <a:lnTo>
                  <a:pt x="1510" y="11225"/>
                </a:lnTo>
                <a:lnTo>
                  <a:pt x="1424" y="11201"/>
                </a:lnTo>
                <a:lnTo>
                  <a:pt x="1340" y="11175"/>
                </a:lnTo>
                <a:lnTo>
                  <a:pt x="1298" y="11161"/>
                </a:lnTo>
                <a:lnTo>
                  <a:pt x="1258" y="11148"/>
                </a:lnTo>
                <a:lnTo>
                  <a:pt x="1218" y="11134"/>
                </a:lnTo>
                <a:lnTo>
                  <a:pt x="1178" y="11120"/>
                </a:lnTo>
                <a:lnTo>
                  <a:pt x="1139" y="11105"/>
                </a:lnTo>
                <a:lnTo>
                  <a:pt x="1101" y="11089"/>
                </a:lnTo>
                <a:lnTo>
                  <a:pt x="1064" y="11074"/>
                </a:lnTo>
                <a:lnTo>
                  <a:pt x="1026" y="11058"/>
                </a:lnTo>
                <a:lnTo>
                  <a:pt x="990" y="11042"/>
                </a:lnTo>
                <a:lnTo>
                  <a:pt x="954" y="11025"/>
                </a:lnTo>
                <a:lnTo>
                  <a:pt x="918" y="11009"/>
                </a:lnTo>
                <a:lnTo>
                  <a:pt x="884" y="10991"/>
                </a:lnTo>
                <a:lnTo>
                  <a:pt x="849" y="10974"/>
                </a:lnTo>
                <a:lnTo>
                  <a:pt x="816" y="10956"/>
                </a:lnTo>
                <a:lnTo>
                  <a:pt x="782" y="10938"/>
                </a:lnTo>
                <a:lnTo>
                  <a:pt x="750" y="10920"/>
                </a:lnTo>
                <a:lnTo>
                  <a:pt x="719" y="10901"/>
                </a:lnTo>
                <a:lnTo>
                  <a:pt x="687" y="10882"/>
                </a:lnTo>
                <a:lnTo>
                  <a:pt x="656" y="10862"/>
                </a:lnTo>
                <a:lnTo>
                  <a:pt x="626" y="10841"/>
                </a:lnTo>
                <a:lnTo>
                  <a:pt x="596" y="10821"/>
                </a:lnTo>
                <a:lnTo>
                  <a:pt x="567" y="10801"/>
                </a:lnTo>
                <a:lnTo>
                  <a:pt x="539" y="10780"/>
                </a:lnTo>
                <a:lnTo>
                  <a:pt x="510" y="10758"/>
                </a:lnTo>
                <a:lnTo>
                  <a:pt x="484" y="10736"/>
                </a:lnTo>
                <a:lnTo>
                  <a:pt x="456" y="10714"/>
                </a:lnTo>
                <a:lnTo>
                  <a:pt x="431" y="10691"/>
                </a:lnTo>
                <a:lnTo>
                  <a:pt x="405" y="10668"/>
                </a:lnTo>
                <a:lnTo>
                  <a:pt x="380" y="10646"/>
                </a:lnTo>
                <a:lnTo>
                  <a:pt x="355" y="10622"/>
                </a:lnTo>
                <a:lnTo>
                  <a:pt x="332" y="10599"/>
                </a:lnTo>
                <a:lnTo>
                  <a:pt x="310" y="10576"/>
                </a:lnTo>
                <a:lnTo>
                  <a:pt x="289" y="10551"/>
                </a:lnTo>
                <a:lnTo>
                  <a:pt x="267" y="10528"/>
                </a:lnTo>
                <a:lnTo>
                  <a:pt x="247" y="10503"/>
                </a:lnTo>
                <a:lnTo>
                  <a:pt x="228" y="10480"/>
                </a:lnTo>
                <a:lnTo>
                  <a:pt x="209" y="10455"/>
                </a:lnTo>
                <a:lnTo>
                  <a:pt x="191" y="10431"/>
                </a:lnTo>
                <a:lnTo>
                  <a:pt x="174" y="10407"/>
                </a:lnTo>
                <a:lnTo>
                  <a:pt x="158" y="10382"/>
                </a:lnTo>
                <a:lnTo>
                  <a:pt x="142" y="10357"/>
                </a:lnTo>
                <a:lnTo>
                  <a:pt x="128" y="10332"/>
                </a:lnTo>
                <a:lnTo>
                  <a:pt x="114" y="10307"/>
                </a:lnTo>
                <a:lnTo>
                  <a:pt x="101" y="10281"/>
                </a:lnTo>
                <a:lnTo>
                  <a:pt x="89" y="10256"/>
                </a:lnTo>
                <a:lnTo>
                  <a:pt x="77" y="10230"/>
                </a:lnTo>
                <a:lnTo>
                  <a:pt x="67" y="10205"/>
                </a:lnTo>
                <a:lnTo>
                  <a:pt x="57" y="10179"/>
                </a:lnTo>
                <a:lnTo>
                  <a:pt x="48" y="10153"/>
                </a:lnTo>
                <a:lnTo>
                  <a:pt x="39" y="10127"/>
                </a:lnTo>
                <a:lnTo>
                  <a:pt x="32" y="10100"/>
                </a:lnTo>
                <a:lnTo>
                  <a:pt x="25" y="10074"/>
                </a:lnTo>
                <a:lnTo>
                  <a:pt x="19" y="10047"/>
                </a:lnTo>
                <a:lnTo>
                  <a:pt x="14" y="10021"/>
                </a:lnTo>
                <a:lnTo>
                  <a:pt x="9" y="9994"/>
                </a:lnTo>
                <a:lnTo>
                  <a:pt x="6" y="9967"/>
                </a:lnTo>
                <a:lnTo>
                  <a:pt x="3" y="9940"/>
                </a:lnTo>
                <a:lnTo>
                  <a:pt x="1" y="9912"/>
                </a:lnTo>
                <a:lnTo>
                  <a:pt x="0" y="9885"/>
                </a:lnTo>
                <a:lnTo>
                  <a:pt x="0" y="9857"/>
                </a:lnTo>
                <a:lnTo>
                  <a:pt x="0" y="5509"/>
                </a:lnTo>
                <a:lnTo>
                  <a:pt x="1" y="5453"/>
                </a:lnTo>
                <a:lnTo>
                  <a:pt x="2" y="5398"/>
                </a:lnTo>
                <a:lnTo>
                  <a:pt x="5" y="5342"/>
                </a:lnTo>
                <a:lnTo>
                  <a:pt x="9" y="5288"/>
                </a:lnTo>
                <a:lnTo>
                  <a:pt x="15" y="5235"/>
                </a:lnTo>
                <a:lnTo>
                  <a:pt x="21" y="5182"/>
                </a:lnTo>
                <a:lnTo>
                  <a:pt x="28" y="5130"/>
                </a:lnTo>
                <a:lnTo>
                  <a:pt x="37" y="5079"/>
                </a:lnTo>
                <a:lnTo>
                  <a:pt x="47" y="5028"/>
                </a:lnTo>
                <a:lnTo>
                  <a:pt x="57" y="4978"/>
                </a:lnTo>
                <a:lnTo>
                  <a:pt x="70" y="4929"/>
                </a:lnTo>
                <a:lnTo>
                  <a:pt x="83" y="4880"/>
                </a:lnTo>
                <a:lnTo>
                  <a:pt x="97" y="4832"/>
                </a:lnTo>
                <a:lnTo>
                  <a:pt x="112" y="4785"/>
                </a:lnTo>
                <a:lnTo>
                  <a:pt x="129" y="4739"/>
                </a:lnTo>
                <a:lnTo>
                  <a:pt x="147" y="4693"/>
                </a:lnTo>
                <a:lnTo>
                  <a:pt x="166" y="4648"/>
                </a:lnTo>
                <a:lnTo>
                  <a:pt x="187" y="4604"/>
                </a:lnTo>
                <a:lnTo>
                  <a:pt x="208" y="4560"/>
                </a:lnTo>
                <a:lnTo>
                  <a:pt x="230" y="4518"/>
                </a:lnTo>
                <a:lnTo>
                  <a:pt x="255" y="4476"/>
                </a:lnTo>
                <a:lnTo>
                  <a:pt x="279" y="4435"/>
                </a:lnTo>
                <a:lnTo>
                  <a:pt x="306" y="4393"/>
                </a:lnTo>
                <a:lnTo>
                  <a:pt x="332" y="4354"/>
                </a:lnTo>
                <a:lnTo>
                  <a:pt x="361" y="4315"/>
                </a:lnTo>
                <a:lnTo>
                  <a:pt x="391" y="4275"/>
                </a:lnTo>
                <a:lnTo>
                  <a:pt x="421" y="4238"/>
                </a:lnTo>
                <a:lnTo>
                  <a:pt x="453" y="4201"/>
                </a:lnTo>
                <a:lnTo>
                  <a:pt x="486" y="4165"/>
                </a:lnTo>
                <a:lnTo>
                  <a:pt x="520" y="4129"/>
                </a:lnTo>
                <a:lnTo>
                  <a:pt x="556" y="4093"/>
                </a:lnTo>
                <a:lnTo>
                  <a:pt x="592" y="4059"/>
                </a:lnTo>
                <a:lnTo>
                  <a:pt x="629" y="4025"/>
                </a:lnTo>
                <a:lnTo>
                  <a:pt x="668" y="3994"/>
                </a:lnTo>
                <a:lnTo>
                  <a:pt x="707" y="3963"/>
                </a:lnTo>
                <a:lnTo>
                  <a:pt x="747" y="3933"/>
                </a:lnTo>
                <a:lnTo>
                  <a:pt x="789" y="3904"/>
                </a:lnTo>
                <a:lnTo>
                  <a:pt x="830" y="3876"/>
                </a:lnTo>
                <a:lnTo>
                  <a:pt x="873" y="3849"/>
                </a:lnTo>
                <a:lnTo>
                  <a:pt x="916" y="3823"/>
                </a:lnTo>
                <a:lnTo>
                  <a:pt x="961" y="3799"/>
                </a:lnTo>
                <a:lnTo>
                  <a:pt x="1005" y="3775"/>
                </a:lnTo>
                <a:lnTo>
                  <a:pt x="1052" y="3752"/>
                </a:lnTo>
                <a:lnTo>
                  <a:pt x="1099" y="3731"/>
                </a:lnTo>
                <a:lnTo>
                  <a:pt x="1146" y="3711"/>
                </a:lnTo>
                <a:lnTo>
                  <a:pt x="1194" y="3691"/>
                </a:lnTo>
                <a:lnTo>
                  <a:pt x="1244" y="3672"/>
                </a:lnTo>
                <a:lnTo>
                  <a:pt x="1294" y="3655"/>
                </a:lnTo>
                <a:lnTo>
                  <a:pt x="1345" y="3640"/>
                </a:lnTo>
                <a:lnTo>
                  <a:pt x="1397" y="3624"/>
                </a:lnTo>
                <a:lnTo>
                  <a:pt x="1450" y="3610"/>
                </a:lnTo>
                <a:lnTo>
                  <a:pt x="1503" y="3597"/>
                </a:lnTo>
                <a:lnTo>
                  <a:pt x="1558" y="3584"/>
                </a:lnTo>
                <a:lnTo>
                  <a:pt x="1614" y="3574"/>
                </a:lnTo>
                <a:lnTo>
                  <a:pt x="1670" y="3564"/>
                </a:lnTo>
                <a:lnTo>
                  <a:pt x="1726" y="3554"/>
                </a:lnTo>
                <a:lnTo>
                  <a:pt x="1785" y="3547"/>
                </a:lnTo>
                <a:lnTo>
                  <a:pt x="1843" y="3540"/>
                </a:lnTo>
                <a:lnTo>
                  <a:pt x="1902" y="3534"/>
                </a:lnTo>
                <a:lnTo>
                  <a:pt x="1963" y="3530"/>
                </a:lnTo>
                <a:lnTo>
                  <a:pt x="2024" y="3526"/>
                </a:lnTo>
                <a:lnTo>
                  <a:pt x="2086" y="3524"/>
                </a:lnTo>
                <a:lnTo>
                  <a:pt x="2149" y="3522"/>
                </a:lnTo>
                <a:lnTo>
                  <a:pt x="2212" y="3522"/>
                </a:lnTo>
                <a:lnTo>
                  <a:pt x="2218" y="3517"/>
                </a:lnTo>
                <a:lnTo>
                  <a:pt x="2224" y="3514"/>
                </a:lnTo>
                <a:lnTo>
                  <a:pt x="2230" y="3513"/>
                </a:lnTo>
                <a:lnTo>
                  <a:pt x="2237" y="3512"/>
                </a:lnTo>
                <a:lnTo>
                  <a:pt x="2243" y="3512"/>
                </a:lnTo>
                <a:lnTo>
                  <a:pt x="2251" y="3512"/>
                </a:lnTo>
                <a:lnTo>
                  <a:pt x="2261" y="3512"/>
                </a:lnTo>
                <a:lnTo>
                  <a:pt x="2274" y="3512"/>
                </a:lnTo>
                <a:lnTo>
                  <a:pt x="2312" y="3514"/>
                </a:lnTo>
                <a:lnTo>
                  <a:pt x="2353" y="3516"/>
                </a:lnTo>
                <a:lnTo>
                  <a:pt x="2393" y="3517"/>
                </a:lnTo>
                <a:lnTo>
                  <a:pt x="2435" y="3519"/>
                </a:lnTo>
                <a:lnTo>
                  <a:pt x="2479" y="3520"/>
                </a:lnTo>
                <a:lnTo>
                  <a:pt x="2522" y="3520"/>
                </a:lnTo>
                <a:lnTo>
                  <a:pt x="2568" y="3522"/>
                </a:lnTo>
                <a:lnTo>
                  <a:pt x="2615" y="3522"/>
                </a:lnTo>
                <a:lnTo>
                  <a:pt x="2616" y="3516"/>
                </a:lnTo>
                <a:lnTo>
                  <a:pt x="2617" y="3511"/>
                </a:lnTo>
                <a:lnTo>
                  <a:pt x="2620" y="3505"/>
                </a:lnTo>
                <a:lnTo>
                  <a:pt x="2623" y="3498"/>
                </a:lnTo>
                <a:lnTo>
                  <a:pt x="2634" y="3483"/>
                </a:lnTo>
                <a:lnTo>
                  <a:pt x="2649" y="3466"/>
                </a:lnTo>
                <a:lnTo>
                  <a:pt x="2663" y="3450"/>
                </a:lnTo>
                <a:lnTo>
                  <a:pt x="2674" y="3439"/>
                </a:lnTo>
                <a:lnTo>
                  <a:pt x="2678" y="3434"/>
                </a:lnTo>
                <a:lnTo>
                  <a:pt x="2683" y="3431"/>
                </a:lnTo>
                <a:lnTo>
                  <a:pt x="2686" y="3430"/>
                </a:lnTo>
                <a:lnTo>
                  <a:pt x="2688" y="3429"/>
                </a:lnTo>
                <a:lnTo>
                  <a:pt x="2651" y="3417"/>
                </a:lnTo>
                <a:lnTo>
                  <a:pt x="2614" y="3406"/>
                </a:lnTo>
                <a:lnTo>
                  <a:pt x="2578" y="3393"/>
                </a:lnTo>
                <a:lnTo>
                  <a:pt x="2542" y="3380"/>
                </a:lnTo>
                <a:lnTo>
                  <a:pt x="2506" y="3366"/>
                </a:lnTo>
                <a:lnTo>
                  <a:pt x="2471" y="3351"/>
                </a:lnTo>
                <a:lnTo>
                  <a:pt x="2436" y="3337"/>
                </a:lnTo>
                <a:lnTo>
                  <a:pt x="2402" y="3322"/>
                </a:lnTo>
                <a:lnTo>
                  <a:pt x="2368" y="3306"/>
                </a:lnTo>
                <a:lnTo>
                  <a:pt x="2336" y="3289"/>
                </a:lnTo>
                <a:lnTo>
                  <a:pt x="2303" y="3272"/>
                </a:lnTo>
                <a:lnTo>
                  <a:pt x="2271" y="3255"/>
                </a:lnTo>
                <a:lnTo>
                  <a:pt x="2239" y="3237"/>
                </a:lnTo>
                <a:lnTo>
                  <a:pt x="2208" y="3218"/>
                </a:lnTo>
                <a:lnTo>
                  <a:pt x="2177" y="3198"/>
                </a:lnTo>
                <a:lnTo>
                  <a:pt x="2147" y="3178"/>
                </a:lnTo>
                <a:lnTo>
                  <a:pt x="2117" y="3158"/>
                </a:lnTo>
                <a:lnTo>
                  <a:pt x="2087" y="3137"/>
                </a:lnTo>
                <a:lnTo>
                  <a:pt x="2058" y="3115"/>
                </a:lnTo>
                <a:lnTo>
                  <a:pt x="2030" y="3093"/>
                </a:lnTo>
                <a:lnTo>
                  <a:pt x="2002" y="3071"/>
                </a:lnTo>
                <a:lnTo>
                  <a:pt x="1975" y="3047"/>
                </a:lnTo>
                <a:lnTo>
                  <a:pt x="1948" y="3024"/>
                </a:lnTo>
                <a:lnTo>
                  <a:pt x="1921" y="3000"/>
                </a:lnTo>
                <a:lnTo>
                  <a:pt x="1895" y="2975"/>
                </a:lnTo>
                <a:lnTo>
                  <a:pt x="1869" y="2950"/>
                </a:lnTo>
                <a:lnTo>
                  <a:pt x="1844" y="2924"/>
                </a:lnTo>
                <a:lnTo>
                  <a:pt x="1820" y="2898"/>
                </a:lnTo>
                <a:lnTo>
                  <a:pt x="1795" y="2871"/>
                </a:lnTo>
                <a:lnTo>
                  <a:pt x="1771" y="2843"/>
                </a:lnTo>
                <a:lnTo>
                  <a:pt x="1747" y="2816"/>
                </a:lnTo>
                <a:lnTo>
                  <a:pt x="1725" y="2787"/>
                </a:lnTo>
                <a:lnTo>
                  <a:pt x="1703" y="2757"/>
                </a:lnTo>
                <a:lnTo>
                  <a:pt x="1682" y="2729"/>
                </a:lnTo>
                <a:lnTo>
                  <a:pt x="1660" y="2699"/>
                </a:lnTo>
                <a:lnTo>
                  <a:pt x="1640" y="2669"/>
                </a:lnTo>
                <a:lnTo>
                  <a:pt x="1621" y="2638"/>
                </a:lnTo>
                <a:lnTo>
                  <a:pt x="1603" y="2608"/>
                </a:lnTo>
                <a:lnTo>
                  <a:pt x="1585" y="2578"/>
                </a:lnTo>
                <a:lnTo>
                  <a:pt x="1568" y="2547"/>
                </a:lnTo>
                <a:lnTo>
                  <a:pt x="1551" y="2516"/>
                </a:lnTo>
                <a:lnTo>
                  <a:pt x="1535" y="2484"/>
                </a:lnTo>
                <a:lnTo>
                  <a:pt x="1520" y="2452"/>
                </a:lnTo>
                <a:lnTo>
                  <a:pt x="1506" y="2420"/>
                </a:lnTo>
                <a:lnTo>
                  <a:pt x="1493" y="2388"/>
                </a:lnTo>
                <a:lnTo>
                  <a:pt x="1479" y="2356"/>
                </a:lnTo>
                <a:lnTo>
                  <a:pt x="1467" y="2324"/>
                </a:lnTo>
                <a:lnTo>
                  <a:pt x="1455" y="2291"/>
                </a:lnTo>
                <a:lnTo>
                  <a:pt x="1445" y="2258"/>
                </a:lnTo>
                <a:lnTo>
                  <a:pt x="1434" y="2225"/>
                </a:lnTo>
                <a:lnTo>
                  <a:pt x="1425" y="2191"/>
                </a:lnTo>
                <a:lnTo>
                  <a:pt x="1416" y="2157"/>
                </a:lnTo>
                <a:lnTo>
                  <a:pt x="1408" y="2123"/>
                </a:lnTo>
                <a:lnTo>
                  <a:pt x="1400" y="2089"/>
                </a:lnTo>
                <a:lnTo>
                  <a:pt x="1394" y="2054"/>
                </a:lnTo>
                <a:lnTo>
                  <a:pt x="1389" y="2018"/>
                </a:lnTo>
                <a:lnTo>
                  <a:pt x="1383" y="1983"/>
                </a:lnTo>
                <a:lnTo>
                  <a:pt x="1378" y="1948"/>
                </a:lnTo>
                <a:lnTo>
                  <a:pt x="1375" y="1912"/>
                </a:lnTo>
                <a:lnTo>
                  <a:pt x="1372" y="1876"/>
                </a:lnTo>
                <a:lnTo>
                  <a:pt x="1368" y="1840"/>
                </a:lnTo>
                <a:lnTo>
                  <a:pt x="1367" y="1804"/>
                </a:lnTo>
                <a:lnTo>
                  <a:pt x="1366" y="1767"/>
                </a:lnTo>
                <a:lnTo>
                  <a:pt x="1365" y="1729"/>
                </a:lnTo>
                <a:lnTo>
                  <a:pt x="1366" y="1686"/>
                </a:lnTo>
                <a:lnTo>
                  <a:pt x="1367" y="1641"/>
                </a:lnTo>
                <a:lnTo>
                  <a:pt x="1370" y="1598"/>
                </a:lnTo>
                <a:lnTo>
                  <a:pt x="1374" y="1555"/>
                </a:lnTo>
                <a:lnTo>
                  <a:pt x="1378" y="1511"/>
                </a:lnTo>
                <a:lnTo>
                  <a:pt x="1383" y="1469"/>
                </a:lnTo>
                <a:lnTo>
                  <a:pt x="1390" y="1427"/>
                </a:lnTo>
                <a:lnTo>
                  <a:pt x="1397" y="1386"/>
                </a:lnTo>
                <a:lnTo>
                  <a:pt x="1405" y="1345"/>
                </a:lnTo>
                <a:lnTo>
                  <a:pt x="1415" y="1304"/>
                </a:lnTo>
                <a:lnTo>
                  <a:pt x="1426" y="1264"/>
                </a:lnTo>
                <a:lnTo>
                  <a:pt x="1437" y="1223"/>
                </a:lnTo>
                <a:lnTo>
                  <a:pt x="1449" y="1184"/>
                </a:lnTo>
                <a:lnTo>
                  <a:pt x="1463" y="1145"/>
                </a:lnTo>
                <a:lnTo>
                  <a:pt x="1477" y="1106"/>
                </a:lnTo>
                <a:lnTo>
                  <a:pt x="1493" y="1068"/>
                </a:lnTo>
                <a:lnTo>
                  <a:pt x="1508" y="1030"/>
                </a:lnTo>
                <a:lnTo>
                  <a:pt x="1527" y="993"/>
                </a:lnTo>
                <a:lnTo>
                  <a:pt x="1545" y="955"/>
                </a:lnTo>
                <a:lnTo>
                  <a:pt x="1564" y="919"/>
                </a:lnTo>
                <a:lnTo>
                  <a:pt x="1585" y="883"/>
                </a:lnTo>
                <a:lnTo>
                  <a:pt x="1606" y="847"/>
                </a:lnTo>
                <a:lnTo>
                  <a:pt x="1628" y="811"/>
                </a:lnTo>
                <a:lnTo>
                  <a:pt x="1652" y="776"/>
                </a:lnTo>
                <a:lnTo>
                  <a:pt x="1676" y="742"/>
                </a:lnTo>
                <a:lnTo>
                  <a:pt x="1702" y="708"/>
                </a:lnTo>
                <a:lnTo>
                  <a:pt x="1728" y="674"/>
                </a:lnTo>
                <a:lnTo>
                  <a:pt x="1756" y="640"/>
                </a:lnTo>
                <a:lnTo>
                  <a:pt x="1783" y="607"/>
                </a:lnTo>
                <a:lnTo>
                  <a:pt x="1813" y="574"/>
                </a:lnTo>
                <a:lnTo>
                  <a:pt x="1844" y="542"/>
                </a:lnTo>
                <a:lnTo>
                  <a:pt x="1875" y="510"/>
                </a:lnTo>
                <a:lnTo>
                  <a:pt x="1907" y="478"/>
                </a:lnTo>
                <a:lnTo>
                  <a:pt x="1940" y="448"/>
                </a:lnTo>
                <a:lnTo>
                  <a:pt x="1971" y="419"/>
                </a:lnTo>
                <a:lnTo>
                  <a:pt x="2005" y="390"/>
                </a:lnTo>
                <a:lnTo>
                  <a:pt x="2038" y="362"/>
                </a:lnTo>
                <a:lnTo>
                  <a:pt x="2072" y="336"/>
                </a:lnTo>
                <a:lnTo>
                  <a:pt x="2106" y="311"/>
                </a:lnTo>
                <a:lnTo>
                  <a:pt x="2141" y="287"/>
                </a:lnTo>
                <a:lnTo>
                  <a:pt x="2176" y="263"/>
                </a:lnTo>
                <a:lnTo>
                  <a:pt x="2211" y="240"/>
                </a:lnTo>
                <a:lnTo>
                  <a:pt x="2247" y="219"/>
                </a:lnTo>
                <a:lnTo>
                  <a:pt x="2284" y="199"/>
                </a:lnTo>
                <a:lnTo>
                  <a:pt x="2320" y="179"/>
                </a:lnTo>
                <a:lnTo>
                  <a:pt x="2357" y="160"/>
                </a:lnTo>
                <a:lnTo>
                  <a:pt x="2395" y="143"/>
                </a:lnTo>
                <a:lnTo>
                  <a:pt x="2432" y="127"/>
                </a:lnTo>
                <a:lnTo>
                  <a:pt x="2470" y="111"/>
                </a:lnTo>
                <a:lnTo>
                  <a:pt x="2510" y="98"/>
                </a:lnTo>
                <a:lnTo>
                  <a:pt x="2549" y="84"/>
                </a:lnTo>
                <a:lnTo>
                  <a:pt x="2588" y="71"/>
                </a:lnTo>
                <a:lnTo>
                  <a:pt x="2628" y="60"/>
                </a:lnTo>
                <a:lnTo>
                  <a:pt x="2668" y="50"/>
                </a:lnTo>
                <a:lnTo>
                  <a:pt x="2709" y="40"/>
                </a:lnTo>
                <a:lnTo>
                  <a:pt x="2750" y="32"/>
                </a:lnTo>
                <a:lnTo>
                  <a:pt x="2791" y="24"/>
                </a:lnTo>
                <a:lnTo>
                  <a:pt x="2833" y="18"/>
                </a:lnTo>
                <a:lnTo>
                  <a:pt x="2876" y="13"/>
                </a:lnTo>
                <a:lnTo>
                  <a:pt x="2918" y="7"/>
                </a:lnTo>
                <a:lnTo>
                  <a:pt x="2962" y="4"/>
                </a:lnTo>
                <a:lnTo>
                  <a:pt x="3005" y="2"/>
                </a:lnTo>
                <a:lnTo>
                  <a:pt x="3049" y="1"/>
                </a:lnTo>
                <a:lnTo>
                  <a:pt x="3094" y="0"/>
                </a:lnTo>
                <a:lnTo>
                  <a:pt x="3138" y="1"/>
                </a:lnTo>
                <a:lnTo>
                  <a:pt x="3183" y="2"/>
                </a:lnTo>
                <a:lnTo>
                  <a:pt x="3226" y="4"/>
                </a:lnTo>
                <a:lnTo>
                  <a:pt x="3270" y="7"/>
                </a:lnTo>
                <a:lnTo>
                  <a:pt x="3312" y="13"/>
                </a:lnTo>
                <a:lnTo>
                  <a:pt x="3356" y="18"/>
                </a:lnTo>
                <a:lnTo>
                  <a:pt x="3397" y="24"/>
                </a:lnTo>
                <a:lnTo>
                  <a:pt x="3440" y="32"/>
                </a:lnTo>
                <a:lnTo>
                  <a:pt x="3481" y="40"/>
                </a:lnTo>
                <a:lnTo>
                  <a:pt x="3521" y="50"/>
                </a:lnTo>
                <a:lnTo>
                  <a:pt x="3563" y="60"/>
                </a:lnTo>
                <a:lnTo>
                  <a:pt x="3602" y="71"/>
                </a:lnTo>
                <a:lnTo>
                  <a:pt x="3643" y="84"/>
                </a:lnTo>
                <a:lnTo>
                  <a:pt x="3682" y="98"/>
                </a:lnTo>
                <a:lnTo>
                  <a:pt x="3721" y="111"/>
                </a:lnTo>
                <a:lnTo>
                  <a:pt x="3759" y="127"/>
                </a:lnTo>
                <a:lnTo>
                  <a:pt x="3798" y="143"/>
                </a:lnTo>
                <a:lnTo>
                  <a:pt x="3835" y="160"/>
                </a:lnTo>
                <a:lnTo>
                  <a:pt x="3873" y="179"/>
                </a:lnTo>
                <a:lnTo>
                  <a:pt x="3909" y="199"/>
                </a:lnTo>
                <a:lnTo>
                  <a:pt x="3946" y="219"/>
                </a:lnTo>
                <a:lnTo>
                  <a:pt x="3982" y="240"/>
                </a:lnTo>
                <a:lnTo>
                  <a:pt x="4017" y="263"/>
                </a:lnTo>
                <a:lnTo>
                  <a:pt x="4053" y="287"/>
                </a:lnTo>
                <a:lnTo>
                  <a:pt x="4088" y="311"/>
                </a:lnTo>
                <a:lnTo>
                  <a:pt x="4122" y="336"/>
                </a:lnTo>
                <a:lnTo>
                  <a:pt x="4156" y="362"/>
                </a:lnTo>
                <a:lnTo>
                  <a:pt x="4190" y="390"/>
                </a:lnTo>
                <a:lnTo>
                  <a:pt x="4223" y="419"/>
                </a:lnTo>
                <a:lnTo>
                  <a:pt x="4256" y="448"/>
                </a:lnTo>
                <a:lnTo>
                  <a:pt x="4289" y="478"/>
                </a:lnTo>
                <a:lnTo>
                  <a:pt x="4321" y="510"/>
                </a:lnTo>
                <a:lnTo>
                  <a:pt x="4353" y="542"/>
                </a:lnTo>
                <a:lnTo>
                  <a:pt x="4383" y="574"/>
                </a:lnTo>
                <a:lnTo>
                  <a:pt x="4412" y="607"/>
                </a:lnTo>
                <a:lnTo>
                  <a:pt x="4440" y="640"/>
                </a:lnTo>
                <a:lnTo>
                  <a:pt x="4467" y="674"/>
                </a:lnTo>
                <a:lnTo>
                  <a:pt x="4493" y="708"/>
                </a:lnTo>
                <a:lnTo>
                  <a:pt x="4518" y="742"/>
                </a:lnTo>
                <a:lnTo>
                  <a:pt x="4543" y="776"/>
                </a:lnTo>
                <a:lnTo>
                  <a:pt x="4566" y="811"/>
                </a:lnTo>
                <a:lnTo>
                  <a:pt x="4588" y="847"/>
                </a:lnTo>
                <a:lnTo>
                  <a:pt x="4610" y="883"/>
                </a:lnTo>
                <a:lnTo>
                  <a:pt x="4630" y="919"/>
                </a:lnTo>
                <a:lnTo>
                  <a:pt x="4649" y="955"/>
                </a:lnTo>
                <a:lnTo>
                  <a:pt x="4667" y="993"/>
                </a:lnTo>
                <a:lnTo>
                  <a:pt x="4685" y="1030"/>
                </a:lnTo>
                <a:lnTo>
                  <a:pt x="4701" y="1068"/>
                </a:lnTo>
                <a:lnTo>
                  <a:pt x="4716" y="1106"/>
                </a:lnTo>
                <a:lnTo>
                  <a:pt x="4731" y="1145"/>
                </a:lnTo>
                <a:lnTo>
                  <a:pt x="4745" y="1184"/>
                </a:lnTo>
                <a:lnTo>
                  <a:pt x="4756" y="1223"/>
                </a:lnTo>
                <a:lnTo>
                  <a:pt x="4768" y="1264"/>
                </a:lnTo>
                <a:lnTo>
                  <a:pt x="4779" y="1304"/>
                </a:lnTo>
                <a:lnTo>
                  <a:pt x="4788" y="1345"/>
                </a:lnTo>
                <a:lnTo>
                  <a:pt x="4797" y="1386"/>
                </a:lnTo>
                <a:lnTo>
                  <a:pt x="4803" y="1427"/>
                </a:lnTo>
                <a:lnTo>
                  <a:pt x="4810" y="1469"/>
                </a:lnTo>
                <a:lnTo>
                  <a:pt x="4816" y="1511"/>
                </a:lnTo>
                <a:lnTo>
                  <a:pt x="4820" y="1555"/>
                </a:lnTo>
                <a:lnTo>
                  <a:pt x="4823" y="1598"/>
                </a:lnTo>
                <a:lnTo>
                  <a:pt x="4825" y="1641"/>
                </a:lnTo>
                <a:lnTo>
                  <a:pt x="4827" y="1686"/>
                </a:lnTo>
                <a:lnTo>
                  <a:pt x="4827" y="1729"/>
                </a:lnTo>
                <a:lnTo>
                  <a:pt x="4827" y="1768"/>
                </a:lnTo>
                <a:lnTo>
                  <a:pt x="4826" y="1806"/>
                </a:lnTo>
                <a:lnTo>
                  <a:pt x="4824" y="1843"/>
                </a:lnTo>
                <a:lnTo>
                  <a:pt x="4822" y="1880"/>
                </a:lnTo>
                <a:lnTo>
                  <a:pt x="4818" y="1917"/>
                </a:lnTo>
                <a:lnTo>
                  <a:pt x="4814" y="1954"/>
                </a:lnTo>
                <a:lnTo>
                  <a:pt x="4808" y="1990"/>
                </a:lnTo>
                <a:lnTo>
                  <a:pt x="4803" y="2027"/>
                </a:lnTo>
                <a:lnTo>
                  <a:pt x="4797" y="2062"/>
                </a:lnTo>
                <a:lnTo>
                  <a:pt x="4789" y="2098"/>
                </a:lnTo>
                <a:lnTo>
                  <a:pt x="4781" y="2134"/>
                </a:lnTo>
                <a:lnTo>
                  <a:pt x="4772" y="2169"/>
                </a:lnTo>
                <a:lnTo>
                  <a:pt x="4763" y="2204"/>
                </a:lnTo>
                <a:lnTo>
                  <a:pt x="4752" y="2240"/>
                </a:lnTo>
                <a:lnTo>
                  <a:pt x="4740" y="2274"/>
                </a:lnTo>
                <a:lnTo>
                  <a:pt x="4729" y="2308"/>
                </a:lnTo>
                <a:lnTo>
                  <a:pt x="4716" y="2342"/>
                </a:lnTo>
                <a:lnTo>
                  <a:pt x="4702" y="2376"/>
                </a:lnTo>
                <a:lnTo>
                  <a:pt x="4688" y="2410"/>
                </a:lnTo>
                <a:lnTo>
                  <a:pt x="4673" y="2443"/>
                </a:lnTo>
                <a:lnTo>
                  <a:pt x="4657" y="2476"/>
                </a:lnTo>
                <a:lnTo>
                  <a:pt x="4641" y="2508"/>
                </a:lnTo>
                <a:lnTo>
                  <a:pt x="4624" y="2541"/>
                </a:lnTo>
                <a:lnTo>
                  <a:pt x="4605" y="2573"/>
                </a:lnTo>
                <a:lnTo>
                  <a:pt x="4586" y="2606"/>
                </a:lnTo>
                <a:lnTo>
                  <a:pt x="4566" y="2638"/>
                </a:lnTo>
                <a:lnTo>
                  <a:pt x="4546" y="2669"/>
                </a:lnTo>
                <a:lnTo>
                  <a:pt x="4525" y="2701"/>
                </a:lnTo>
                <a:lnTo>
                  <a:pt x="4502" y="2732"/>
                </a:lnTo>
                <a:lnTo>
                  <a:pt x="4480" y="2763"/>
                </a:lnTo>
                <a:lnTo>
                  <a:pt x="4456" y="2793"/>
                </a:lnTo>
                <a:lnTo>
                  <a:pt x="4431" y="2824"/>
                </a:lnTo>
                <a:lnTo>
                  <a:pt x="4407" y="2853"/>
                </a:lnTo>
                <a:lnTo>
                  <a:pt x="4381" y="2883"/>
                </a:lnTo>
                <a:lnTo>
                  <a:pt x="4356" y="2910"/>
                </a:lnTo>
                <a:lnTo>
                  <a:pt x="4329" y="2938"/>
                </a:lnTo>
                <a:lnTo>
                  <a:pt x="4303" y="2965"/>
                </a:lnTo>
                <a:lnTo>
                  <a:pt x="4276" y="2991"/>
                </a:lnTo>
                <a:lnTo>
                  <a:pt x="4249" y="3017"/>
                </a:lnTo>
                <a:lnTo>
                  <a:pt x="4220" y="3041"/>
                </a:lnTo>
                <a:lnTo>
                  <a:pt x="4192" y="3066"/>
                </a:lnTo>
                <a:lnTo>
                  <a:pt x="4164" y="3089"/>
                </a:lnTo>
                <a:lnTo>
                  <a:pt x="4134" y="3112"/>
                </a:lnTo>
                <a:lnTo>
                  <a:pt x="4105" y="3134"/>
                </a:lnTo>
                <a:lnTo>
                  <a:pt x="4075" y="3155"/>
                </a:lnTo>
                <a:lnTo>
                  <a:pt x="4045" y="3176"/>
                </a:lnTo>
                <a:lnTo>
                  <a:pt x="4014" y="3196"/>
                </a:lnTo>
                <a:lnTo>
                  <a:pt x="3982" y="3215"/>
                </a:lnTo>
                <a:lnTo>
                  <a:pt x="3950" y="3233"/>
                </a:lnTo>
                <a:lnTo>
                  <a:pt x="3919" y="3252"/>
                </a:lnTo>
                <a:lnTo>
                  <a:pt x="3887" y="3269"/>
                </a:lnTo>
                <a:lnTo>
                  <a:pt x="3854" y="3286"/>
                </a:lnTo>
                <a:lnTo>
                  <a:pt x="3820" y="3301"/>
                </a:lnTo>
                <a:lnTo>
                  <a:pt x="3786" y="3316"/>
                </a:lnTo>
                <a:lnTo>
                  <a:pt x="3752" y="3331"/>
                </a:lnTo>
                <a:lnTo>
                  <a:pt x="3718" y="3344"/>
                </a:lnTo>
                <a:lnTo>
                  <a:pt x="3683" y="3358"/>
                </a:lnTo>
                <a:lnTo>
                  <a:pt x="3647" y="3370"/>
                </a:lnTo>
                <a:lnTo>
                  <a:pt x="3611" y="3381"/>
                </a:lnTo>
                <a:lnTo>
                  <a:pt x="3575" y="3393"/>
                </a:lnTo>
                <a:lnTo>
                  <a:pt x="3538" y="3402"/>
                </a:lnTo>
                <a:lnTo>
                  <a:pt x="3500" y="3412"/>
                </a:lnTo>
                <a:lnTo>
                  <a:pt x="3463" y="3421"/>
                </a:lnTo>
                <a:lnTo>
                  <a:pt x="3425" y="3429"/>
                </a:lnTo>
                <a:lnTo>
                  <a:pt x="3438" y="3443"/>
                </a:lnTo>
                <a:lnTo>
                  <a:pt x="3449" y="3456"/>
                </a:lnTo>
                <a:lnTo>
                  <a:pt x="3459" y="3468"/>
                </a:lnTo>
                <a:lnTo>
                  <a:pt x="3466" y="3480"/>
                </a:lnTo>
                <a:lnTo>
                  <a:pt x="3473" y="3491"/>
                </a:lnTo>
                <a:lnTo>
                  <a:pt x="3477" y="3501"/>
                </a:lnTo>
                <a:lnTo>
                  <a:pt x="3479" y="3512"/>
                </a:lnTo>
                <a:lnTo>
                  <a:pt x="3480" y="3522"/>
                </a:lnTo>
                <a:close/>
              </a:path>
            </a:pathLst>
          </a:custGeom>
          <a:solidFill>
            <a:schemeClr val="bg1">
              <a:lumMod val="85000"/>
            </a:schemeClr>
          </a:solidFill>
          <a:ln w="9525">
            <a:noFill/>
            <a:round/>
            <a:headEnd/>
            <a:tailEnd/>
          </a:ln>
        </p:spPr>
        <p:txBody>
          <a:bodyPr/>
          <a:lstStyle>
            <a:defPPr>
              <a:defRPr lang="en-US"/>
            </a:defPPr>
            <a:lvl1pPr marL="0" algn="l" defTabSz="1018824" rtl="0" eaLnBrk="1" latinLnBrk="0" hangingPunct="1">
              <a:defRPr sz="2000" kern="1200">
                <a:solidFill>
                  <a:schemeClr val="tx1"/>
                </a:solidFill>
                <a:latin typeface="+mn-lt"/>
                <a:ea typeface="+mn-ea"/>
                <a:cs typeface="+mn-cs"/>
              </a:defRPr>
            </a:lvl1pPr>
            <a:lvl2pPr marL="509412" algn="l" defTabSz="1018824" rtl="0" eaLnBrk="1" latinLnBrk="0" hangingPunct="1">
              <a:defRPr sz="2000" kern="1200">
                <a:solidFill>
                  <a:schemeClr val="tx1"/>
                </a:solidFill>
                <a:latin typeface="+mn-lt"/>
                <a:ea typeface="+mn-ea"/>
                <a:cs typeface="+mn-cs"/>
              </a:defRPr>
            </a:lvl2pPr>
            <a:lvl3pPr marL="1018824" algn="l" defTabSz="1018824" rtl="0" eaLnBrk="1" latinLnBrk="0" hangingPunct="1">
              <a:defRPr sz="2000" kern="1200">
                <a:solidFill>
                  <a:schemeClr val="tx1"/>
                </a:solidFill>
                <a:latin typeface="+mn-lt"/>
                <a:ea typeface="+mn-ea"/>
                <a:cs typeface="+mn-cs"/>
              </a:defRPr>
            </a:lvl3pPr>
            <a:lvl4pPr marL="1528237" algn="l" defTabSz="1018824" rtl="0" eaLnBrk="1" latinLnBrk="0" hangingPunct="1">
              <a:defRPr sz="2000" kern="1200">
                <a:solidFill>
                  <a:schemeClr val="tx1"/>
                </a:solidFill>
                <a:latin typeface="+mn-lt"/>
                <a:ea typeface="+mn-ea"/>
                <a:cs typeface="+mn-cs"/>
              </a:defRPr>
            </a:lvl4pPr>
            <a:lvl5pPr marL="2037649" algn="l" defTabSz="1018824" rtl="0" eaLnBrk="1" latinLnBrk="0" hangingPunct="1">
              <a:defRPr sz="2000" kern="1200">
                <a:solidFill>
                  <a:schemeClr val="tx1"/>
                </a:solidFill>
                <a:latin typeface="+mn-lt"/>
                <a:ea typeface="+mn-ea"/>
                <a:cs typeface="+mn-cs"/>
              </a:defRPr>
            </a:lvl5pPr>
            <a:lvl6pPr marL="2547061" algn="l" defTabSz="1018824" rtl="0" eaLnBrk="1" latinLnBrk="0" hangingPunct="1">
              <a:defRPr sz="2000" kern="1200">
                <a:solidFill>
                  <a:schemeClr val="tx1"/>
                </a:solidFill>
                <a:latin typeface="+mn-lt"/>
                <a:ea typeface="+mn-ea"/>
                <a:cs typeface="+mn-cs"/>
              </a:defRPr>
            </a:lvl6pPr>
            <a:lvl7pPr marL="3056473" algn="l" defTabSz="1018824" rtl="0" eaLnBrk="1" latinLnBrk="0" hangingPunct="1">
              <a:defRPr sz="2000" kern="1200">
                <a:solidFill>
                  <a:schemeClr val="tx1"/>
                </a:solidFill>
                <a:latin typeface="+mn-lt"/>
                <a:ea typeface="+mn-ea"/>
                <a:cs typeface="+mn-cs"/>
              </a:defRPr>
            </a:lvl7pPr>
            <a:lvl8pPr marL="3565886" algn="l" defTabSz="1018824" rtl="0" eaLnBrk="1" latinLnBrk="0" hangingPunct="1">
              <a:defRPr sz="2000" kern="1200">
                <a:solidFill>
                  <a:schemeClr val="tx1"/>
                </a:solidFill>
                <a:latin typeface="+mn-lt"/>
                <a:ea typeface="+mn-ea"/>
                <a:cs typeface="+mn-cs"/>
              </a:defRPr>
            </a:lvl8pPr>
            <a:lvl9pPr marL="4075298" algn="l" defTabSz="1018824" rtl="0" eaLnBrk="1" latinLnBrk="0" hangingPunct="1">
              <a:defRPr sz="2000" kern="1200">
                <a:solidFill>
                  <a:schemeClr val="tx1"/>
                </a:solidFill>
                <a:latin typeface="+mn-lt"/>
                <a:ea typeface="+mn-ea"/>
                <a:cs typeface="+mn-cs"/>
              </a:defRPr>
            </a:lvl9pPr>
          </a:lstStyle>
          <a:p>
            <a:pPr marL="0" marR="0" lvl="0" indent="0" algn="l" defTabSz="1018824" rtl="0" eaLnBrk="1" fontAlgn="auto" latinLnBrk="0" hangingPunct="1">
              <a:lnSpc>
                <a:spcPct val="100000"/>
              </a:lnSpc>
              <a:spcBef>
                <a:spcPts val="0"/>
              </a:spcBef>
              <a:spcAft>
                <a:spcPts val="0"/>
              </a:spcAft>
              <a:buClrTx/>
              <a:buSzTx/>
              <a:buFontTx/>
              <a:buNone/>
              <a:tabLst/>
              <a:defRPr/>
            </a:pPr>
            <a:endParaRPr kumimoji="0" lang="en-GB" sz="1589"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 name="Freeform 30">
            <a:extLst>
              <a:ext uri="{FF2B5EF4-FFF2-40B4-BE49-F238E27FC236}">
                <a16:creationId xmlns:a16="http://schemas.microsoft.com/office/drawing/2014/main" id="{85F5028A-62B3-4C16-AE29-9A7A43F1A740}"/>
              </a:ext>
            </a:extLst>
          </p:cNvPr>
          <p:cNvSpPr>
            <a:spLocks/>
          </p:cNvSpPr>
          <p:nvPr/>
        </p:nvSpPr>
        <p:spPr bwMode="auto">
          <a:xfrm>
            <a:off x="5751508" y="2374602"/>
            <a:ext cx="197037" cy="470851"/>
          </a:xfrm>
          <a:custGeom>
            <a:avLst/>
            <a:gdLst>
              <a:gd name="T0" fmla="*/ 13344091 w 6132"/>
              <a:gd name="T1" fmla="*/ 10441401 h 16980"/>
              <a:gd name="T2" fmla="*/ 14439013 w 6132"/>
              <a:gd name="T3" fmla="*/ 10808942 h 16980"/>
              <a:gd name="T4" fmla="*/ 15478309 w 6132"/>
              <a:gd name="T5" fmla="*/ 11467619 h 16980"/>
              <a:gd name="T6" fmla="*/ 16450295 w 6132"/>
              <a:gd name="T7" fmla="*/ 12408541 h 16980"/>
              <a:gd name="T8" fmla="*/ 17214401 w 6132"/>
              <a:gd name="T9" fmla="*/ 13481773 h 16980"/>
              <a:gd name="T10" fmla="*/ 17709159 w 6132"/>
              <a:gd name="T11" fmla="*/ 14605004 h 16980"/>
              <a:gd name="T12" fmla="*/ 17937493 w 6132"/>
              <a:gd name="T13" fmla="*/ 15789994 h 16980"/>
              <a:gd name="T14" fmla="*/ 17922884 w 6132"/>
              <a:gd name="T15" fmla="*/ 28795453 h 16980"/>
              <a:gd name="T16" fmla="*/ 17720901 w 6132"/>
              <a:gd name="T17" fmla="*/ 29724608 h 16980"/>
              <a:gd name="T18" fmla="*/ 17322724 w 6132"/>
              <a:gd name="T19" fmla="*/ 30571448 h 16980"/>
              <a:gd name="T20" fmla="*/ 16731329 w 6132"/>
              <a:gd name="T21" fmla="*/ 31344758 h 16980"/>
              <a:gd name="T22" fmla="*/ 15970146 w 6132"/>
              <a:gd name="T23" fmla="*/ 32000508 h 16980"/>
              <a:gd name="T24" fmla="*/ 15062602 w 6132"/>
              <a:gd name="T25" fmla="*/ 32509198 h 16980"/>
              <a:gd name="T26" fmla="*/ 14014483 w 6132"/>
              <a:gd name="T27" fmla="*/ 32867899 h 16980"/>
              <a:gd name="T28" fmla="*/ 4168927 w 6132"/>
              <a:gd name="T29" fmla="*/ 32935519 h 16980"/>
              <a:gd name="T30" fmla="*/ 3003722 w 6132"/>
              <a:gd name="T31" fmla="*/ 32515054 h 16980"/>
              <a:gd name="T32" fmla="*/ 2104943 w 6132"/>
              <a:gd name="T33" fmla="*/ 32053432 h 16980"/>
              <a:gd name="T34" fmla="*/ 1334994 w 6132"/>
              <a:gd name="T35" fmla="*/ 31503585 h 16980"/>
              <a:gd name="T36" fmla="*/ 723146 w 6132"/>
              <a:gd name="T37" fmla="*/ 30883136 h 16980"/>
              <a:gd name="T38" fmla="*/ 295697 w 6132"/>
              <a:gd name="T39" fmla="*/ 30230369 h 16980"/>
              <a:gd name="T40" fmla="*/ 55622 w 6132"/>
              <a:gd name="T41" fmla="*/ 29542302 h 16980"/>
              <a:gd name="T42" fmla="*/ 2922 w 6132"/>
              <a:gd name="T43" fmla="*/ 16034064 h 16980"/>
              <a:gd name="T44" fmla="*/ 166867 w 6132"/>
              <a:gd name="T45" fmla="*/ 14637376 h 16980"/>
              <a:gd name="T46" fmla="*/ 608925 w 6132"/>
              <a:gd name="T47" fmla="*/ 13408297 h 16980"/>
              <a:gd name="T48" fmla="*/ 1326228 w 6132"/>
              <a:gd name="T49" fmla="*/ 12352689 h 16980"/>
              <a:gd name="T50" fmla="*/ 2309902 w 6132"/>
              <a:gd name="T51" fmla="*/ 11479386 h 16980"/>
              <a:gd name="T52" fmla="*/ 3495559 w 6132"/>
              <a:gd name="T53" fmla="*/ 10853081 h 16980"/>
              <a:gd name="T54" fmla="*/ 4889097 w 6132"/>
              <a:gd name="T55" fmla="*/ 10479630 h 16980"/>
              <a:gd name="T56" fmla="*/ 6475906 w 6132"/>
              <a:gd name="T57" fmla="*/ 10356104 h 16980"/>
              <a:gd name="T58" fmla="*/ 6768627 w 6132"/>
              <a:gd name="T59" fmla="*/ 10332625 h 16980"/>
              <a:gd name="T60" fmla="*/ 7661564 w 6132"/>
              <a:gd name="T61" fmla="*/ 10323786 h 16980"/>
              <a:gd name="T62" fmla="*/ 7863602 w 6132"/>
              <a:gd name="T63" fmla="*/ 10085627 h 16980"/>
              <a:gd name="T64" fmla="*/ 7032131 w 6132"/>
              <a:gd name="T65" fmla="*/ 9768029 h 16980"/>
              <a:gd name="T66" fmla="*/ 6197794 w 6132"/>
              <a:gd name="T67" fmla="*/ 9285801 h 16980"/>
              <a:gd name="T68" fmla="*/ 5471726 w 6132"/>
              <a:gd name="T69" fmla="*/ 8674191 h 16980"/>
              <a:gd name="T70" fmla="*/ 4859825 w 6132"/>
              <a:gd name="T71" fmla="*/ 7936181 h 16980"/>
              <a:gd name="T72" fmla="*/ 4409002 w 6132"/>
              <a:gd name="T73" fmla="*/ 7115803 h 16980"/>
              <a:gd name="T74" fmla="*/ 4122070 w 6132"/>
              <a:gd name="T75" fmla="*/ 6242499 h 16980"/>
              <a:gd name="T76" fmla="*/ 4002059 w 6132"/>
              <a:gd name="T77" fmla="*/ 5304506 h 16980"/>
              <a:gd name="T78" fmla="*/ 4069369 w 6132"/>
              <a:gd name="T79" fmla="*/ 4195974 h 16980"/>
              <a:gd name="T80" fmla="*/ 4370910 w 6132"/>
              <a:gd name="T81" fmla="*/ 3140364 h 16980"/>
              <a:gd name="T82" fmla="*/ 4906682 w 6132"/>
              <a:gd name="T83" fmla="*/ 2181765 h 16980"/>
              <a:gd name="T84" fmla="*/ 5679553 w 6132"/>
              <a:gd name="T85" fmla="*/ 1317301 h 16980"/>
              <a:gd name="T86" fmla="*/ 6578332 w 6132"/>
              <a:gd name="T87" fmla="*/ 643928 h 16980"/>
              <a:gd name="T88" fmla="*/ 7576670 w 6132"/>
              <a:gd name="T89" fmla="*/ 208768 h 16980"/>
              <a:gd name="T90" fmla="*/ 8671588 w 6132"/>
              <a:gd name="T91" fmla="*/ 11767 h 16980"/>
              <a:gd name="T92" fmla="*/ 9825105 w 6132"/>
              <a:gd name="T93" fmla="*/ 52924 h 16980"/>
              <a:gd name="T94" fmla="*/ 10893673 w 6132"/>
              <a:gd name="T95" fmla="*/ 326384 h 16980"/>
              <a:gd name="T96" fmla="*/ 11865659 w 6132"/>
              <a:gd name="T97" fmla="*/ 843912 h 16980"/>
              <a:gd name="T98" fmla="*/ 12743931 w 6132"/>
              <a:gd name="T99" fmla="*/ 1593689 h 16980"/>
              <a:gd name="T100" fmla="*/ 13431908 w 6132"/>
              <a:gd name="T101" fmla="*/ 2490525 h 16980"/>
              <a:gd name="T102" fmla="*/ 13891551 w 6132"/>
              <a:gd name="T103" fmla="*/ 3481443 h 16980"/>
              <a:gd name="T104" fmla="*/ 14111119 w 6132"/>
              <a:gd name="T105" fmla="*/ 4572353 h 16980"/>
              <a:gd name="T106" fmla="*/ 14105275 w 6132"/>
              <a:gd name="T107" fmla="*/ 5636746 h 16980"/>
              <a:gd name="T108" fmla="*/ 13912057 w 6132"/>
              <a:gd name="T109" fmla="*/ 6586506 h 16980"/>
              <a:gd name="T110" fmla="*/ 13537309 w 6132"/>
              <a:gd name="T111" fmla="*/ 7471577 h 16980"/>
              <a:gd name="T112" fmla="*/ 12972265 w 6132"/>
              <a:gd name="T113" fmla="*/ 8303722 h 16980"/>
              <a:gd name="T114" fmla="*/ 12272601 w 6132"/>
              <a:gd name="T115" fmla="*/ 9015324 h 16980"/>
              <a:gd name="T116" fmla="*/ 11473326 w 6132"/>
              <a:gd name="T117" fmla="*/ 9562188 h 16980"/>
              <a:gd name="T118" fmla="*/ 10571626 w 6132"/>
              <a:gd name="T119" fmla="*/ 9941550 h 16980"/>
              <a:gd name="T120" fmla="*/ 10147098 w 6132"/>
              <a:gd name="T121" fmla="*/ 10232633 h 1698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6132"/>
              <a:gd name="T184" fmla="*/ 0 h 16980"/>
              <a:gd name="T185" fmla="*/ 6132 w 6132"/>
              <a:gd name="T186" fmla="*/ 16980 h 16980"/>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6132" h="16980">
                <a:moveTo>
                  <a:pt x="3480" y="3522"/>
                </a:moveTo>
                <a:lnTo>
                  <a:pt x="4254" y="3522"/>
                </a:lnTo>
                <a:lnTo>
                  <a:pt x="4298" y="3522"/>
                </a:lnTo>
                <a:lnTo>
                  <a:pt x="4342" y="3524"/>
                </a:lnTo>
                <a:lnTo>
                  <a:pt x="4386" y="3527"/>
                </a:lnTo>
                <a:lnTo>
                  <a:pt x="4429" y="3531"/>
                </a:lnTo>
                <a:lnTo>
                  <a:pt x="4473" y="3536"/>
                </a:lnTo>
                <a:lnTo>
                  <a:pt x="4515" y="3543"/>
                </a:lnTo>
                <a:lnTo>
                  <a:pt x="4558" y="3551"/>
                </a:lnTo>
                <a:lnTo>
                  <a:pt x="4601" y="3560"/>
                </a:lnTo>
                <a:lnTo>
                  <a:pt x="4643" y="3570"/>
                </a:lnTo>
                <a:lnTo>
                  <a:pt x="4685" y="3582"/>
                </a:lnTo>
                <a:lnTo>
                  <a:pt x="4727" y="3595"/>
                </a:lnTo>
                <a:lnTo>
                  <a:pt x="4769" y="3609"/>
                </a:lnTo>
                <a:lnTo>
                  <a:pt x="4809" y="3624"/>
                </a:lnTo>
                <a:lnTo>
                  <a:pt x="4851" y="3640"/>
                </a:lnTo>
                <a:lnTo>
                  <a:pt x="4892" y="3658"/>
                </a:lnTo>
                <a:lnTo>
                  <a:pt x="4932" y="3676"/>
                </a:lnTo>
                <a:lnTo>
                  <a:pt x="4973" y="3696"/>
                </a:lnTo>
                <a:lnTo>
                  <a:pt x="5013" y="3717"/>
                </a:lnTo>
                <a:lnTo>
                  <a:pt x="5052" y="3739"/>
                </a:lnTo>
                <a:lnTo>
                  <a:pt x="5093" y="3763"/>
                </a:lnTo>
                <a:lnTo>
                  <a:pt x="5132" y="3788"/>
                </a:lnTo>
                <a:lnTo>
                  <a:pt x="5171" y="3814"/>
                </a:lnTo>
                <a:lnTo>
                  <a:pt x="5210" y="3842"/>
                </a:lnTo>
                <a:lnTo>
                  <a:pt x="5249" y="3870"/>
                </a:lnTo>
                <a:lnTo>
                  <a:pt x="5287" y="3900"/>
                </a:lnTo>
                <a:lnTo>
                  <a:pt x="5325" y="3931"/>
                </a:lnTo>
                <a:lnTo>
                  <a:pt x="5364" y="3963"/>
                </a:lnTo>
                <a:lnTo>
                  <a:pt x="5401" y="3997"/>
                </a:lnTo>
                <a:lnTo>
                  <a:pt x="5438" y="4031"/>
                </a:lnTo>
                <a:lnTo>
                  <a:pt x="5475" y="4067"/>
                </a:lnTo>
                <a:lnTo>
                  <a:pt x="5512" y="4104"/>
                </a:lnTo>
                <a:lnTo>
                  <a:pt x="5549" y="4142"/>
                </a:lnTo>
                <a:lnTo>
                  <a:pt x="5584" y="4181"/>
                </a:lnTo>
                <a:lnTo>
                  <a:pt x="5619" y="4220"/>
                </a:lnTo>
                <a:lnTo>
                  <a:pt x="5652" y="4260"/>
                </a:lnTo>
                <a:lnTo>
                  <a:pt x="5685" y="4300"/>
                </a:lnTo>
                <a:lnTo>
                  <a:pt x="5716" y="4339"/>
                </a:lnTo>
                <a:lnTo>
                  <a:pt x="5747" y="4379"/>
                </a:lnTo>
                <a:lnTo>
                  <a:pt x="5775" y="4420"/>
                </a:lnTo>
                <a:lnTo>
                  <a:pt x="5803" y="4460"/>
                </a:lnTo>
                <a:lnTo>
                  <a:pt x="5830" y="4502"/>
                </a:lnTo>
                <a:lnTo>
                  <a:pt x="5855" y="4543"/>
                </a:lnTo>
                <a:lnTo>
                  <a:pt x="5880" y="4585"/>
                </a:lnTo>
                <a:lnTo>
                  <a:pt x="5904" y="4626"/>
                </a:lnTo>
                <a:lnTo>
                  <a:pt x="5925" y="4667"/>
                </a:lnTo>
                <a:lnTo>
                  <a:pt x="5946" y="4710"/>
                </a:lnTo>
                <a:lnTo>
                  <a:pt x="5967" y="4752"/>
                </a:lnTo>
                <a:lnTo>
                  <a:pt x="5986" y="4795"/>
                </a:lnTo>
                <a:lnTo>
                  <a:pt x="6004" y="4838"/>
                </a:lnTo>
                <a:lnTo>
                  <a:pt x="6020" y="4880"/>
                </a:lnTo>
                <a:lnTo>
                  <a:pt x="6036" y="4924"/>
                </a:lnTo>
                <a:lnTo>
                  <a:pt x="6049" y="4967"/>
                </a:lnTo>
                <a:lnTo>
                  <a:pt x="6063" y="5011"/>
                </a:lnTo>
                <a:lnTo>
                  <a:pt x="6075" y="5055"/>
                </a:lnTo>
                <a:lnTo>
                  <a:pt x="6085" y="5100"/>
                </a:lnTo>
                <a:lnTo>
                  <a:pt x="6095" y="5144"/>
                </a:lnTo>
                <a:lnTo>
                  <a:pt x="6104" y="5189"/>
                </a:lnTo>
                <a:lnTo>
                  <a:pt x="6111" y="5234"/>
                </a:lnTo>
                <a:lnTo>
                  <a:pt x="6117" y="5280"/>
                </a:lnTo>
                <a:lnTo>
                  <a:pt x="6123" y="5324"/>
                </a:lnTo>
                <a:lnTo>
                  <a:pt x="6127" y="5370"/>
                </a:lnTo>
                <a:lnTo>
                  <a:pt x="6130" y="5417"/>
                </a:lnTo>
                <a:lnTo>
                  <a:pt x="6131" y="5463"/>
                </a:lnTo>
                <a:lnTo>
                  <a:pt x="6132" y="5509"/>
                </a:lnTo>
                <a:lnTo>
                  <a:pt x="6132" y="9605"/>
                </a:lnTo>
                <a:lnTo>
                  <a:pt x="6132" y="9643"/>
                </a:lnTo>
                <a:lnTo>
                  <a:pt x="6130" y="9682"/>
                </a:lnTo>
                <a:lnTo>
                  <a:pt x="6129" y="9719"/>
                </a:lnTo>
                <a:lnTo>
                  <a:pt x="6126" y="9756"/>
                </a:lnTo>
                <a:lnTo>
                  <a:pt x="6122" y="9793"/>
                </a:lnTo>
                <a:lnTo>
                  <a:pt x="6117" y="9829"/>
                </a:lnTo>
                <a:lnTo>
                  <a:pt x="6112" y="9866"/>
                </a:lnTo>
                <a:lnTo>
                  <a:pt x="6107" y="9901"/>
                </a:lnTo>
                <a:lnTo>
                  <a:pt x="6099" y="9937"/>
                </a:lnTo>
                <a:lnTo>
                  <a:pt x="6092" y="9972"/>
                </a:lnTo>
                <a:lnTo>
                  <a:pt x="6083" y="10007"/>
                </a:lnTo>
                <a:lnTo>
                  <a:pt x="6074" y="10041"/>
                </a:lnTo>
                <a:lnTo>
                  <a:pt x="6063" y="10075"/>
                </a:lnTo>
                <a:lnTo>
                  <a:pt x="6053" y="10109"/>
                </a:lnTo>
                <a:lnTo>
                  <a:pt x="6041" y="10142"/>
                </a:lnTo>
                <a:lnTo>
                  <a:pt x="6028" y="10175"/>
                </a:lnTo>
                <a:lnTo>
                  <a:pt x="6014" y="10208"/>
                </a:lnTo>
                <a:lnTo>
                  <a:pt x="6001" y="10241"/>
                </a:lnTo>
                <a:lnTo>
                  <a:pt x="5986" y="10273"/>
                </a:lnTo>
                <a:lnTo>
                  <a:pt x="5970" y="10305"/>
                </a:lnTo>
                <a:lnTo>
                  <a:pt x="5953" y="10335"/>
                </a:lnTo>
                <a:lnTo>
                  <a:pt x="5935" y="10366"/>
                </a:lnTo>
                <a:lnTo>
                  <a:pt x="5917" y="10397"/>
                </a:lnTo>
                <a:lnTo>
                  <a:pt x="5898" y="10428"/>
                </a:lnTo>
                <a:lnTo>
                  <a:pt x="5877" y="10458"/>
                </a:lnTo>
                <a:lnTo>
                  <a:pt x="5857" y="10487"/>
                </a:lnTo>
                <a:lnTo>
                  <a:pt x="5835" y="10517"/>
                </a:lnTo>
                <a:lnTo>
                  <a:pt x="5813" y="10546"/>
                </a:lnTo>
                <a:lnTo>
                  <a:pt x="5789" y="10575"/>
                </a:lnTo>
                <a:lnTo>
                  <a:pt x="5766" y="10603"/>
                </a:lnTo>
                <a:lnTo>
                  <a:pt x="5740" y="10632"/>
                </a:lnTo>
                <a:lnTo>
                  <a:pt x="5715" y="10660"/>
                </a:lnTo>
                <a:lnTo>
                  <a:pt x="5688" y="10687"/>
                </a:lnTo>
                <a:lnTo>
                  <a:pt x="5661" y="10714"/>
                </a:lnTo>
                <a:lnTo>
                  <a:pt x="5633" y="10739"/>
                </a:lnTo>
                <a:lnTo>
                  <a:pt x="5606" y="10765"/>
                </a:lnTo>
                <a:lnTo>
                  <a:pt x="5576" y="10790"/>
                </a:lnTo>
                <a:lnTo>
                  <a:pt x="5546" y="10814"/>
                </a:lnTo>
                <a:lnTo>
                  <a:pt x="5516" y="10838"/>
                </a:lnTo>
                <a:lnTo>
                  <a:pt x="5486" y="10860"/>
                </a:lnTo>
                <a:lnTo>
                  <a:pt x="5455" y="10883"/>
                </a:lnTo>
                <a:lnTo>
                  <a:pt x="5422" y="10905"/>
                </a:lnTo>
                <a:lnTo>
                  <a:pt x="5390" y="10925"/>
                </a:lnTo>
                <a:lnTo>
                  <a:pt x="5357" y="10947"/>
                </a:lnTo>
                <a:lnTo>
                  <a:pt x="5323" y="10966"/>
                </a:lnTo>
                <a:lnTo>
                  <a:pt x="5288" y="10985"/>
                </a:lnTo>
                <a:lnTo>
                  <a:pt x="5253" y="11004"/>
                </a:lnTo>
                <a:lnTo>
                  <a:pt x="5218" y="11022"/>
                </a:lnTo>
                <a:lnTo>
                  <a:pt x="5182" y="11039"/>
                </a:lnTo>
                <a:lnTo>
                  <a:pt x="5145" y="11056"/>
                </a:lnTo>
                <a:lnTo>
                  <a:pt x="5108" y="11072"/>
                </a:lnTo>
                <a:lnTo>
                  <a:pt x="5069" y="11087"/>
                </a:lnTo>
                <a:lnTo>
                  <a:pt x="5031" y="11102"/>
                </a:lnTo>
                <a:lnTo>
                  <a:pt x="4992" y="11117"/>
                </a:lnTo>
                <a:lnTo>
                  <a:pt x="4952" y="11130"/>
                </a:lnTo>
                <a:lnTo>
                  <a:pt x="4911" y="11143"/>
                </a:lnTo>
                <a:lnTo>
                  <a:pt x="4871" y="11155"/>
                </a:lnTo>
                <a:lnTo>
                  <a:pt x="4828" y="11167"/>
                </a:lnTo>
                <a:lnTo>
                  <a:pt x="4787" y="11178"/>
                </a:lnTo>
                <a:lnTo>
                  <a:pt x="4743" y="11189"/>
                </a:lnTo>
                <a:lnTo>
                  <a:pt x="4701" y="11199"/>
                </a:lnTo>
                <a:lnTo>
                  <a:pt x="4656" y="11208"/>
                </a:lnTo>
                <a:lnTo>
                  <a:pt x="4612" y="11217"/>
                </a:lnTo>
                <a:lnTo>
                  <a:pt x="4567" y="11225"/>
                </a:lnTo>
                <a:lnTo>
                  <a:pt x="4567" y="16980"/>
                </a:lnTo>
                <a:lnTo>
                  <a:pt x="1510" y="16980"/>
                </a:lnTo>
                <a:lnTo>
                  <a:pt x="1510" y="11225"/>
                </a:lnTo>
                <a:lnTo>
                  <a:pt x="1424" y="11201"/>
                </a:lnTo>
                <a:lnTo>
                  <a:pt x="1340" y="11175"/>
                </a:lnTo>
                <a:lnTo>
                  <a:pt x="1298" y="11161"/>
                </a:lnTo>
                <a:lnTo>
                  <a:pt x="1258" y="11148"/>
                </a:lnTo>
                <a:lnTo>
                  <a:pt x="1218" y="11134"/>
                </a:lnTo>
                <a:lnTo>
                  <a:pt x="1178" y="11120"/>
                </a:lnTo>
                <a:lnTo>
                  <a:pt x="1139" y="11105"/>
                </a:lnTo>
                <a:lnTo>
                  <a:pt x="1101" y="11089"/>
                </a:lnTo>
                <a:lnTo>
                  <a:pt x="1064" y="11074"/>
                </a:lnTo>
                <a:lnTo>
                  <a:pt x="1026" y="11058"/>
                </a:lnTo>
                <a:lnTo>
                  <a:pt x="990" y="11042"/>
                </a:lnTo>
                <a:lnTo>
                  <a:pt x="954" y="11025"/>
                </a:lnTo>
                <a:lnTo>
                  <a:pt x="918" y="11009"/>
                </a:lnTo>
                <a:lnTo>
                  <a:pt x="884" y="10991"/>
                </a:lnTo>
                <a:lnTo>
                  <a:pt x="849" y="10974"/>
                </a:lnTo>
                <a:lnTo>
                  <a:pt x="816" y="10956"/>
                </a:lnTo>
                <a:lnTo>
                  <a:pt x="782" y="10938"/>
                </a:lnTo>
                <a:lnTo>
                  <a:pt x="750" y="10920"/>
                </a:lnTo>
                <a:lnTo>
                  <a:pt x="719" y="10901"/>
                </a:lnTo>
                <a:lnTo>
                  <a:pt x="687" y="10882"/>
                </a:lnTo>
                <a:lnTo>
                  <a:pt x="656" y="10862"/>
                </a:lnTo>
                <a:lnTo>
                  <a:pt x="626" y="10841"/>
                </a:lnTo>
                <a:lnTo>
                  <a:pt x="596" y="10821"/>
                </a:lnTo>
                <a:lnTo>
                  <a:pt x="567" y="10801"/>
                </a:lnTo>
                <a:lnTo>
                  <a:pt x="539" y="10780"/>
                </a:lnTo>
                <a:lnTo>
                  <a:pt x="510" y="10758"/>
                </a:lnTo>
                <a:lnTo>
                  <a:pt x="484" y="10736"/>
                </a:lnTo>
                <a:lnTo>
                  <a:pt x="456" y="10714"/>
                </a:lnTo>
                <a:lnTo>
                  <a:pt x="431" y="10691"/>
                </a:lnTo>
                <a:lnTo>
                  <a:pt x="405" y="10668"/>
                </a:lnTo>
                <a:lnTo>
                  <a:pt x="380" y="10646"/>
                </a:lnTo>
                <a:lnTo>
                  <a:pt x="355" y="10622"/>
                </a:lnTo>
                <a:lnTo>
                  <a:pt x="332" y="10599"/>
                </a:lnTo>
                <a:lnTo>
                  <a:pt x="310" y="10576"/>
                </a:lnTo>
                <a:lnTo>
                  <a:pt x="289" y="10551"/>
                </a:lnTo>
                <a:lnTo>
                  <a:pt x="267" y="10528"/>
                </a:lnTo>
                <a:lnTo>
                  <a:pt x="247" y="10503"/>
                </a:lnTo>
                <a:lnTo>
                  <a:pt x="228" y="10480"/>
                </a:lnTo>
                <a:lnTo>
                  <a:pt x="209" y="10455"/>
                </a:lnTo>
                <a:lnTo>
                  <a:pt x="191" y="10431"/>
                </a:lnTo>
                <a:lnTo>
                  <a:pt x="174" y="10407"/>
                </a:lnTo>
                <a:lnTo>
                  <a:pt x="158" y="10382"/>
                </a:lnTo>
                <a:lnTo>
                  <a:pt x="142" y="10357"/>
                </a:lnTo>
                <a:lnTo>
                  <a:pt x="128" y="10332"/>
                </a:lnTo>
                <a:lnTo>
                  <a:pt x="114" y="10307"/>
                </a:lnTo>
                <a:lnTo>
                  <a:pt x="101" y="10281"/>
                </a:lnTo>
                <a:lnTo>
                  <a:pt x="89" y="10256"/>
                </a:lnTo>
                <a:lnTo>
                  <a:pt x="77" y="10230"/>
                </a:lnTo>
                <a:lnTo>
                  <a:pt x="67" y="10205"/>
                </a:lnTo>
                <a:lnTo>
                  <a:pt x="57" y="10179"/>
                </a:lnTo>
                <a:lnTo>
                  <a:pt x="48" y="10153"/>
                </a:lnTo>
                <a:lnTo>
                  <a:pt x="39" y="10127"/>
                </a:lnTo>
                <a:lnTo>
                  <a:pt x="32" y="10100"/>
                </a:lnTo>
                <a:lnTo>
                  <a:pt x="25" y="10074"/>
                </a:lnTo>
                <a:lnTo>
                  <a:pt x="19" y="10047"/>
                </a:lnTo>
                <a:lnTo>
                  <a:pt x="14" y="10021"/>
                </a:lnTo>
                <a:lnTo>
                  <a:pt x="9" y="9994"/>
                </a:lnTo>
                <a:lnTo>
                  <a:pt x="6" y="9967"/>
                </a:lnTo>
                <a:lnTo>
                  <a:pt x="3" y="9940"/>
                </a:lnTo>
                <a:lnTo>
                  <a:pt x="1" y="9912"/>
                </a:lnTo>
                <a:lnTo>
                  <a:pt x="0" y="9885"/>
                </a:lnTo>
                <a:lnTo>
                  <a:pt x="0" y="9857"/>
                </a:lnTo>
                <a:lnTo>
                  <a:pt x="0" y="5509"/>
                </a:lnTo>
                <a:lnTo>
                  <a:pt x="1" y="5453"/>
                </a:lnTo>
                <a:lnTo>
                  <a:pt x="2" y="5398"/>
                </a:lnTo>
                <a:lnTo>
                  <a:pt x="5" y="5342"/>
                </a:lnTo>
                <a:lnTo>
                  <a:pt x="9" y="5288"/>
                </a:lnTo>
                <a:lnTo>
                  <a:pt x="15" y="5235"/>
                </a:lnTo>
                <a:lnTo>
                  <a:pt x="21" y="5182"/>
                </a:lnTo>
                <a:lnTo>
                  <a:pt x="28" y="5130"/>
                </a:lnTo>
                <a:lnTo>
                  <a:pt x="37" y="5079"/>
                </a:lnTo>
                <a:lnTo>
                  <a:pt x="47" y="5028"/>
                </a:lnTo>
                <a:lnTo>
                  <a:pt x="57" y="4978"/>
                </a:lnTo>
                <a:lnTo>
                  <a:pt x="70" y="4929"/>
                </a:lnTo>
                <a:lnTo>
                  <a:pt x="83" y="4880"/>
                </a:lnTo>
                <a:lnTo>
                  <a:pt x="97" y="4832"/>
                </a:lnTo>
                <a:lnTo>
                  <a:pt x="112" y="4785"/>
                </a:lnTo>
                <a:lnTo>
                  <a:pt x="129" y="4739"/>
                </a:lnTo>
                <a:lnTo>
                  <a:pt x="147" y="4693"/>
                </a:lnTo>
                <a:lnTo>
                  <a:pt x="166" y="4648"/>
                </a:lnTo>
                <a:lnTo>
                  <a:pt x="187" y="4604"/>
                </a:lnTo>
                <a:lnTo>
                  <a:pt x="208" y="4560"/>
                </a:lnTo>
                <a:lnTo>
                  <a:pt x="230" y="4518"/>
                </a:lnTo>
                <a:lnTo>
                  <a:pt x="255" y="4476"/>
                </a:lnTo>
                <a:lnTo>
                  <a:pt x="279" y="4435"/>
                </a:lnTo>
                <a:lnTo>
                  <a:pt x="306" y="4393"/>
                </a:lnTo>
                <a:lnTo>
                  <a:pt x="332" y="4354"/>
                </a:lnTo>
                <a:lnTo>
                  <a:pt x="361" y="4315"/>
                </a:lnTo>
                <a:lnTo>
                  <a:pt x="391" y="4275"/>
                </a:lnTo>
                <a:lnTo>
                  <a:pt x="421" y="4238"/>
                </a:lnTo>
                <a:lnTo>
                  <a:pt x="453" y="4201"/>
                </a:lnTo>
                <a:lnTo>
                  <a:pt x="486" y="4165"/>
                </a:lnTo>
                <a:lnTo>
                  <a:pt x="520" y="4129"/>
                </a:lnTo>
                <a:lnTo>
                  <a:pt x="556" y="4093"/>
                </a:lnTo>
                <a:lnTo>
                  <a:pt x="592" y="4059"/>
                </a:lnTo>
                <a:lnTo>
                  <a:pt x="629" y="4025"/>
                </a:lnTo>
                <a:lnTo>
                  <a:pt x="668" y="3994"/>
                </a:lnTo>
                <a:lnTo>
                  <a:pt x="707" y="3963"/>
                </a:lnTo>
                <a:lnTo>
                  <a:pt x="747" y="3933"/>
                </a:lnTo>
                <a:lnTo>
                  <a:pt x="789" y="3904"/>
                </a:lnTo>
                <a:lnTo>
                  <a:pt x="830" y="3876"/>
                </a:lnTo>
                <a:lnTo>
                  <a:pt x="873" y="3849"/>
                </a:lnTo>
                <a:lnTo>
                  <a:pt x="916" y="3823"/>
                </a:lnTo>
                <a:lnTo>
                  <a:pt x="961" y="3799"/>
                </a:lnTo>
                <a:lnTo>
                  <a:pt x="1005" y="3775"/>
                </a:lnTo>
                <a:lnTo>
                  <a:pt x="1052" y="3752"/>
                </a:lnTo>
                <a:lnTo>
                  <a:pt x="1099" y="3731"/>
                </a:lnTo>
                <a:lnTo>
                  <a:pt x="1146" y="3711"/>
                </a:lnTo>
                <a:lnTo>
                  <a:pt x="1194" y="3691"/>
                </a:lnTo>
                <a:lnTo>
                  <a:pt x="1244" y="3672"/>
                </a:lnTo>
                <a:lnTo>
                  <a:pt x="1294" y="3655"/>
                </a:lnTo>
                <a:lnTo>
                  <a:pt x="1345" y="3640"/>
                </a:lnTo>
                <a:lnTo>
                  <a:pt x="1397" y="3624"/>
                </a:lnTo>
                <a:lnTo>
                  <a:pt x="1450" y="3610"/>
                </a:lnTo>
                <a:lnTo>
                  <a:pt x="1503" y="3597"/>
                </a:lnTo>
                <a:lnTo>
                  <a:pt x="1558" y="3584"/>
                </a:lnTo>
                <a:lnTo>
                  <a:pt x="1614" y="3574"/>
                </a:lnTo>
                <a:lnTo>
                  <a:pt x="1670" y="3564"/>
                </a:lnTo>
                <a:lnTo>
                  <a:pt x="1726" y="3554"/>
                </a:lnTo>
                <a:lnTo>
                  <a:pt x="1785" y="3547"/>
                </a:lnTo>
                <a:lnTo>
                  <a:pt x="1843" y="3540"/>
                </a:lnTo>
                <a:lnTo>
                  <a:pt x="1902" y="3534"/>
                </a:lnTo>
                <a:lnTo>
                  <a:pt x="1963" y="3530"/>
                </a:lnTo>
                <a:lnTo>
                  <a:pt x="2024" y="3526"/>
                </a:lnTo>
                <a:lnTo>
                  <a:pt x="2086" y="3524"/>
                </a:lnTo>
                <a:lnTo>
                  <a:pt x="2149" y="3522"/>
                </a:lnTo>
                <a:lnTo>
                  <a:pt x="2212" y="3522"/>
                </a:lnTo>
                <a:lnTo>
                  <a:pt x="2218" y="3517"/>
                </a:lnTo>
                <a:lnTo>
                  <a:pt x="2224" y="3514"/>
                </a:lnTo>
                <a:lnTo>
                  <a:pt x="2230" y="3513"/>
                </a:lnTo>
                <a:lnTo>
                  <a:pt x="2237" y="3512"/>
                </a:lnTo>
                <a:lnTo>
                  <a:pt x="2243" y="3512"/>
                </a:lnTo>
                <a:lnTo>
                  <a:pt x="2251" y="3512"/>
                </a:lnTo>
                <a:lnTo>
                  <a:pt x="2261" y="3512"/>
                </a:lnTo>
                <a:lnTo>
                  <a:pt x="2274" y="3512"/>
                </a:lnTo>
                <a:lnTo>
                  <a:pt x="2312" y="3514"/>
                </a:lnTo>
                <a:lnTo>
                  <a:pt x="2353" y="3516"/>
                </a:lnTo>
                <a:lnTo>
                  <a:pt x="2393" y="3517"/>
                </a:lnTo>
                <a:lnTo>
                  <a:pt x="2435" y="3519"/>
                </a:lnTo>
                <a:lnTo>
                  <a:pt x="2479" y="3520"/>
                </a:lnTo>
                <a:lnTo>
                  <a:pt x="2522" y="3520"/>
                </a:lnTo>
                <a:lnTo>
                  <a:pt x="2568" y="3522"/>
                </a:lnTo>
                <a:lnTo>
                  <a:pt x="2615" y="3522"/>
                </a:lnTo>
                <a:lnTo>
                  <a:pt x="2616" y="3516"/>
                </a:lnTo>
                <a:lnTo>
                  <a:pt x="2617" y="3511"/>
                </a:lnTo>
                <a:lnTo>
                  <a:pt x="2620" y="3505"/>
                </a:lnTo>
                <a:lnTo>
                  <a:pt x="2623" y="3498"/>
                </a:lnTo>
                <a:lnTo>
                  <a:pt x="2634" y="3483"/>
                </a:lnTo>
                <a:lnTo>
                  <a:pt x="2649" y="3466"/>
                </a:lnTo>
                <a:lnTo>
                  <a:pt x="2663" y="3450"/>
                </a:lnTo>
                <a:lnTo>
                  <a:pt x="2674" y="3439"/>
                </a:lnTo>
                <a:lnTo>
                  <a:pt x="2678" y="3434"/>
                </a:lnTo>
                <a:lnTo>
                  <a:pt x="2683" y="3431"/>
                </a:lnTo>
                <a:lnTo>
                  <a:pt x="2686" y="3430"/>
                </a:lnTo>
                <a:lnTo>
                  <a:pt x="2688" y="3429"/>
                </a:lnTo>
                <a:lnTo>
                  <a:pt x="2651" y="3417"/>
                </a:lnTo>
                <a:lnTo>
                  <a:pt x="2614" y="3406"/>
                </a:lnTo>
                <a:lnTo>
                  <a:pt x="2578" y="3393"/>
                </a:lnTo>
                <a:lnTo>
                  <a:pt x="2542" y="3380"/>
                </a:lnTo>
                <a:lnTo>
                  <a:pt x="2506" y="3366"/>
                </a:lnTo>
                <a:lnTo>
                  <a:pt x="2471" y="3351"/>
                </a:lnTo>
                <a:lnTo>
                  <a:pt x="2436" y="3337"/>
                </a:lnTo>
                <a:lnTo>
                  <a:pt x="2402" y="3322"/>
                </a:lnTo>
                <a:lnTo>
                  <a:pt x="2368" y="3306"/>
                </a:lnTo>
                <a:lnTo>
                  <a:pt x="2336" y="3289"/>
                </a:lnTo>
                <a:lnTo>
                  <a:pt x="2303" y="3272"/>
                </a:lnTo>
                <a:lnTo>
                  <a:pt x="2271" y="3255"/>
                </a:lnTo>
                <a:lnTo>
                  <a:pt x="2239" y="3237"/>
                </a:lnTo>
                <a:lnTo>
                  <a:pt x="2208" y="3218"/>
                </a:lnTo>
                <a:lnTo>
                  <a:pt x="2177" y="3198"/>
                </a:lnTo>
                <a:lnTo>
                  <a:pt x="2147" y="3178"/>
                </a:lnTo>
                <a:lnTo>
                  <a:pt x="2117" y="3158"/>
                </a:lnTo>
                <a:lnTo>
                  <a:pt x="2087" y="3137"/>
                </a:lnTo>
                <a:lnTo>
                  <a:pt x="2058" y="3115"/>
                </a:lnTo>
                <a:lnTo>
                  <a:pt x="2030" y="3093"/>
                </a:lnTo>
                <a:lnTo>
                  <a:pt x="2002" y="3071"/>
                </a:lnTo>
                <a:lnTo>
                  <a:pt x="1975" y="3047"/>
                </a:lnTo>
                <a:lnTo>
                  <a:pt x="1948" y="3024"/>
                </a:lnTo>
                <a:lnTo>
                  <a:pt x="1921" y="3000"/>
                </a:lnTo>
                <a:lnTo>
                  <a:pt x="1895" y="2975"/>
                </a:lnTo>
                <a:lnTo>
                  <a:pt x="1869" y="2950"/>
                </a:lnTo>
                <a:lnTo>
                  <a:pt x="1844" y="2924"/>
                </a:lnTo>
                <a:lnTo>
                  <a:pt x="1820" y="2898"/>
                </a:lnTo>
                <a:lnTo>
                  <a:pt x="1795" y="2871"/>
                </a:lnTo>
                <a:lnTo>
                  <a:pt x="1771" y="2843"/>
                </a:lnTo>
                <a:lnTo>
                  <a:pt x="1747" y="2816"/>
                </a:lnTo>
                <a:lnTo>
                  <a:pt x="1725" y="2787"/>
                </a:lnTo>
                <a:lnTo>
                  <a:pt x="1703" y="2757"/>
                </a:lnTo>
                <a:lnTo>
                  <a:pt x="1682" y="2729"/>
                </a:lnTo>
                <a:lnTo>
                  <a:pt x="1660" y="2699"/>
                </a:lnTo>
                <a:lnTo>
                  <a:pt x="1640" y="2669"/>
                </a:lnTo>
                <a:lnTo>
                  <a:pt x="1621" y="2638"/>
                </a:lnTo>
                <a:lnTo>
                  <a:pt x="1603" y="2608"/>
                </a:lnTo>
                <a:lnTo>
                  <a:pt x="1585" y="2578"/>
                </a:lnTo>
                <a:lnTo>
                  <a:pt x="1568" y="2547"/>
                </a:lnTo>
                <a:lnTo>
                  <a:pt x="1551" y="2516"/>
                </a:lnTo>
                <a:lnTo>
                  <a:pt x="1535" y="2484"/>
                </a:lnTo>
                <a:lnTo>
                  <a:pt x="1520" y="2452"/>
                </a:lnTo>
                <a:lnTo>
                  <a:pt x="1506" y="2420"/>
                </a:lnTo>
                <a:lnTo>
                  <a:pt x="1493" y="2388"/>
                </a:lnTo>
                <a:lnTo>
                  <a:pt x="1479" y="2356"/>
                </a:lnTo>
                <a:lnTo>
                  <a:pt x="1467" y="2324"/>
                </a:lnTo>
                <a:lnTo>
                  <a:pt x="1455" y="2291"/>
                </a:lnTo>
                <a:lnTo>
                  <a:pt x="1445" y="2258"/>
                </a:lnTo>
                <a:lnTo>
                  <a:pt x="1434" y="2225"/>
                </a:lnTo>
                <a:lnTo>
                  <a:pt x="1425" y="2191"/>
                </a:lnTo>
                <a:lnTo>
                  <a:pt x="1416" y="2157"/>
                </a:lnTo>
                <a:lnTo>
                  <a:pt x="1408" y="2123"/>
                </a:lnTo>
                <a:lnTo>
                  <a:pt x="1400" y="2089"/>
                </a:lnTo>
                <a:lnTo>
                  <a:pt x="1394" y="2054"/>
                </a:lnTo>
                <a:lnTo>
                  <a:pt x="1389" y="2018"/>
                </a:lnTo>
                <a:lnTo>
                  <a:pt x="1383" y="1983"/>
                </a:lnTo>
                <a:lnTo>
                  <a:pt x="1378" y="1948"/>
                </a:lnTo>
                <a:lnTo>
                  <a:pt x="1375" y="1912"/>
                </a:lnTo>
                <a:lnTo>
                  <a:pt x="1372" y="1876"/>
                </a:lnTo>
                <a:lnTo>
                  <a:pt x="1368" y="1840"/>
                </a:lnTo>
                <a:lnTo>
                  <a:pt x="1367" y="1804"/>
                </a:lnTo>
                <a:lnTo>
                  <a:pt x="1366" y="1767"/>
                </a:lnTo>
                <a:lnTo>
                  <a:pt x="1365" y="1729"/>
                </a:lnTo>
                <a:lnTo>
                  <a:pt x="1366" y="1686"/>
                </a:lnTo>
                <a:lnTo>
                  <a:pt x="1367" y="1641"/>
                </a:lnTo>
                <a:lnTo>
                  <a:pt x="1370" y="1598"/>
                </a:lnTo>
                <a:lnTo>
                  <a:pt x="1374" y="1555"/>
                </a:lnTo>
                <a:lnTo>
                  <a:pt x="1378" y="1511"/>
                </a:lnTo>
                <a:lnTo>
                  <a:pt x="1383" y="1469"/>
                </a:lnTo>
                <a:lnTo>
                  <a:pt x="1390" y="1427"/>
                </a:lnTo>
                <a:lnTo>
                  <a:pt x="1397" y="1386"/>
                </a:lnTo>
                <a:lnTo>
                  <a:pt x="1405" y="1345"/>
                </a:lnTo>
                <a:lnTo>
                  <a:pt x="1415" y="1304"/>
                </a:lnTo>
                <a:lnTo>
                  <a:pt x="1426" y="1264"/>
                </a:lnTo>
                <a:lnTo>
                  <a:pt x="1437" y="1223"/>
                </a:lnTo>
                <a:lnTo>
                  <a:pt x="1449" y="1184"/>
                </a:lnTo>
                <a:lnTo>
                  <a:pt x="1463" y="1145"/>
                </a:lnTo>
                <a:lnTo>
                  <a:pt x="1477" y="1106"/>
                </a:lnTo>
                <a:lnTo>
                  <a:pt x="1493" y="1068"/>
                </a:lnTo>
                <a:lnTo>
                  <a:pt x="1508" y="1030"/>
                </a:lnTo>
                <a:lnTo>
                  <a:pt x="1527" y="993"/>
                </a:lnTo>
                <a:lnTo>
                  <a:pt x="1545" y="955"/>
                </a:lnTo>
                <a:lnTo>
                  <a:pt x="1564" y="919"/>
                </a:lnTo>
                <a:lnTo>
                  <a:pt x="1585" y="883"/>
                </a:lnTo>
                <a:lnTo>
                  <a:pt x="1606" y="847"/>
                </a:lnTo>
                <a:lnTo>
                  <a:pt x="1628" y="811"/>
                </a:lnTo>
                <a:lnTo>
                  <a:pt x="1652" y="776"/>
                </a:lnTo>
                <a:lnTo>
                  <a:pt x="1676" y="742"/>
                </a:lnTo>
                <a:lnTo>
                  <a:pt x="1702" y="708"/>
                </a:lnTo>
                <a:lnTo>
                  <a:pt x="1728" y="674"/>
                </a:lnTo>
                <a:lnTo>
                  <a:pt x="1756" y="640"/>
                </a:lnTo>
                <a:lnTo>
                  <a:pt x="1783" y="607"/>
                </a:lnTo>
                <a:lnTo>
                  <a:pt x="1813" y="574"/>
                </a:lnTo>
                <a:lnTo>
                  <a:pt x="1844" y="542"/>
                </a:lnTo>
                <a:lnTo>
                  <a:pt x="1875" y="510"/>
                </a:lnTo>
                <a:lnTo>
                  <a:pt x="1907" y="478"/>
                </a:lnTo>
                <a:lnTo>
                  <a:pt x="1940" y="448"/>
                </a:lnTo>
                <a:lnTo>
                  <a:pt x="1971" y="419"/>
                </a:lnTo>
                <a:lnTo>
                  <a:pt x="2005" y="390"/>
                </a:lnTo>
                <a:lnTo>
                  <a:pt x="2038" y="362"/>
                </a:lnTo>
                <a:lnTo>
                  <a:pt x="2072" y="336"/>
                </a:lnTo>
                <a:lnTo>
                  <a:pt x="2106" y="311"/>
                </a:lnTo>
                <a:lnTo>
                  <a:pt x="2141" y="287"/>
                </a:lnTo>
                <a:lnTo>
                  <a:pt x="2176" y="263"/>
                </a:lnTo>
                <a:lnTo>
                  <a:pt x="2211" y="240"/>
                </a:lnTo>
                <a:lnTo>
                  <a:pt x="2247" y="219"/>
                </a:lnTo>
                <a:lnTo>
                  <a:pt x="2284" y="199"/>
                </a:lnTo>
                <a:lnTo>
                  <a:pt x="2320" y="179"/>
                </a:lnTo>
                <a:lnTo>
                  <a:pt x="2357" y="160"/>
                </a:lnTo>
                <a:lnTo>
                  <a:pt x="2395" y="143"/>
                </a:lnTo>
                <a:lnTo>
                  <a:pt x="2432" y="127"/>
                </a:lnTo>
                <a:lnTo>
                  <a:pt x="2470" y="111"/>
                </a:lnTo>
                <a:lnTo>
                  <a:pt x="2510" y="98"/>
                </a:lnTo>
                <a:lnTo>
                  <a:pt x="2549" y="84"/>
                </a:lnTo>
                <a:lnTo>
                  <a:pt x="2588" y="71"/>
                </a:lnTo>
                <a:lnTo>
                  <a:pt x="2628" y="60"/>
                </a:lnTo>
                <a:lnTo>
                  <a:pt x="2668" y="50"/>
                </a:lnTo>
                <a:lnTo>
                  <a:pt x="2709" y="40"/>
                </a:lnTo>
                <a:lnTo>
                  <a:pt x="2750" y="32"/>
                </a:lnTo>
                <a:lnTo>
                  <a:pt x="2791" y="24"/>
                </a:lnTo>
                <a:lnTo>
                  <a:pt x="2833" y="18"/>
                </a:lnTo>
                <a:lnTo>
                  <a:pt x="2876" y="13"/>
                </a:lnTo>
                <a:lnTo>
                  <a:pt x="2918" y="7"/>
                </a:lnTo>
                <a:lnTo>
                  <a:pt x="2962" y="4"/>
                </a:lnTo>
                <a:lnTo>
                  <a:pt x="3005" y="2"/>
                </a:lnTo>
                <a:lnTo>
                  <a:pt x="3049" y="1"/>
                </a:lnTo>
                <a:lnTo>
                  <a:pt x="3094" y="0"/>
                </a:lnTo>
                <a:lnTo>
                  <a:pt x="3138" y="1"/>
                </a:lnTo>
                <a:lnTo>
                  <a:pt x="3183" y="2"/>
                </a:lnTo>
                <a:lnTo>
                  <a:pt x="3226" y="4"/>
                </a:lnTo>
                <a:lnTo>
                  <a:pt x="3270" y="7"/>
                </a:lnTo>
                <a:lnTo>
                  <a:pt x="3312" y="13"/>
                </a:lnTo>
                <a:lnTo>
                  <a:pt x="3356" y="18"/>
                </a:lnTo>
                <a:lnTo>
                  <a:pt x="3397" y="24"/>
                </a:lnTo>
                <a:lnTo>
                  <a:pt x="3440" y="32"/>
                </a:lnTo>
                <a:lnTo>
                  <a:pt x="3481" y="40"/>
                </a:lnTo>
                <a:lnTo>
                  <a:pt x="3521" y="50"/>
                </a:lnTo>
                <a:lnTo>
                  <a:pt x="3563" y="60"/>
                </a:lnTo>
                <a:lnTo>
                  <a:pt x="3602" y="71"/>
                </a:lnTo>
                <a:lnTo>
                  <a:pt x="3643" y="84"/>
                </a:lnTo>
                <a:lnTo>
                  <a:pt x="3682" y="98"/>
                </a:lnTo>
                <a:lnTo>
                  <a:pt x="3721" y="111"/>
                </a:lnTo>
                <a:lnTo>
                  <a:pt x="3759" y="127"/>
                </a:lnTo>
                <a:lnTo>
                  <a:pt x="3798" y="143"/>
                </a:lnTo>
                <a:lnTo>
                  <a:pt x="3835" y="160"/>
                </a:lnTo>
                <a:lnTo>
                  <a:pt x="3873" y="179"/>
                </a:lnTo>
                <a:lnTo>
                  <a:pt x="3909" y="199"/>
                </a:lnTo>
                <a:lnTo>
                  <a:pt x="3946" y="219"/>
                </a:lnTo>
                <a:lnTo>
                  <a:pt x="3982" y="240"/>
                </a:lnTo>
                <a:lnTo>
                  <a:pt x="4017" y="263"/>
                </a:lnTo>
                <a:lnTo>
                  <a:pt x="4053" y="287"/>
                </a:lnTo>
                <a:lnTo>
                  <a:pt x="4088" y="311"/>
                </a:lnTo>
                <a:lnTo>
                  <a:pt x="4122" y="336"/>
                </a:lnTo>
                <a:lnTo>
                  <a:pt x="4156" y="362"/>
                </a:lnTo>
                <a:lnTo>
                  <a:pt x="4190" y="390"/>
                </a:lnTo>
                <a:lnTo>
                  <a:pt x="4223" y="419"/>
                </a:lnTo>
                <a:lnTo>
                  <a:pt x="4256" y="448"/>
                </a:lnTo>
                <a:lnTo>
                  <a:pt x="4289" y="478"/>
                </a:lnTo>
                <a:lnTo>
                  <a:pt x="4321" y="510"/>
                </a:lnTo>
                <a:lnTo>
                  <a:pt x="4353" y="542"/>
                </a:lnTo>
                <a:lnTo>
                  <a:pt x="4383" y="574"/>
                </a:lnTo>
                <a:lnTo>
                  <a:pt x="4412" y="607"/>
                </a:lnTo>
                <a:lnTo>
                  <a:pt x="4440" y="640"/>
                </a:lnTo>
                <a:lnTo>
                  <a:pt x="4467" y="674"/>
                </a:lnTo>
                <a:lnTo>
                  <a:pt x="4493" y="708"/>
                </a:lnTo>
                <a:lnTo>
                  <a:pt x="4518" y="742"/>
                </a:lnTo>
                <a:lnTo>
                  <a:pt x="4543" y="776"/>
                </a:lnTo>
                <a:lnTo>
                  <a:pt x="4566" y="811"/>
                </a:lnTo>
                <a:lnTo>
                  <a:pt x="4588" y="847"/>
                </a:lnTo>
                <a:lnTo>
                  <a:pt x="4610" y="883"/>
                </a:lnTo>
                <a:lnTo>
                  <a:pt x="4630" y="919"/>
                </a:lnTo>
                <a:lnTo>
                  <a:pt x="4649" y="955"/>
                </a:lnTo>
                <a:lnTo>
                  <a:pt x="4667" y="993"/>
                </a:lnTo>
                <a:lnTo>
                  <a:pt x="4685" y="1030"/>
                </a:lnTo>
                <a:lnTo>
                  <a:pt x="4701" y="1068"/>
                </a:lnTo>
                <a:lnTo>
                  <a:pt x="4716" y="1106"/>
                </a:lnTo>
                <a:lnTo>
                  <a:pt x="4731" y="1145"/>
                </a:lnTo>
                <a:lnTo>
                  <a:pt x="4745" y="1184"/>
                </a:lnTo>
                <a:lnTo>
                  <a:pt x="4756" y="1223"/>
                </a:lnTo>
                <a:lnTo>
                  <a:pt x="4768" y="1264"/>
                </a:lnTo>
                <a:lnTo>
                  <a:pt x="4779" y="1304"/>
                </a:lnTo>
                <a:lnTo>
                  <a:pt x="4788" y="1345"/>
                </a:lnTo>
                <a:lnTo>
                  <a:pt x="4797" y="1386"/>
                </a:lnTo>
                <a:lnTo>
                  <a:pt x="4803" y="1427"/>
                </a:lnTo>
                <a:lnTo>
                  <a:pt x="4810" y="1469"/>
                </a:lnTo>
                <a:lnTo>
                  <a:pt x="4816" y="1511"/>
                </a:lnTo>
                <a:lnTo>
                  <a:pt x="4820" y="1555"/>
                </a:lnTo>
                <a:lnTo>
                  <a:pt x="4823" y="1598"/>
                </a:lnTo>
                <a:lnTo>
                  <a:pt x="4825" y="1641"/>
                </a:lnTo>
                <a:lnTo>
                  <a:pt x="4827" y="1686"/>
                </a:lnTo>
                <a:lnTo>
                  <a:pt x="4827" y="1729"/>
                </a:lnTo>
                <a:lnTo>
                  <a:pt x="4827" y="1768"/>
                </a:lnTo>
                <a:lnTo>
                  <a:pt x="4826" y="1806"/>
                </a:lnTo>
                <a:lnTo>
                  <a:pt x="4824" y="1843"/>
                </a:lnTo>
                <a:lnTo>
                  <a:pt x="4822" y="1880"/>
                </a:lnTo>
                <a:lnTo>
                  <a:pt x="4818" y="1917"/>
                </a:lnTo>
                <a:lnTo>
                  <a:pt x="4814" y="1954"/>
                </a:lnTo>
                <a:lnTo>
                  <a:pt x="4808" y="1990"/>
                </a:lnTo>
                <a:lnTo>
                  <a:pt x="4803" y="2027"/>
                </a:lnTo>
                <a:lnTo>
                  <a:pt x="4797" y="2062"/>
                </a:lnTo>
                <a:lnTo>
                  <a:pt x="4789" y="2098"/>
                </a:lnTo>
                <a:lnTo>
                  <a:pt x="4781" y="2134"/>
                </a:lnTo>
                <a:lnTo>
                  <a:pt x="4772" y="2169"/>
                </a:lnTo>
                <a:lnTo>
                  <a:pt x="4763" y="2204"/>
                </a:lnTo>
                <a:lnTo>
                  <a:pt x="4752" y="2240"/>
                </a:lnTo>
                <a:lnTo>
                  <a:pt x="4740" y="2274"/>
                </a:lnTo>
                <a:lnTo>
                  <a:pt x="4729" y="2308"/>
                </a:lnTo>
                <a:lnTo>
                  <a:pt x="4716" y="2342"/>
                </a:lnTo>
                <a:lnTo>
                  <a:pt x="4702" y="2376"/>
                </a:lnTo>
                <a:lnTo>
                  <a:pt x="4688" y="2410"/>
                </a:lnTo>
                <a:lnTo>
                  <a:pt x="4673" y="2443"/>
                </a:lnTo>
                <a:lnTo>
                  <a:pt x="4657" y="2476"/>
                </a:lnTo>
                <a:lnTo>
                  <a:pt x="4641" y="2508"/>
                </a:lnTo>
                <a:lnTo>
                  <a:pt x="4624" y="2541"/>
                </a:lnTo>
                <a:lnTo>
                  <a:pt x="4605" y="2573"/>
                </a:lnTo>
                <a:lnTo>
                  <a:pt x="4586" y="2606"/>
                </a:lnTo>
                <a:lnTo>
                  <a:pt x="4566" y="2638"/>
                </a:lnTo>
                <a:lnTo>
                  <a:pt x="4546" y="2669"/>
                </a:lnTo>
                <a:lnTo>
                  <a:pt x="4525" y="2701"/>
                </a:lnTo>
                <a:lnTo>
                  <a:pt x="4502" y="2732"/>
                </a:lnTo>
                <a:lnTo>
                  <a:pt x="4480" y="2763"/>
                </a:lnTo>
                <a:lnTo>
                  <a:pt x="4456" y="2793"/>
                </a:lnTo>
                <a:lnTo>
                  <a:pt x="4431" y="2824"/>
                </a:lnTo>
                <a:lnTo>
                  <a:pt x="4407" y="2853"/>
                </a:lnTo>
                <a:lnTo>
                  <a:pt x="4381" y="2883"/>
                </a:lnTo>
                <a:lnTo>
                  <a:pt x="4356" y="2910"/>
                </a:lnTo>
                <a:lnTo>
                  <a:pt x="4329" y="2938"/>
                </a:lnTo>
                <a:lnTo>
                  <a:pt x="4303" y="2965"/>
                </a:lnTo>
                <a:lnTo>
                  <a:pt x="4276" y="2991"/>
                </a:lnTo>
                <a:lnTo>
                  <a:pt x="4249" y="3017"/>
                </a:lnTo>
                <a:lnTo>
                  <a:pt x="4220" y="3041"/>
                </a:lnTo>
                <a:lnTo>
                  <a:pt x="4192" y="3066"/>
                </a:lnTo>
                <a:lnTo>
                  <a:pt x="4164" y="3089"/>
                </a:lnTo>
                <a:lnTo>
                  <a:pt x="4134" y="3112"/>
                </a:lnTo>
                <a:lnTo>
                  <a:pt x="4105" y="3134"/>
                </a:lnTo>
                <a:lnTo>
                  <a:pt x="4075" y="3155"/>
                </a:lnTo>
                <a:lnTo>
                  <a:pt x="4045" y="3176"/>
                </a:lnTo>
                <a:lnTo>
                  <a:pt x="4014" y="3196"/>
                </a:lnTo>
                <a:lnTo>
                  <a:pt x="3982" y="3215"/>
                </a:lnTo>
                <a:lnTo>
                  <a:pt x="3950" y="3233"/>
                </a:lnTo>
                <a:lnTo>
                  <a:pt x="3919" y="3252"/>
                </a:lnTo>
                <a:lnTo>
                  <a:pt x="3887" y="3269"/>
                </a:lnTo>
                <a:lnTo>
                  <a:pt x="3854" y="3286"/>
                </a:lnTo>
                <a:lnTo>
                  <a:pt x="3820" y="3301"/>
                </a:lnTo>
                <a:lnTo>
                  <a:pt x="3786" y="3316"/>
                </a:lnTo>
                <a:lnTo>
                  <a:pt x="3752" y="3331"/>
                </a:lnTo>
                <a:lnTo>
                  <a:pt x="3718" y="3344"/>
                </a:lnTo>
                <a:lnTo>
                  <a:pt x="3683" y="3358"/>
                </a:lnTo>
                <a:lnTo>
                  <a:pt x="3647" y="3370"/>
                </a:lnTo>
                <a:lnTo>
                  <a:pt x="3611" y="3381"/>
                </a:lnTo>
                <a:lnTo>
                  <a:pt x="3575" y="3393"/>
                </a:lnTo>
                <a:lnTo>
                  <a:pt x="3538" y="3402"/>
                </a:lnTo>
                <a:lnTo>
                  <a:pt x="3500" y="3412"/>
                </a:lnTo>
                <a:lnTo>
                  <a:pt x="3463" y="3421"/>
                </a:lnTo>
                <a:lnTo>
                  <a:pt x="3425" y="3429"/>
                </a:lnTo>
                <a:lnTo>
                  <a:pt x="3438" y="3443"/>
                </a:lnTo>
                <a:lnTo>
                  <a:pt x="3449" y="3456"/>
                </a:lnTo>
                <a:lnTo>
                  <a:pt x="3459" y="3468"/>
                </a:lnTo>
                <a:lnTo>
                  <a:pt x="3466" y="3480"/>
                </a:lnTo>
                <a:lnTo>
                  <a:pt x="3473" y="3491"/>
                </a:lnTo>
                <a:lnTo>
                  <a:pt x="3477" y="3501"/>
                </a:lnTo>
                <a:lnTo>
                  <a:pt x="3479" y="3512"/>
                </a:lnTo>
                <a:lnTo>
                  <a:pt x="3480" y="3522"/>
                </a:lnTo>
                <a:close/>
              </a:path>
            </a:pathLst>
          </a:custGeom>
          <a:gradFill flip="none" rotWithShape="1">
            <a:gsLst>
              <a:gs pos="0">
                <a:schemeClr val="accent1"/>
              </a:gs>
              <a:gs pos="86000">
                <a:schemeClr val="accent3">
                  <a:lumMod val="60000"/>
                  <a:lumOff val="40000"/>
                </a:schemeClr>
              </a:gs>
            </a:gsLst>
            <a:lin ang="0" scaled="1"/>
            <a:tileRect/>
          </a:gradFill>
          <a:ln w="9525">
            <a:noFill/>
            <a:round/>
            <a:headEnd/>
            <a:tailEnd/>
          </a:ln>
        </p:spPr>
        <p:txBody>
          <a:bodyPr/>
          <a:lstStyle/>
          <a:p>
            <a:pPr marL="0" marR="0" lvl="0" indent="0" algn="l" defTabSz="674255" rtl="0" eaLnBrk="1" fontAlgn="auto" latinLnBrk="0" hangingPunct="1">
              <a:lnSpc>
                <a:spcPct val="100000"/>
              </a:lnSpc>
              <a:spcBef>
                <a:spcPts val="0"/>
              </a:spcBef>
              <a:spcAft>
                <a:spcPts val="0"/>
              </a:spcAft>
              <a:buClrTx/>
              <a:buSzTx/>
              <a:buFontTx/>
              <a:buNone/>
              <a:tabLst/>
              <a:defRPr/>
            </a:pPr>
            <a:endParaRPr kumimoji="0" lang="en-GB" sz="1589"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0" name="Freeform 14">
            <a:extLst>
              <a:ext uri="{FF2B5EF4-FFF2-40B4-BE49-F238E27FC236}">
                <a16:creationId xmlns:a16="http://schemas.microsoft.com/office/drawing/2014/main" id="{D3E1CC78-9A52-416D-B841-5C9476EE21EF}"/>
              </a:ext>
            </a:extLst>
          </p:cNvPr>
          <p:cNvSpPr>
            <a:spLocks/>
          </p:cNvSpPr>
          <p:nvPr/>
        </p:nvSpPr>
        <p:spPr bwMode="auto">
          <a:xfrm>
            <a:off x="5477494" y="1856608"/>
            <a:ext cx="197037" cy="470851"/>
          </a:xfrm>
          <a:custGeom>
            <a:avLst/>
            <a:gdLst>
              <a:gd name="T0" fmla="*/ 13344091 w 6132"/>
              <a:gd name="T1" fmla="*/ 10441401 h 16980"/>
              <a:gd name="T2" fmla="*/ 14439013 w 6132"/>
              <a:gd name="T3" fmla="*/ 10808942 h 16980"/>
              <a:gd name="T4" fmla="*/ 15478309 w 6132"/>
              <a:gd name="T5" fmla="*/ 11467619 h 16980"/>
              <a:gd name="T6" fmla="*/ 16450295 w 6132"/>
              <a:gd name="T7" fmla="*/ 12408541 h 16980"/>
              <a:gd name="T8" fmla="*/ 17214401 w 6132"/>
              <a:gd name="T9" fmla="*/ 13481773 h 16980"/>
              <a:gd name="T10" fmla="*/ 17709159 w 6132"/>
              <a:gd name="T11" fmla="*/ 14605004 h 16980"/>
              <a:gd name="T12" fmla="*/ 17937493 w 6132"/>
              <a:gd name="T13" fmla="*/ 15789994 h 16980"/>
              <a:gd name="T14" fmla="*/ 17922884 w 6132"/>
              <a:gd name="T15" fmla="*/ 28795453 h 16980"/>
              <a:gd name="T16" fmla="*/ 17720901 w 6132"/>
              <a:gd name="T17" fmla="*/ 29724608 h 16980"/>
              <a:gd name="T18" fmla="*/ 17322724 w 6132"/>
              <a:gd name="T19" fmla="*/ 30571448 h 16980"/>
              <a:gd name="T20" fmla="*/ 16731329 w 6132"/>
              <a:gd name="T21" fmla="*/ 31344758 h 16980"/>
              <a:gd name="T22" fmla="*/ 15970146 w 6132"/>
              <a:gd name="T23" fmla="*/ 32000508 h 16980"/>
              <a:gd name="T24" fmla="*/ 15062602 w 6132"/>
              <a:gd name="T25" fmla="*/ 32509198 h 16980"/>
              <a:gd name="T26" fmla="*/ 14014483 w 6132"/>
              <a:gd name="T27" fmla="*/ 32867899 h 16980"/>
              <a:gd name="T28" fmla="*/ 4168927 w 6132"/>
              <a:gd name="T29" fmla="*/ 32935519 h 16980"/>
              <a:gd name="T30" fmla="*/ 3003722 w 6132"/>
              <a:gd name="T31" fmla="*/ 32515054 h 16980"/>
              <a:gd name="T32" fmla="*/ 2104943 w 6132"/>
              <a:gd name="T33" fmla="*/ 32053432 h 16980"/>
              <a:gd name="T34" fmla="*/ 1334994 w 6132"/>
              <a:gd name="T35" fmla="*/ 31503585 h 16980"/>
              <a:gd name="T36" fmla="*/ 723146 w 6132"/>
              <a:gd name="T37" fmla="*/ 30883136 h 16980"/>
              <a:gd name="T38" fmla="*/ 295697 w 6132"/>
              <a:gd name="T39" fmla="*/ 30230369 h 16980"/>
              <a:gd name="T40" fmla="*/ 55622 w 6132"/>
              <a:gd name="T41" fmla="*/ 29542302 h 16980"/>
              <a:gd name="T42" fmla="*/ 2922 w 6132"/>
              <a:gd name="T43" fmla="*/ 16034064 h 16980"/>
              <a:gd name="T44" fmla="*/ 166867 w 6132"/>
              <a:gd name="T45" fmla="*/ 14637376 h 16980"/>
              <a:gd name="T46" fmla="*/ 608925 w 6132"/>
              <a:gd name="T47" fmla="*/ 13408297 h 16980"/>
              <a:gd name="T48" fmla="*/ 1326228 w 6132"/>
              <a:gd name="T49" fmla="*/ 12352689 h 16980"/>
              <a:gd name="T50" fmla="*/ 2309902 w 6132"/>
              <a:gd name="T51" fmla="*/ 11479386 h 16980"/>
              <a:gd name="T52" fmla="*/ 3495559 w 6132"/>
              <a:gd name="T53" fmla="*/ 10853081 h 16980"/>
              <a:gd name="T54" fmla="*/ 4889097 w 6132"/>
              <a:gd name="T55" fmla="*/ 10479630 h 16980"/>
              <a:gd name="T56" fmla="*/ 6475906 w 6132"/>
              <a:gd name="T57" fmla="*/ 10356104 h 16980"/>
              <a:gd name="T58" fmla="*/ 6768627 w 6132"/>
              <a:gd name="T59" fmla="*/ 10332625 h 16980"/>
              <a:gd name="T60" fmla="*/ 7661564 w 6132"/>
              <a:gd name="T61" fmla="*/ 10323786 h 16980"/>
              <a:gd name="T62" fmla="*/ 7863602 w 6132"/>
              <a:gd name="T63" fmla="*/ 10085627 h 16980"/>
              <a:gd name="T64" fmla="*/ 7032131 w 6132"/>
              <a:gd name="T65" fmla="*/ 9768029 h 16980"/>
              <a:gd name="T66" fmla="*/ 6197794 w 6132"/>
              <a:gd name="T67" fmla="*/ 9285801 h 16980"/>
              <a:gd name="T68" fmla="*/ 5471726 w 6132"/>
              <a:gd name="T69" fmla="*/ 8674191 h 16980"/>
              <a:gd name="T70" fmla="*/ 4859825 w 6132"/>
              <a:gd name="T71" fmla="*/ 7936181 h 16980"/>
              <a:gd name="T72" fmla="*/ 4409002 w 6132"/>
              <a:gd name="T73" fmla="*/ 7115803 h 16980"/>
              <a:gd name="T74" fmla="*/ 4122070 w 6132"/>
              <a:gd name="T75" fmla="*/ 6242499 h 16980"/>
              <a:gd name="T76" fmla="*/ 4002059 w 6132"/>
              <a:gd name="T77" fmla="*/ 5304506 h 16980"/>
              <a:gd name="T78" fmla="*/ 4069369 w 6132"/>
              <a:gd name="T79" fmla="*/ 4195974 h 16980"/>
              <a:gd name="T80" fmla="*/ 4370910 w 6132"/>
              <a:gd name="T81" fmla="*/ 3140364 h 16980"/>
              <a:gd name="T82" fmla="*/ 4906682 w 6132"/>
              <a:gd name="T83" fmla="*/ 2181765 h 16980"/>
              <a:gd name="T84" fmla="*/ 5679553 w 6132"/>
              <a:gd name="T85" fmla="*/ 1317301 h 16980"/>
              <a:gd name="T86" fmla="*/ 6578332 w 6132"/>
              <a:gd name="T87" fmla="*/ 643928 h 16980"/>
              <a:gd name="T88" fmla="*/ 7576670 w 6132"/>
              <a:gd name="T89" fmla="*/ 208768 h 16980"/>
              <a:gd name="T90" fmla="*/ 8671588 w 6132"/>
              <a:gd name="T91" fmla="*/ 11767 h 16980"/>
              <a:gd name="T92" fmla="*/ 9825105 w 6132"/>
              <a:gd name="T93" fmla="*/ 52924 h 16980"/>
              <a:gd name="T94" fmla="*/ 10893673 w 6132"/>
              <a:gd name="T95" fmla="*/ 326384 h 16980"/>
              <a:gd name="T96" fmla="*/ 11865659 w 6132"/>
              <a:gd name="T97" fmla="*/ 843912 h 16980"/>
              <a:gd name="T98" fmla="*/ 12743931 w 6132"/>
              <a:gd name="T99" fmla="*/ 1593689 h 16980"/>
              <a:gd name="T100" fmla="*/ 13431908 w 6132"/>
              <a:gd name="T101" fmla="*/ 2490525 h 16980"/>
              <a:gd name="T102" fmla="*/ 13891551 w 6132"/>
              <a:gd name="T103" fmla="*/ 3481443 h 16980"/>
              <a:gd name="T104" fmla="*/ 14111119 w 6132"/>
              <a:gd name="T105" fmla="*/ 4572353 h 16980"/>
              <a:gd name="T106" fmla="*/ 14105275 w 6132"/>
              <a:gd name="T107" fmla="*/ 5636746 h 16980"/>
              <a:gd name="T108" fmla="*/ 13912057 w 6132"/>
              <a:gd name="T109" fmla="*/ 6586506 h 16980"/>
              <a:gd name="T110" fmla="*/ 13537309 w 6132"/>
              <a:gd name="T111" fmla="*/ 7471577 h 16980"/>
              <a:gd name="T112" fmla="*/ 12972265 w 6132"/>
              <a:gd name="T113" fmla="*/ 8303722 h 16980"/>
              <a:gd name="T114" fmla="*/ 12272601 w 6132"/>
              <a:gd name="T115" fmla="*/ 9015324 h 16980"/>
              <a:gd name="T116" fmla="*/ 11473326 w 6132"/>
              <a:gd name="T117" fmla="*/ 9562188 h 16980"/>
              <a:gd name="T118" fmla="*/ 10571626 w 6132"/>
              <a:gd name="T119" fmla="*/ 9941550 h 16980"/>
              <a:gd name="T120" fmla="*/ 10147098 w 6132"/>
              <a:gd name="T121" fmla="*/ 10232633 h 1698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6132"/>
              <a:gd name="T184" fmla="*/ 0 h 16980"/>
              <a:gd name="T185" fmla="*/ 6132 w 6132"/>
              <a:gd name="T186" fmla="*/ 16980 h 16980"/>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6132" h="16980">
                <a:moveTo>
                  <a:pt x="3480" y="3522"/>
                </a:moveTo>
                <a:lnTo>
                  <a:pt x="4254" y="3522"/>
                </a:lnTo>
                <a:lnTo>
                  <a:pt x="4298" y="3522"/>
                </a:lnTo>
                <a:lnTo>
                  <a:pt x="4342" y="3524"/>
                </a:lnTo>
                <a:lnTo>
                  <a:pt x="4386" y="3527"/>
                </a:lnTo>
                <a:lnTo>
                  <a:pt x="4429" y="3531"/>
                </a:lnTo>
                <a:lnTo>
                  <a:pt x="4473" y="3536"/>
                </a:lnTo>
                <a:lnTo>
                  <a:pt x="4515" y="3543"/>
                </a:lnTo>
                <a:lnTo>
                  <a:pt x="4558" y="3551"/>
                </a:lnTo>
                <a:lnTo>
                  <a:pt x="4601" y="3560"/>
                </a:lnTo>
                <a:lnTo>
                  <a:pt x="4643" y="3570"/>
                </a:lnTo>
                <a:lnTo>
                  <a:pt x="4685" y="3582"/>
                </a:lnTo>
                <a:lnTo>
                  <a:pt x="4727" y="3595"/>
                </a:lnTo>
                <a:lnTo>
                  <a:pt x="4769" y="3609"/>
                </a:lnTo>
                <a:lnTo>
                  <a:pt x="4809" y="3624"/>
                </a:lnTo>
                <a:lnTo>
                  <a:pt x="4851" y="3640"/>
                </a:lnTo>
                <a:lnTo>
                  <a:pt x="4892" y="3658"/>
                </a:lnTo>
                <a:lnTo>
                  <a:pt x="4932" y="3676"/>
                </a:lnTo>
                <a:lnTo>
                  <a:pt x="4973" y="3696"/>
                </a:lnTo>
                <a:lnTo>
                  <a:pt x="5013" y="3717"/>
                </a:lnTo>
                <a:lnTo>
                  <a:pt x="5052" y="3739"/>
                </a:lnTo>
                <a:lnTo>
                  <a:pt x="5093" y="3763"/>
                </a:lnTo>
                <a:lnTo>
                  <a:pt x="5132" y="3788"/>
                </a:lnTo>
                <a:lnTo>
                  <a:pt x="5171" y="3814"/>
                </a:lnTo>
                <a:lnTo>
                  <a:pt x="5210" y="3842"/>
                </a:lnTo>
                <a:lnTo>
                  <a:pt x="5249" y="3870"/>
                </a:lnTo>
                <a:lnTo>
                  <a:pt x="5287" y="3900"/>
                </a:lnTo>
                <a:lnTo>
                  <a:pt x="5325" y="3931"/>
                </a:lnTo>
                <a:lnTo>
                  <a:pt x="5364" y="3963"/>
                </a:lnTo>
                <a:lnTo>
                  <a:pt x="5401" y="3997"/>
                </a:lnTo>
                <a:lnTo>
                  <a:pt x="5438" y="4031"/>
                </a:lnTo>
                <a:lnTo>
                  <a:pt x="5475" y="4067"/>
                </a:lnTo>
                <a:lnTo>
                  <a:pt x="5512" y="4104"/>
                </a:lnTo>
                <a:lnTo>
                  <a:pt x="5549" y="4142"/>
                </a:lnTo>
                <a:lnTo>
                  <a:pt x="5584" y="4181"/>
                </a:lnTo>
                <a:lnTo>
                  <a:pt x="5619" y="4220"/>
                </a:lnTo>
                <a:lnTo>
                  <a:pt x="5652" y="4260"/>
                </a:lnTo>
                <a:lnTo>
                  <a:pt x="5685" y="4300"/>
                </a:lnTo>
                <a:lnTo>
                  <a:pt x="5716" y="4339"/>
                </a:lnTo>
                <a:lnTo>
                  <a:pt x="5747" y="4379"/>
                </a:lnTo>
                <a:lnTo>
                  <a:pt x="5775" y="4420"/>
                </a:lnTo>
                <a:lnTo>
                  <a:pt x="5803" y="4460"/>
                </a:lnTo>
                <a:lnTo>
                  <a:pt x="5830" y="4502"/>
                </a:lnTo>
                <a:lnTo>
                  <a:pt x="5855" y="4543"/>
                </a:lnTo>
                <a:lnTo>
                  <a:pt x="5880" y="4585"/>
                </a:lnTo>
                <a:lnTo>
                  <a:pt x="5904" y="4626"/>
                </a:lnTo>
                <a:lnTo>
                  <a:pt x="5925" y="4667"/>
                </a:lnTo>
                <a:lnTo>
                  <a:pt x="5946" y="4710"/>
                </a:lnTo>
                <a:lnTo>
                  <a:pt x="5967" y="4752"/>
                </a:lnTo>
                <a:lnTo>
                  <a:pt x="5986" y="4795"/>
                </a:lnTo>
                <a:lnTo>
                  <a:pt x="6004" y="4838"/>
                </a:lnTo>
                <a:lnTo>
                  <a:pt x="6020" y="4880"/>
                </a:lnTo>
                <a:lnTo>
                  <a:pt x="6036" y="4924"/>
                </a:lnTo>
                <a:lnTo>
                  <a:pt x="6049" y="4967"/>
                </a:lnTo>
                <a:lnTo>
                  <a:pt x="6063" y="5011"/>
                </a:lnTo>
                <a:lnTo>
                  <a:pt x="6075" y="5055"/>
                </a:lnTo>
                <a:lnTo>
                  <a:pt x="6085" y="5100"/>
                </a:lnTo>
                <a:lnTo>
                  <a:pt x="6095" y="5144"/>
                </a:lnTo>
                <a:lnTo>
                  <a:pt x="6104" y="5189"/>
                </a:lnTo>
                <a:lnTo>
                  <a:pt x="6111" y="5234"/>
                </a:lnTo>
                <a:lnTo>
                  <a:pt x="6117" y="5280"/>
                </a:lnTo>
                <a:lnTo>
                  <a:pt x="6123" y="5324"/>
                </a:lnTo>
                <a:lnTo>
                  <a:pt x="6127" y="5370"/>
                </a:lnTo>
                <a:lnTo>
                  <a:pt x="6130" y="5417"/>
                </a:lnTo>
                <a:lnTo>
                  <a:pt x="6131" y="5463"/>
                </a:lnTo>
                <a:lnTo>
                  <a:pt x="6132" y="5509"/>
                </a:lnTo>
                <a:lnTo>
                  <a:pt x="6132" y="9605"/>
                </a:lnTo>
                <a:lnTo>
                  <a:pt x="6132" y="9643"/>
                </a:lnTo>
                <a:lnTo>
                  <a:pt x="6130" y="9682"/>
                </a:lnTo>
                <a:lnTo>
                  <a:pt x="6129" y="9719"/>
                </a:lnTo>
                <a:lnTo>
                  <a:pt x="6126" y="9756"/>
                </a:lnTo>
                <a:lnTo>
                  <a:pt x="6122" y="9793"/>
                </a:lnTo>
                <a:lnTo>
                  <a:pt x="6117" y="9829"/>
                </a:lnTo>
                <a:lnTo>
                  <a:pt x="6112" y="9866"/>
                </a:lnTo>
                <a:lnTo>
                  <a:pt x="6107" y="9901"/>
                </a:lnTo>
                <a:lnTo>
                  <a:pt x="6099" y="9937"/>
                </a:lnTo>
                <a:lnTo>
                  <a:pt x="6092" y="9972"/>
                </a:lnTo>
                <a:lnTo>
                  <a:pt x="6083" y="10007"/>
                </a:lnTo>
                <a:lnTo>
                  <a:pt x="6074" y="10041"/>
                </a:lnTo>
                <a:lnTo>
                  <a:pt x="6063" y="10075"/>
                </a:lnTo>
                <a:lnTo>
                  <a:pt x="6053" y="10109"/>
                </a:lnTo>
                <a:lnTo>
                  <a:pt x="6041" y="10142"/>
                </a:lnTo>
                <a:lnTo>
                  <a:pt x="6028" y="10175"/>
                </a:lnTo>
                <a:lnTo>
                  <a:pt x="6014" y="10208"/>
                </a:lnTo>
                <a:lnTo>
                  <a:pt x="6001" y="10241"/>
                </a:lnTo>
                <a:lnTo>
                  <a:pt x="5986" y="10273"/>
                </a:lnTo>
                <a:lnTo>
                  <a:pt x="5970" y="10305"/>
                </a:lnTo>
                <a:lnTo>
                  <a:pt x="5953" y="10335"/>
                </a:lnTo>
                <a:lnTo>
                  <a:pt x="5935" y="10366"/>
                </a:lnTo>
                <a:lnTo>
                  <a:pt x="5917" y="10397"/>
                </a:lnTo>
                <a:lnTo>
                  <a:pt x="5898" y="10428"/>
                </a:lnTo>
                <a:lnTo>
                  <a:pt x="5877" y="10458"/>
                </a:lnTo>
                <a:lnTo>
                  <a:pt x="5857" y="10487"/>
                </a:lnTo>
                <a:lnTo>
                  <a:pt x="5835" y="10517"/>
                </a:lnTo>
                <a:lnTo>
                  <a:pt x="5813" y="10546"/>
                </a:lnTo>
                <a:lnTo>
                  <a:pt x="5789" y="10575"/>
                </a:lnTo>
                <a:lnTo>
                  <a:pt x="5766" y="10603"/>
                </a:lnTo>
                <a:lnTo>
                  <a:pt x="5740" y="10632"/>
                </a:lnTo>
                <a:lnTo>
                  <a:pt x="5715" y="10660"/>
                </a:lnTo>
                <a:lnTo>
                  <a:pt x="5688" y="10687"/>
                </a:lnTo>
                <a:lnTo>
                  <a:pt x="5661" y="10714"/>
                </a:lnTo>
                <a:lnTo>
                  <a:pt x="5633" y="10739"/>
                </a:lnTo>
                <a:lnTo>
                  <a:pt x="5606" y="10765"/>
                </a:lnTo>
                <a:lnTo>
                  <a:pt x="5576" y="10790"/>
                </a:lnTo>
                <a:lnTo>
                  <a:pt x="5546" y="10814"/>
                </a:lnTo>
                <a:lnTo>
                  <a:pt x="5516" y="10838"/>
                </a:lnTo>
                <a:lnTo>
                  <a:pt x="5486" y="10860"/>
                </a:lnTo>
                <a:lnTo>
                  <a:pt x="5455" y="10883"/>
                </a:lnTo>
                <a:lnTo>
                  <a:pt x="5422" y="10905"/>
                </a:lnTo>
                <a:lnTo>
                  <a:pt x="5390" y="10925"/>
                </a:lnTo>
                <a:lnTo>
                  <a:pt x="5357" y="10947"/>
                </a:lnTo>
                <a:lnTo>
                  <a:pt x="5323" y="10966"/>
                </a:lnTo>
                <a:lnTo>
                  <a:pt x="5288" y="10985"/>
                </a:lnTo>
                <a:lnTo>
                  <a:pt x="5253" y="11004"/>
                </a:lnTo>
                <a:lnTo>
                  <a:pt x="5218" y="11022"/>
                </a:lnTo>
                <a:lnTo>
                  <a:pt x="5182" y="11039"/>
                </a:lnTo>
                <a:lnTo>
                  <a:pt x="5145" y="11056"/>
                </a:lnTo>
                <a:lnTo>
                  <a:pt x="5108" y="11072"/>
                </a:lnTo>
                <a:lnTo>
                  <a:pt x="5069" y="11087"/>
                </a:lnTo>
                <a:lnTo>
                  <a:pt x="5031" y="11102"/>
                </a:lnTo>
                <a:lnTo>
                  <a:pt x="4992" y="11117"/>
                </a:lnTo>
                <a:lnTo>
                  <a:pt x="4952" y="11130"/>
                </a:lnTo>
                <a:lnTo>
                  <a:pt x="4911" y="11143"/>
                </a:lnTo>
                <a:lnTo>
                  <a:pt x="4871" y="11155"/>
                </a:lnTo>
                <a:lnTo>
                  <a:pt x="4828" y="11167"/>
                </a:lnTo>
                <a:lnTo>
                  <a:pt x="4787" y="11178"/>
                </a:lnTo>
                <a:lnTo>
                  <a:pt x="4743" y="11189"/>
                </a:lnTo>
                <a:lnTo>
                  <a:pt x="4701" y="11199"/>
                </a:lnTo>
                <a:lnTo>
                  <a:pt x="4656" y="11208"/>
                </a:lnTo>
                <a:lnTo>
                  <a:pt x="4612" y="11217"/>
                </a:lnTo>
                <a:lnTo>
                  <a:pt x="4567" y="11225"/>
                </a:lnTo>
                <a:lnTo>
                  <a:pt x="4567" y="16980"/>
                </a:lnTo>
                <a:lnTo>
                  <a:pt x="1510" y="16980"/>
                </a:lnTo>
                <a:lnTo>
                  <a:pt x="1510" y="11225"/>
                </a:lnTo>
                <a:lnTo>
                  <a:pt x="1424" y="11201"/>
                </a:lnTo>
                <a:lnTo>
                  <a:pt x="1340" y="11175"/>
                </a:lnTo>
                <a:lnTo>
                  <a:pt x="1298" y="11161"/>
                </a:lnTo>
                <a:lnTo>
                  <a:pt x="1258" y="11148"/>
                </a:lnTo>
                <a:lnTo>
                  <a:pt x="1218" y="11134"/>
                </a:lnTo>
                <a:lnTo>
                  <a:pt x="1178" y="11120"/>
                </a:lnTo>
                <a:lnTo>
                  <a:pt x="1139" y="11105"/>
                </a:lnTo>
                <a:lnTo>
                  <a:pt x="1101" y="11089"/>
                </a:lnTo>
                <a:lnTo>
                  <a:pt x="1064" y="11074"/>
                </a:lnTo>
                <a:lnTo>
                  <a:pt x="1026" y="11058"/>
                </a:lnTo>
                <a:lnTo>
                  <a:pt x="990" y="11042"/>
                </a:lnTo>
                <a:lnTo>
                  <a:pt x="954" y="11025"/>
                </a:lnTo>
                <a:lnTo>
                  <a:pt x="918" y="11009"/>
                </a:lnTo>
                <a:lnTo>
                  <a:pt x="884" y="10991"/>
                </a:lnTo>
                <a:lnTo>
                  <a:pt x="849" y="10974"/>
                </a:lnTo>
                <a:lnTo>
                  <a:pt x="816" y="10956"/>
                </a:lnTo>
                <a:lnTo>
                  <a:pt x="782" y="10938"/>
                </a:lnTo>
                <a:lnTo>
                  <a:pt x="750" y="10920"/>
                </a:lnTo>
                <a:lnTo>
                  <a:pt x="719" y="10901"/>
                </a:lnTo>
                <a:lnTo>
                  <a:pt x="687" y="10882"/>
                </a:lnTo>
                <a:lnTo>
                  <a:pt x="656" y="10862"/>
                </a:lnTo>
                <a:lnTo>
                  <a:pt x="626" y="10841"/>
                </a:lnTo>
                <a:lnTo>
                  <a:pt x="596" y="10821"/>
                </a:lnTo>
                <a:lnTo>
                  <a:pt x="567" y="10801"/>
                </a:lnTo>
                <a:lnTo>
                  <a:pt x="539" y="10780"/>
                </a:lnTo>
                <a:lnTo>
                  <a:pt x="510" y="10758"/>
                </a:lnTo>
                <a:lnTo>
                  <a:pt x="484" y="10736"/>
                </a:lnTo>
                <a:lnTo>
                  <a:pt x="456" y="10714"/>
                </a:lnTo>
                <a:lnTo>
                  <a:pt x="431" y="10691"/>
                </a:lnTo>
                <a:lnTo>
                  <a:pt x="405" y="10668"/>
                </a:lnTo>
                <a:lnTo>
                  <a:pt x="380" y="10646"/>
                </a:lnTo>
                <a:lnTo>
                  <a:pt x="355" y="10622"/>
                </a:lnTo>
                <a:lnTo>
                  <a:pt x="332" y="10599"/>
                </a:lnTo>
                <a:lnTo>
                  <a:pt x="310" y="10576"/>
                </a:lnTo>
                <a:lnTo>
                  <a:pt x="289" y="10551"/>
                </a:lnTo>
                <a:lnTo>
                  <a:pt x="267" y="10528"/>
                </a:lnTo>
                <a:lnTo>
                  <a:pt x="247" y="10503"/>
                </a:lnTo>
                <a:lnTo>
                  <a:pt x="228" y="10480"/>
                </a:lnTo>
                <a:lnTo>
                  <a:pt x="209" y="10455"/>
                </a:lnTo>
                <a:lnTo>
                  <a:pt x="191" y="10431"/>
                </a:lnTo>
                <a:lnTo>
                  <a:pt x="174" y="10407"/>
                </a:lnTo>
                <a:lnTo>
                  <a:pt x="158" y="10382"/>
                </a:lnTo>
                <a:lnTo>
                  <a:pt x="142" y="10357"/>
                </a:lnTo>
                <a:lnTo>
                  <a:pt x="128" y="10332"/>
                </a:lnTo>
                <a:lnTo>
                  <a:pt x="114" y="10307"/>
                </a:lnTo>
                <a:lnTo>
                  <a:pt x="101" y="10281"/>
                </a:lnTo>
                <a:lnTo>
                  <a:pt x="89" y="10256"/>
                </a:lnTo>
                <a:lnTo>
                  <a:pt x="77" y="10230"/>
                </a:lnTo>
                <a:lnTo>
                  <a:pt x="67" y="10205"/>
                </a:lnTo>
                <a:lnTo>
                  <a:pt x="57" y="10179"/>
                </a:lnTo>
                <a:lnTo>
                  <a:pt x="48" y="10153"/>
                </a:lnTo>
                <a:lnTo>
                  <a:pt x="39" y="10127"/>
                </a:lnTo>
                <a:lnTo>
                  <a:pt x="32" y="10100"/>
                </a:lnTo>
                <a:lnTo>
                  <a:pt x="25" y="10074"/>
                </a:lnTo>
                <a:lnTo>
                  <a:pt x="19" y="10047"/>
                </a:lnTo>
                <a:lnTo>
                  <a:pt x="14" y="10021"/>
                </a:lnTo>
                <a:lnTo>
                  <a:pt x="9" y="9994"/>
                </a:lnTo>
                <a:lnTo>
                  <a:pt x="6" y="9967"/>
                </a:lnTo>
                <a:lnTo>
                  <a:pt x="3" y="9940"/>
                </a:lnTo>
                <a:lnTo>
                  <a:pt x="1" y="9912"/>
                </a:lnTo>
                <a:lnTo>
                  <a:pt x="0" y="9885"/>
                </a:lnTo>
                <a:lnTo>
                  <a:pt x="0" y="9857"/>
                </a:lnTo>
                <a:lnTo>
                  <a:pt x="0" y="5509"/>
                </a:lnTo>
                <a:lnTo>
                  <a:pt x="1" y="5453"/>
                </a:lnTo>
                <a:lnTo>
                  <a:pt x="2" y="5398"/>
                </a:lnTo>
                <a:lnTo>
                  <a:pt x="5" y="5342"/>
                </a:lnTo>
                <a:lnTo>
                  <a:pt x="9" y="5288"/>
                </a:lnTo>
                <a:lnTo>
                  <a:pt x="15" y="5235"/>
                </a:lnTo>
                <a:lnTo>
                  <a:pt x="21" y="5182"/>
                </a:lnTo>
                <a:lnTo>
                  <a:pt x="28" y="5130"/>
                </a:lnTo>
                <a:lnTo>
                  <a:pt x="37" y="5079"/>
                </a:lnTo>
                <a:lnTo>
                  <a:pt x="47" y="5028"/>
                </a:lnTo>
                <a:lnTo>
                  <a:pt x="57" y="4978"/>
                </a:lnTo>
                <a:lnTo>
                  <a:pt x="70" y="4929"/>
                </a:lnTo>
                <a:lnTo>
                  <a:pt x="83" y="4880"/>
                </a:lnTo>
                <a:lnTo>
                  <a:pt x="97" y="4832"/>
                </a:lnTo>
                <a:lnTo>
                  <a:pt x="112" y="4785"/>
                </a:lnTo>
                <a:lnTo>
                  <a:pt x="129" y="4739"/>
                </a:lnTo>
                <a:lnTo>
                  <a:pt x="147" y="4693"/>
                </a:lnTo>
                <a:lnTo>
                  <a:pt x="166" y="4648"/>
                </a:lnTo>
                <a:lnTo>
                  <a:pt x="187" y="4604"/>
                </a:lnTo>
                <a:lnTo>
                  <a:pt x="208" y="4560"/>
                </a:lnTo>
                <a:lnTo>
                  <a:pt x="230" y="4518"/>
                </a:lnTo>
                <a:lnTo>
                  <a:pt x="255" y="4476"/>
                </a:lnTo>
                <a:lnTo>
                  <a:pt x="279" y="4435"/>
                </a:lnTo>
                <a:lnTo>
                  <a:pt x="306" y="4393"/>
                </a:lnTo>
                <a:lnTo>
                  <a:pt x="332" y="4354"/>
                </a:lnTo>
                <a:lnTo>
                  <a:pt x="361" y="4315"/>
                </a:lnTo>
                <a:lnTo>
                  <a:pt x="391" y="4275"/>
                </a:lnTo>
                <a:lnTo>
                  <a:pt x="421" y="4238"/>
                </a:lnTo>
                <a:lnTo>
                  <a:pt x="453" y="4201"/>
                </a:lnTo>
                <a:lnTo>
                  <a:pt x="486" y="4165"/>
                </a:lnTo>
                <a:lnTo>
                  <a:pt x="520" y="4129"/>
                </a:lnTo>
                <a:lnTo>
                  <a:pt x="556" y="4093"/>
                </a:lnTo>
                <a:lnTo>
                  <a:pt x="592" y="4059"/>
                </a:lnTo>
                <a:lnTo>
                  <a:pt x="629" y="4025"/>
                </a:lnTo>
                <a:lnTo>
                  <a:pt x="668" y="3994"/>
                </a:lnTo>
                <a:lnTo>
                  <a:pt x="707" y="3963"/>
                </a:lnTo>
                <a:lnTo>
                  <a:pt x="747" y="3933"/>
                </a:lnTo>
                <a:lnTo>
                  <a:pt x="789" y="3904"/>
                </a:lnTo>
                <a:lnTo>
                  <a:pt x="830" y="3876"/>
                </a:lnTo>
                <a:lnTo>
                  <a:pt x="873" y="3849"/>
                </a:lnTo>
                <a:lnTo>
                  <a:pt x="916" y="3823"/>
                </a:lnTo>
                <a:lnTo>
                  <a:pt x="961" y="3799"/>
                </a:lnTo>
                <a:lnTo>
                  <a:pt x="1005" y="3775"/>
                </a:lnTo>
                <a:lnTo>
                  <a:pt x="1052" y="3752"/>
                </a:lnTo>
                <a:lnTo>
                  <a:pt x="1099" y="3731"/>
                </a:lnTo>
                <a:lnTo>
                  <a:pt x="1146" y="3711"/>
                </a:lnTo>
                <a:lnTo>
                  <a:pt x="1194" y="3691"/>
                </a:lnTo>
                <a:lnTo>
                  <a:pt x="1244" y="3672"/>
                </a:lnTo>
                <a:lnTo>
                  <a:pt x="1294" y="3655"/>
                </a:lnTo>
                <a:lnTo>
                  <a:pt x="1345" y="3640"/>
                </a:lnTo>
                <a:lnTo>
                  <a:pt x="1397" y="3624"/>
                </a:lnTo>
                <a:lnTo>
                  <a:pt x="1450" y="3610"/>
                </a:lnTo>
                <a:lnTo>
                  <a:pt x="1503" y="3597"/>
                </a:lnTo>
                <a:lnTo>
                  <a:pt x="1558" y="3584"/>
                </a:lnTo>
                <a:lnTo>
                  <a:pt x="1614" y="3574"/>
                </a:lnTo>
                <a:lnTo>
                  <a:pt x="1670" y="3564"/>
                </a:lnTo>
                <a:lnTo>
                  <a:pt x="1726" y="3554"/>
                </a:lnTo>
                <a:lnTo>
                  <a:pt x="1785" y="3547"/>
                </a:lnTo>
                <a:lnTo>
                  <a:pt x="1843" y="3540"/>
                </a:lnTo>
                <a:lnTo>
                  <a:pt x="1902" y="3534"/>
                </a:lnTo>
                <a:lnTo>
                  <a:pt x="1963" y="3530"/>
                </a:lnTo>
                <a:lnTo>
                  <a:pt x="2024" y="3526"/>
                </a:lnTo>
                <a:lnTo>
                  <a:pt x="2086" y="3524"/>
                </a:lnTo>
                <a:lnTo>
                  <a:pt x="2149" y="3522"/>
                </a:lnTo>
                <a:lnTo>
                  <a:pt x="2212" y="3522"/>
                </a:lnTo>
                <a:lnTo>
                  <a:pt x="2218" y="3517"/>
                </a:lnTo>
                <a:lnTo>
                  <a:pt x="2224" y="3514"/>
                </a:lnTo>
                <a:lnTo>
                  <a:pt x="2230" y="3513"/>
                </a:lnTo>
                <a:lnTo>
                  <a:pt x="2237" y="3512"/>
                </a:lnTo>
                <a:lnTo>
                  <a:pt x="2243" y="3512"/>
                </a:lnTo>
                <a:lnTo>
                  <a:pt x="2251" y="3512"/>
                </a:lnTo>
                <a:lnTo>
                  <a:pt x="2261" y="3512"/>
                </a:lnTo>
                <a:lnTo>
                  <a:pt x="2274" y="3512"/>
                </a:lnTo>
                <a:lnTo>
                  <a:pt x="2312" y="3514"/>
                </a:lnTo>
                <a:lnTo>
                  <a:pt x="2353" y="3516"/>
                </a:lnTo>
                <a:lnTo>
                  <a:pt x="2393" y="3517"/>
                </a:lnTo>
                <a:lnTo>
                  <a:pt x="2435" y="3519"/>
                </a:lnTo>
                <a:lnTo>
                  <a:pt x="2479" y="3520"/>
                </a:lnTo>
                <a:lnTo>
                  <a:pt x="2522" y="3520"/>
                </a:lnTo>
                <a:lnTo>
                  <a:pt x="2568" y="3522"/>
                </a:lnTo>
                <a:lnTo>
                  <a:pt x="2615" y="3522"/>
                </a:lnTo>
                <a:lnTo>
                  <a:pt x="2616" y="3516"/>
                </a:lnTo>
                <a:lnTo>
                  <a:pt x="2617" y="3511"/>
                </a:lnTo>
                <a:lnTo>
                  <a:pt x="2620" y="3505"/>
                </a:lnTo>
                <a:lnTo>
                  <a:pt x="2623" y="3498"/>
                </a:lnTo>
                <a:lnTo>
                  <a:pt x="2634" y="3483"/>
                </a:lnTo>
                <a:lnTo>
                  <a:pt x="2649" y="3466"/>
                </a:lnTo>
                <a:lnTo>
                  <a:pt x="2663" y="3450"/>
                </a:lnTo>
                <a:lnTo>
                  <a:pt x="2674" y="3439"/>
                </a:lnTo>
                <a:lnTo>
                  <a:pt x="2678" y="3434"/>
                </a:lnTo>
                <a:lnTo>
                  <a:pt x="2683" y="3431"/>
                </a:lnTo>
                <a:lnTo>
                  <a:pt x="2686" y="3430"/>
                </a:lnTo>
                <a:lnTo>
                  <a:pt x="2688" y="3429"/>
                </a:lnTo>
                <a:lnTo>
                  <a:pt x="2651" y="3417"/>
                </a:lnTo>
                <a:lnTo>
                  <a:pt x="2614" y="3406"/>
                </a:lnTo>
                <a:lnTo>
                  <a:pt x="2578" y="3393"/>
                </a:lnTo>
                <a:lnTo>
                  <a:pt x="2542" y="3380"/>
                </a:lnTo>
                <a:lnTo>
                  <a:pt x="2506" y="3366"/>
                </a:lnTo>
                <a:lnTo>
                  <a:pt x="2471" y="3351"/>
                </a:lnTo>
                <a:lnTo>
                  <a:pt x="2436" y="3337"/>
                </a:lnTo>
                <a:lnTo>
                  <a:pt x="2402" y="3322"/>
                </a:lnTo>
                <a:lnTo>
                  <a:pt x="2368" y="3306"/>
                </a:lnTo>
                <a:lnTo>
                  <a:pt x="2336" y="3289"/>
                </a:lnTo>
                <a:lnTo>
                  <a:pt x="2303" y="3272"/>
                </a:lnTo>
                <a:lnTo>
                  <a:pt x="2271" y="3255"/>
                </a:lnTo>
                <a:lnTo>
                  <a:pt x="2239" y="3237"/>
                </a:lnTo>
                <a:lnTo>
                  <a:pt x="2208" y="3218"/>
                </a:lnTo>
                <a:lnTo>
                  <a:pt x="2177" y="3198"/>
                </a:lnTo>
                <a:lnTo>
                  <a:pt x="2147" y="3178"/>
                </a:lnTo>
                <a:lnTo>
                  <a:pt x="2117" y="3158"/>
                </a:lnTo>
                <a:lnTo>
                  <a:pt x="2087" y="3137"/>
                </a:lnTo>
                <a:lnTo>
                  <a:pt x="2058" y="3115"/>
                </a:lnTo>
                <a:lnTo>
                  <a:pt x="2030" y="3093"/>
                </a:lnTo>
                <a:lnTo>
                  <a:pt x="2002" y="3071"/>
                </a:lnTo>
                <a:lnTo>
                  <a:pt x="1975" y="3047"/>
                </a:lnTo>
                <a:lnTo>
                  <a:pt x="1948" y="3024"/>
                </a:lnTo>
                <a:lnTo>
                  <a:pt x="1921" y="3000"/>
                </a:lnTo>
                <a:lnTo>
                  <a:pt x="1895" y="2975"/>
                </a:lnTo>
                <a:lnTo>
                  <a:pt x="1869" y="2950"/>
                </a:lnTo>
                <a:lnTo>
                  <a:pt x="1844" y="2924"/>
                </a:lnTo>
                <a:lnTo>
                  <a:pt x="1820" y="2898"/>
                </a:lnTo>
                <a:lnTo>
                  <a:pt x="1795" y="2871"/>
                </a:lnTo>
                <a:lnTo>
                  <a:pt x="1771" y="2843"/>
                </a:lnTo>
                <a:lnTo>
                  <a:pt x="1747" y="2816"/>
                </a:lnTo>
                <a:lnTo>
                  <a:pt x="1725" y="2787"/>
                </a:lnTo>
                <a:lnTo>
                  <a:pt x="1703" y="2757"/>
                </a:lnTo>
                <a:lnTo>
                  <a:pt x="1682" y="2729"/>
                </a:lnTo>
                <a:lnTo>
                  <a:pt x="1660" y="2699"/>
                </a:lnTo>
                <a:lnTo>
                  <a:pt x="1640" y="2669"/>
                </a:lnTo>
                <a:lnTo>
                  <a:pt x="1621" y="2638"/>
                </a:lnTo>
                <a:lnTo>
                  <a:pt x="1603" y="2608"/>
                </a:lnTo>
                <a:lnTo>
                  <a:pt x="1585" y="2578"/>
                </a:lnTo>
                <a:lnTo>
                  <a:pt x="1568" y="2547"/>
                </a:lnTo>
                <a:lnTo>
                  <a:pt x="1551" y="2516"/>
                </a:lnTo>
                <a:lnTo>
                  <a:pt x="1535" y="2484"/>
                </a:lnTo>
                <a:lnTo>
                  <a:pt x="1520" y="2452"/>
                </a:lnTo>
                <a:lnTo>
                  <a:pt x="1506" y="2420"/>
                </a:lnTo>
                <a:lnTo>
                  <a:pt x="1493" y="2388"/>
                </a:lnTo>
                <a:lnTo>
                  <a:pt x="1479" y="2356"/>
                </a:lnTo>
                <a:lnTo>
                  <a:pt x="1467" y="2324"/>
                </a:lnTo>
                <a:lnTo>
                  <a:pt x="1455" y="2291"/>
                </a:lnTo>
                <a:lnTo>
                  <a:pt x="1445" y="2258"/>
                </a:lnTo>
                <a:lnTo>
                  <a:pt x="1434" y="2225"/>
                </a:lnTo>
                <a:lnTo>
                  <a:pt x="1425" y="2191"/>
                </a:lnTo>
                <a:lnTo>
                  <a:pt x="1416" y="2157"/>
                </a:lnTo>
                <a:lnTo>
                  <a:pt x="1408" y="2123"/>
                </a:lnTo>
                <a:lnTo>
                  <a:pt x="1400" y="2089"/>
                </a:lnTo>
                <a:lnTo>
                  <a:pt x="1394" y="2054"/>
                </a:lnTo>
                <a:lnTo>
                  <a:pt x="1389" y="2018"/>
                </a:lnTo>
                <a:lnTo>
                  <a:pt x="1383" y="1983"/>
                </a:lnTo>
                <a:lnTo>
                  <a:pt x="1378" y="1948"/>
                </a:lnTo>
                <a:lnTo>
                  <a:pt x="1375" y="1912"/>
                </a:lnTo>
                <a:lnTo>
                  <a:pt x="1372" y="1876"/>
                </a:lnTo>
                <a:lnTo>
                  <a:pt x="1368" y="1840"/>
                </a:lnTo>
                <a:lnTo>
                  <a:pt x="1367" y="1804"/>
                </a:lnTo>
                <a:lnTo>
                  <a:pt x="1366" y="1767"/>
                </a:lnTo>
                <a:lnTo>
                  <a:pt x="1365" y="1729"/>
                </a:lnTo>
                <a:lnTo>
                  <a:pt x="1366" y="1686"/>
                </a:lnTo>
                <a:lnTo>
                  <a:pt x="1367" y="1641"/>
                </a:lnTo>
                <a:lnTo>
                  <a:pt x="1370" y="1598"/>
                </a:lnTo>
                <a:lnTo>
                  <a:pt x="1374" y="1555"/>
                </a:lnTo>
                <a:lnTo>
                  <a:pt x="1378" y="1511"/>
                </a:lnTo>
                <a:lnTo>
                  <a:pt x="1383" y="1469"/>
                </a:lnTo>
                <a:lnTo>
                  <a:pt x="1390" y="1427"/>
                </a:lnTo>
                <a:lnTo>
                  <a:pt x="1397" y="1386"/>
                </a:lnTo>
                <a:lnTo>
                  <a:pt x="1405" y="1345"/>
                </a:lnTo>
                <a:lnTo>
                  <a:pt x="1415" y="1304"/>
                </a:lnTo>
                <a:lnTo>
                  <a:pt x="1426" y="1264"/>
                </a:lnTo>
                <a:lnTo>
                  <a:pt x="1437" y="1223"/>
                </a:lnTo>
                <a:lnTo>
                  <a:pt x="1449" y="1184"/>
                </a:lnTo>
                <a:lnTo>
                  <a:pt x="1463" y="1145"/>
                </a:lnTo>
                <a:lnTo>
                  <a:pt x="1477" y="1106"/>
                </a:lnTo>
                <a:lnTo>
                  <a:pt x="1493" y="1068"/>
                </a:lnTo>
                <a:lnTo>
                  <a:pt x="1508" y="1030"/>
                </a:lnTo>
                <a:lnTo>
                  <a:pt x="1527" y="993"/>
                </a:lnTo>
                <a:lnTo>
                  <a:pt x="1545" y="955"/>
                </a:lnTo>
                <a:lnTo>
                  <a:pt x="1564" y="919"/>
                </a:lnTo>
                <a:lnTo>
                  <a:pt x="1585" y="883"/>
                </a:lnTo>
                <a:lnTo>
                  <a:pt x="1606" y="847"/>
                </a:lnTo>
                <a:lnTo>
                  <a:pt x="1628" y="811"/>
                </a:lnTo>
                <a:lnTo>
                  <a:pt x="1652" y="776"/>
                </a:lnTo>
                <a:lnTo>
                  <a:pt x="1676" y="742"/>
                </a:lnTo>
                <a:lnTo>
                  <a:pt x="1702" y="708"/>
                </a:lnTo>
                <a:lnTo>
                  <a:pt x="1728" y="674"/>
                </a:lnTo>
                <a:lnTo>
                  <a:pt x="1756" y="640"/>
                </a:lnTo>
                <a:lnTo>
                  <a:pt x="1783" y="607"/>
                </a:lnTo>
                <a:lnTo>
                  <a:pt x="1813" y="574"/>
                </a:lnTo>
                <a:lnTo>
                  <a:pt x="1844" y="542"/>
                </a:lnTo>
                <a:lnTo>
                  <a:pt x="1875" y="510"/>
                </a:lnTo>
                <a:lnTo>
                  <a:pt x="1907" y="478"/>
                </a:lnTo>
                <a:lnTo>
                  <a:pt x="1940" y="448"/>
                </a:lnTo>
                <a:lnTo>
                  <a:pt x="1971" y="419"/>
                </a:lnTo>
                <a:lnTo>
                  <a:pt x="2005" y="390"/>
                </a:lnTo>
                <a:lnTo>
                  <a:pt x="2038" y="362"/>
                </a:lnTo>
                <a:lnTo>
                  <a:pt x="2072" y="336"/>
                </a:lnTo>
                <a:lnTo>
                  <a:pt x="2106" y="311"/>
                </a:lnTo>
                <a:lnTo>
                  <a:pt x="2141" y="287"/>
                </a:lnTo>
                <a:lnTo>
                  <a:pt x="2176" y="263"/>
                </a:lnTo>
                <a:lnTo>
                  <a:pt x="2211" y="240"/>
                </a:lnTo>
                <a:lnTo>
                  <a:pt x="2247" y="219"/>
                </a:lnTo>
                <a:lnTo>
                  <a:pt x="2284" y="199"/>
                </a:lnTo>
                <a:lnTo>
                  <a:pt x="2320" y="179"/>
                </a:lnTo>
                <a:lnTo>
                  <a:pt x="2357" y="160"/>
                </a:lnTo>
                <a:lnTo>
                  <a:pt x="2395" y="143"/>
                </a:lnTo>
                <a:lnTo>
                  <a:pt x="2432" y="127"/>
                </a:lnTo>
                <a:lnTo>
                  <a:pt x="2470" y="111"/>
                </a:lnTo>
                <a:lnTo>
                  <a:pt x="2510" y="98"/>
                </a:lnTo>
                <a:lnTo>
                  <a:pt x="2549" y="84"/>
                </a:lnTo>
                <a:lnTo>
                  <a:pt x="2588" y="71"/>
                </a:lnTo>
                <a:lnTo>
                  <a:pt x="2628" y="60"/>
                </a:lnTo>
                <a:lnTo>
                  <a:pt x="2668" y="50"/>
                </a:lnTo>
                <a:lnTo>
                  <a:pt x="2709" y="40"/>
                </a:lnTo>
                <a:lnTo>
                  <a:pt x="2750" y="32"/>
                </a:lnTo>
                <a:lnTo>
                  <a:pt x="2791" y="24"/>
                </a:lnTo>
                <a:lnTo>
                  <a:pt x="2833" y="18"/>
                </a:lnTo>
                <a:lnTo>
                  <a:pt x="2876" y="13"/>
                </a:lnTo>
                <a:lnTo>
                  <a:pt x="2918" y="7"/>
                </a:lnTo>
                <a:lnTo>
                  <a:pt x="2962" y="4"/>
                </a:lnTo>
                <a:lnTo>
                  <a:pt x="3005" y="2"/>
                </a:lnTo>
                <a:lnTo>
                  <a:pt x="3049" y="1"/>
                </a:lnTo>
                <a:lnTo>
                  <a:pt x="3094" y="0"/>
                </a:lnTo>
                <a:lnTo>
                  <a:pt x="3138" y="1"/>
                </a:lnTo>
                <a:lnTo>
                  <a:pt x="3183" y="2"/>
                </a:lnTo>
                <a:lnTo>
                  <a:pt x="3226" y="4"/>
                </a:lnTo>
                <a:lnTo>
                  <a:pt x="3270" y="7"/>
                </a:lnTo>
                <a:lnTo>
                  <a:pt x="3312" y="13"/>
                </a:lnTo>
                <a:lnTo>
                  <a:pt x="3356" y="18"/>
                </a:lnTo>
                <a:lnTo>
                  <a:pt x="3397" y="24"/>
                </a:lnTo>
                <a:lnTo>
                  <a:pt x="3440" y="32"/>
                </a:lnTo>
                <a:lnTo>
                  <a:pt x="3481" y="40"/>
                </a:lnTo>
                <a:lnTo>
                  <a:pt x="3521" y="50"/>
                </a:lnTo>
                <a:lnTo>
                  <a:pt x="3563" y="60"/>
                </a:lnTo>
                <a:lnTo>
                  <a:pt x="3602" y="71"/>
                </a:lnTo>
                <a:lnTo>
                  <a:pt x="3643" y="84"/>
                </a:lnTo>
                <a:lnTo>
                  <a:pt x="3682" y="98"/>
                </a:lnTo>
                <a:lnTo>
                  <a:pt x="3721" y="111"/>
                </a:lnTo>
                <a:lnTo>
                  <a:pt x="3759" y="127"/>
                </a:lnTo>
                <a:lnTo>
                  <a:pt x="3798" y="143"/>
                </a:lnTo>
                <a:lnTo>
                  <a:pt x="3835" y="160"/>
                </a:lnTo>
                <a:lnTo>
                  <a:pt x="3873" y="179"/>
                </a:lnTo>
                <a:lnTo>
                  <a:pt x="3909" y="199"/>
                </a:lnTo>
                <a:lnTo>
                  <a:pt x="3946" y="219"/>
                </a:lnTo>
                <a:lnTo>
                  <a:pt x="3982" y="240"/>
                </a:lnTo>
                <a:lnTo>
                  <a:pt x="4017" y="263"/>
                </a:lnTo>
                <a:lnTo>
                  <a:pt x="4053" y="287"/>
                </a:lnTo>
                <a:lnTo>
                  <a:pt x="4088" y="311"/>
                </a:lnTo>
                <a:lnTo>
                  <a:pt x="4122" y="336"/>
                </a:lnTo>
                <a:lnTo>
                  <a:pt x="4156" y="362"/>
                </a:lnTo>
                <a:lnTo>
                  <a:pt x="4190" y="390"/>
                </a:lnTo>
                <a:lnTo>
                  <a:pt x="4223" y="419"/>
                </a:lnTo>
                <a:lnTo>
                  <a:pt x="4256" y="448"/>
                </a:lnTo>
                <a:lnTo>
                  <a:pt x="4289" y="478"/>
                </a:lnTo>
                <a:lnTo>
                  <a:pt x="4321" y="510"/>
                </a:lnTo>
                <a:lnTo>
                  <a:pt x="4353" y="542"/>
                </a:lnTo>
                <a:lnTo>
                  <a:pt x="4383" y="574"/>
                </a:lnTo>
                <a:lnTo>
                  <a:pt x="4412" y="607"/>
                </a:lnTo>
                <a:lnTo>
                  <a:pt x="4440" y="640"/>
                </a:lnTo>
                <a:lnTo>
                  <a:pt x="4467" y="674"/>
                </a:lnTo>
                <a:lnTo>
                  <a:pt x="4493" y="708"/>
                </a:lnTo>
                <a:lnTo>
                  <a:pt x="4518" y="742"/>
                </a:lnTo>
                <a:lnTo>
                  <a:pt x="4543" y="776"/>
                </a:lnTo>
                <a:lnTo>
                  <a:pt x="4566" y="811"/>
                </a:lnTo>
                <a:lnTo>
                  <a:pt x="4588" y="847"/>
                </a:lnTo>
                <a:lnTo>
                  <a:pt x="4610" y="883"/>
                </a:lnTo>
                <a:lnTo>
                  <a:pt x="4630" y="919"/>
                </a:lnTo>
                <a:lnTo>
                  <a:pt x="4649" y="955"/>
                </a:lnTo>
                <a:lnTo>
                  <a:pt x="4667" y="993"/>
                </a:lnTo>
                <a:lnTo>
                  <a:pt x="4685" y="1030"/>
                </a:lnTo>
                <a:lnTo>
                  <a:pt x="4701" y="1068"/>
                </a:lnTo>
                <a:lnTo>
                  <a:pt x="4716" y="1106"/>
                </a:lnTo>
                <a:lnTo>
                  <a:pt x="4731" y="1145"/>
                </a:lnTo>
                <a:lnTo>
                  <a:pt x="4745" y="1184"/>
                </a:lnTo>
                <a:lnTo>
                  <a:pt x="4756" y="1223"/>
                </a:lnTo>
                <a:lnTo>
                  <a:pt x="4768" y="1264"/>
                </a:lnTo>
                <a:lnTo>
                  <a:pt x="4779" y="1304"/>
                </a:lnTo>
                <a:lnTo>
                  <a:pt x="4788" y="1345"/>
                </a:lnTo>
                <a:lnTo>
                  <a:pt x="4797" y="1386"/>
                </a:lnTo>
                <a:lnTo>
                  <a:pt x="4803" y="1427"/>
                </a:lnTo>
                <a:lnTo>
                  <a:pt x="4810" y="1469"/>
                </a:lnTo>
                <a:lnTo>
                  <a:pt x="4816" y="1511"/>
                </a:lnTo>
                <a:lnTo>
                  <a:pt x="4820" y="1555"/>
                </a:lnTo>
                <a:lnTo>
                  <a:pt x="4823" y="1598"/>
                </a:lnTo>
                <a:lnTo>
                  <a:pt x="4825" y="1641"/>
                </a:lnTo>
                <a:lnTo>
                  <a:pt x="4827" y="1686"/>
                </a:lnTo>
                <a:lnTo>
                  <a:pt x="4827" y="1729"/>
                </a:lnTo>
                <a:lnTo>
                  <a:pt x="4827" y="1768"/>
                </a:lnTo>
                <a:lnTo>
                  <a:pt x="4826" y="1806"/>
                </a:lnTo>
                <a:lnTo>
                  <a:pt x="4824" y="1843"/>
                </a:lnTo>
                <a:lnTo>
                  <a:pt x="4822" y="1880"/>
                </a:lnTo>
                <a:lnTo>
                  <a:pt x="4818" y="1917"/>
                </a:lnTo>
                <a:lnTo>
                  <a:pt x="4814" y="1954"/>
                </a:lnTo>
                <a:lnTo>
                  <a:pt x="4808" y="1990"/>
                </a:lnTo>
                <a:lnTo>
                  <a:pt x="4803" y="2027"/>
                </a:lnTo>
                <a:lnTo>
                  <a:pt x="4797" y="2062"/>
                </a:lnTo>
                <a:lnTo>
                  <a:pt x="4789" y="2098"/>
                </a:lnTo>
                <a:lnTo>
                  <a:pt x="4781" y="2134"/>
                </a:lnTo>
                <a:lnTo>
                  <a:pt x="4772" y="2169"/>
                </a:lnTo>
                <a:lnTo>
                  <a:pt x="4763" y="2204"/>
                </a:lnTo>
                <a:lnTo>
                  <a:pt x="4752" y="2240"/>
                </a:lnTo>
                <a:lnTo>
                  <a:pt x="4740" y="2274"/>
                </a:lnTo>
                <a:lnTo>
                  <a:pt x="4729" y="2308"/>
                </a:lnTo>
                <a:lnTo>
                  <a:pt x="4716" y="2342"/>
                </a:lnTo>
                <a:lnTo>
                  <a:pt x="4702" y="2376"/>
                </a:lnTo>
                <a:lnTo>
                  <a:pt x="4688" y="2410"/>
                </a:lnTo>
                <a:lnTo>
                  <a:pt x="4673" y="2443"/>
                </a:lnTo>
                <a:lnTo>
                  <a:pt x="4657" y="2476"/>
                </a:lnTo>
                <a:lnTo>
                  <a:pt x="4641" y="2508"/>
                </a:lnTo>
                <a:lnTo>
                  <a:pt x="4624" y="2541"/>
                </a:lnTo>
                <a:lnTo>
                  <a:pt x="4605" y="2573"/>
                </a:lnTo>
                <a:lnTo>
                  <a:pt x="4586" y="2606"/>
                </a:lnTo>
                <a:lnTo>
                  <a:pt x="4566" y="2638"/>
                </a:lnTo>
                <a:lnTo>
                  <a:pt x="4546" y="2669"/>
                </a:lnTo>
                <a:lnTo>
                  <a:pt x="4525" y="2701"/>
                </a:lnTo>
                <a:lnTo>
                  <a:pt x="4502" y="2732"/>
                </a:lnTo>
                <a:lnTo>
                  <a:pt x="4480" y="2763"/>
                </a:lnTo>
                <a:lnTo>
                  <a:pt x="4456" y="2793"/>
                </a:lnTo>
                <a:lnTo>
                  <a:pt x="4431" y="2824"/>
                </a:lnTo>
                <a:lnTo>
                  <a:pt x="4407" y="2853"/>
                </a:lnTo>
                <a:lnTo>
                  <a:pt x="4381" y="2883"/>
                </a:lnTo>
                <a:lnTo>
                  <a:pt x="4356" y="2910"/>
                </a:lnTo>
                <a:lnTo>
                  <a:pt x="4329" y="2938"/>
                </a:lnTo>
                <a:lnTo>
                  <a:pt x="4303" y="2965"/>
                </a:lnTo>
                <a:lnTo>
                  <a:pt x="4276" y="2991"/>
                </a:lnTo>
                <a:lnTo>
                  <a:pt x="4249" y="3017"/>
                </a:lnTo>
                <a:lnTo>
                  <a:pt x="4220" y="3041"/>
                </a:lnTo>
                <a:lnTo>
                  <a:pt x="4192" y="3066"/>
                </a:lnTo>
                <a:lnTo>
                  <a:pt x="4164" y="3089"/>
                </a:lnTo>
                <a:lnTo>
                  <a:pt x="4134" y="3112"/>
                </a:lnTo>
                <a:lnTo>
                  <a:pt x="4105" y="3134"/>
                </a:lnTo>
                <a:lnTo>
                  <a:pt x="4075" y="3155"/>
                </a:lnTo>
                <a:lnTo>
                  <a:pt x="4045" y="3176"/>
                </a:lnTo>
                <a:lnTo>
                  <a:pt x="4014" y="3196"/>
                </a:lnTo>
                <a:lnTo>
                  <a:pt x="3982" y="3215"/>
                </a:lnTo>
                <a:lnTo>
                  <a:pt x="3950" y="3233"/>
                </a:lnTo>
                <a:lnTo>
                  <a:pt x="3919" y="3252"/>
                </a:lnTo>
                <a:lnTo>
                  <a:pt x="3887" y="3269"/>
                </a:lnTo>
                <a:lnTo>
                  <a:pt x="3854" y="3286"/>
                </a:lnTo>
                <a:lnTo>
                  <a:pt x="3820" y="3301"/>
                </a:lnTo>
                <a:lnTo>
                  <a:pt x="3786" y="3316"/>
                </a:lnTo>
                <a:lnTo>
                  <a:pt x="3752" y="3331"/>
                </a:lnTo>
                <a:lnTo>
                  <a:pt x="3718" y="3344"/>
                </a:lnTo>
                <a:lnTo>
                  <a:pt x="3683" y="3358"/>
                </a:lnTo>
                <a:lnTo>
                  <a:pt x="3647" y="3370"/>
                </a:lnTo>
                <a:lnTo>
                  <a:pt x="3611" y="3381"/>
                </a:lnTo>
                <a:lnTo>
                  <a:pt x="3575" y="3393"/>
                </a:lnTo>
                <a:lnTo>
                  <a:pt x="3538" y="3402"/>
                </a:lnTo>
                <a:lnTo>
                  <a:pt x="3500" y="3412"/>
                </a:lnTo>
                <a:lnTo>
                  <a:pt x="3463" y="3421"/>
                </a:lnTo>
                <a:lnTo>
                  <a:pt x="3425" y="3429"/>
                </a:lnTo>
                <a:lnTo>
                  <a:pt x="3438" y="3443"/>
                </a:lnTo>
                <a:lnTo>
                  <a:pt x="3449" y="3456"/>
                </a:lnTo>
                <a:lnTo>
                  <a:pt x="3459" y="3468"/>
                </a:lnTo>
                <a:lnTo>
                  <a:pt x="3466" y="3480"/>
                </a:lnTo>
                <a:lnTo>
                  <a:pt x="3473" y="3491"/>
                </a:lnTo>
                <a:lnTo>
                  <a:pt x="3477" y="3501"/>
                </a:lnTo>
                <a:lnTo>
                  <a:pt x="3479" y="3512"/>
                </a:lnTo>
                <a:lnTo>
                  <a:pt x="3480" y="3522"/>
                </a:lnTo>
                <a:close/>
              </a:path>
            </a:pathLst>
          </a:custGeom>
          <a:solidFill>
            <a:schemeClr val="accent1"/>
          </a:solidFill>
          <a:ln w="9525">
            <a:noFill/>
            <a:round/>
            <a:headEnd/>
            <a:tailEnd/>
          </a:ln>
        </p:spPr>
        <p:txBody>
          <a:bodyPr/>
          <a:lstStyle>
            <a:defPPr>
              <a:defRPr lang="en-US"/>
            </a:defPPr>
            <a:lvl1pPr marL="0" algn="l" defTabSz="1018824" rtl="0" eaLnBrk="1" latinLnBrk="0" hangingPunct="1">
              <a:defRPr sz="2000" kern="1200">
                <a:solidFill>
                  <a:schemeClr val="tx1"/>
                </a:solidFill>
                <a:latin typeface="+mn-lt"/>
                <a:ea typeface="+mn-ea"/>
                <a:cs typeface="+mn-cs"/>
              </a:defRPr>
            </a:lvl1pPr>
            <a:lvl2pPr marL="509412" algn="l" defTabSz="1018824" rtl="0" eaLnBrk="1" latinLnBrk="0" hangingPunct="1">
              <a:defRPr sz="2000" kern="1200">
                <a:solidFill>
                  <a:schemeClr val="tx1"/>
                </a:solidFill>
                <a:latin typeface="+mn-lt"/>
                <a:ea typeface="+mn-ea"/>
                <a:cs typeface="+mn-cs"/>
              </a:defRPr>
            </a:lvl2pPr>
            <a:lvl3pPr marL="1018824" algn="l" defTabSz="1018824" rtl="0" eaLnBrk="1" latinLnBrk="0" hangingPunct="1">
              <a:defRPr sz="2000" kern="1200">
                <a:solidFill>
                  <a:schemeClr val="tx1"/>
                </a:solidFill>
                <a:latin typeface="+mn-lt"/>
                <a:ea typeface="+mn-ea"/>
                <a:cs typeface="+mn-cs"/>
              </a:defRPr>
            </a:lvl3pPr>
            <a:lvl4pPr marL="1528237" algn="l" defTabSz="1018824" rtl="0" eaLnBrk="1" latinLnBrk="0" hangingPunct="1">
              <a:defRPr sz="2000" kern="1200">
                <a:solidFill>
                  <a:schemeClr val="tx1"/>
                </a:solidFill>
                <a:latin typeface="+mn-lt"/>
                <a:ea typeface="+mn-ea"/>
                <a:cs typeface="+mn-cs"/>
              </a:defRPr>
            </a:lvl4pPr>
            <a:lvl5pPr marL="2037649" algn="l" defTabSz="1018824" rtl="0" eaLnBrk="1" latinLnBrk="0" hangingPunct="1">
              <a:defRPr sz="2000" kern="1200">
                <a:solidFill>
                  <a:schemeClr val="tx1"/>
                </a:solidFill>
                <a:latin typeface="+mn-lt"/>
                <a:ea typeface="+mn-ea"/>
                <a:cs typeface="+mn-cs"/>
              </a:defRPr>
            </a:lvl5pPr>
            <a:lvl6pPr marL="2547061" algn="l" defTabSz="1018824" rtl="0" eaLnBrk="1" latinLnBrk="0" hangingPunct="1">
              <a:defRPr sz="2000" kern="1200">
                <a:solidFill>
                  <a:schemeClr val="tx1"/>
                </a:solidFill>
                <a:latin typeface="+mn-lt"/>
                <a:ea typeface="+mn-ea"/>
                <a:cs typeface="+mn-cs"/>
              </a:defRPr>
            </a:lvl6pPr>
            <a:lvl7pPr marL="3056473" algn="l" defTabSz="1018824" rtl="0" eaLnBrk="1" latinLnBrk="0" hangingPunct="1">
              <a:defRPr sz="2000" kern="1200">
                <a:solidFill>
                  <a:schemeClr val="tx1"/>
                </a:solidFill>
                <a:latin typeface="+mn-lt"/>
                <a:ea typeface="+mn-ea"/>
                <a:cs typeface="+mn-cs"/>
              </a:defRPr>
            </a:lvl7pPr>
            <a:lvl8pPr marL="3565886" algn="l" defTabSz="1018824" rtl="0" eaLnBrk="1" latinLnBrk="0" hangingPunct="1">
              <a:defRPr sz="2000" kern="1200">
                <a:solidFill>
                  <a:schemeClr val="tx1"/>
                </a:solidFill>
                <a:latin typeface="+mn-lt"/>
                <a:ea typeface="+mn-ea"/>
                <a:cs typeface="+mn-cs"/>
              </a:defRPr>
            </a:lvl8pPr>
            <a:lvl9pPr marL="4075298" algn="l" defTabSz="1018824" rtl="0" eaLnBrk="1" latinLnBrk="0" hangingPunct="1">
              <a:defRPr sz="2000" kern="1200">
                <a:solidFill>
                  <a:schemeClr val="tx1"/>
                </a:solidFill>
                <a:latin typeface="+mn-lt"/>
                <a:ea typeface="+mn-ea"/>
                <a:cs typeface="+mn-cs"/>
              </a:defRPr>
            </a:lvl9pPr>
          </a:lstStyle>
          <a:p>
            <a:pPr marL="0" marR="0" lvl="0" indent="0" algn="l" defTabSz="1018824" rtl="0" eaLnBrk="1" fontAlgn="auto" latinLnBrk="0" hangingPunct="1">
              <a:lnSpc>
                <a:spcPct val="100000"/>
              </a:lnSpc>
              <a:spcBef>
                <a:spcPts val="0"/>
              </a:spcBef>
              <a:spcAft>
                <a:spcPts val="0"/>
              </a:spcAft>
              <a:buClrTx/>
              <a:buSzTx/>
              <a:buFontTx/>
              <a:buNone/>
              <a:tabLst/>
              <a:defRPr/>
            </a:pPr>
            <a:endParaRPr kumimoji="0" lang="en-GB" sz="1589"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1" name="Freeform 15">
            <a:extLst>
              <a:ext uri="{FF2B5EF4-FFF2-40B4-BE49-F238E27FC236}">
                <a16:creationId xmlns:a16="http://schemas.microsoft.com/office/drawing/2014/main" id="{0B1500AE-FFAA-41C1-8FD8-FE4B609D389A}"/>
              </a:ext>
            </a:extLst>
          </p:cNvPr>
          <p:cNvSpPr>
            <a:spLocks/>
          </p:cNvSpPr>
          <p:nvPr/>
        </p:nvSpPr>
        <p:spPr bwMode="auto">
          <a:xfrm>
            <a:off x="5750618" y="1856608"/>
            <a:ext cx="197037" cy="470851"/>
          </a:xfrm>
          <a:custGeom>
            <a:avLst/>
            <a:gdLst>
              <a:gd name="T0" fmla="*/ 13344091 w 6132"/>
              <a:gd name="T1" fmla="*/ 10441401 h 16980"/>
              <a:gd name="T2" fmla="*/ 14439013 w 6132"/>
              <a:gd name="T3" fmla="*/ 10808942 h 16980"/>
              <a:gd name="T4" fmla="*/ 15478309 w 6132"/>
              <a:gd name="T5" fmla="*/ 11467619 h 16980"/>
              <a:gd name="T6" fmla="*/ 16450295 w 6132"/>
              <a:gd name="T7" fmla="*/ 12408541 h 16980"/>
              <a:gd name="T8" fmla="*/ 17214401 w 6132"/>
              <a:gd name="T9" fmla="*/ 13481773 h 16980"/>
              <a:gd name="T10" fmla="*/ 17709159 w 6132"/>
              <a:gd name="T11" fmla="*/ 14605004 h 16980"/>
              <a:gd name="T12" fmla="*/ 17937493 w 6132"/>
              <a:gd name="T13" fmla="*/ 15789994 h 16980"/>
              <a:gd name="T14" fmla="*/ 17922884 w 6132"/>
              <a:gd name="T15" fmla="*/ 28795453 h 16980"/>
              <a:gd name="T16" fmla="*/ 17720901 w 6132"/>
              <a:gd name="T17" fmla="*/ 29724608 h 16980"/>
              <a:gd name="T18" fmla="*/ 17322724 w 6132"/>
              <a:gd name="T19" fmla="*/ 30571448 h 16980"/>
              <a:gd name="T20" fmla="*/ 16731329 w 6132"/>
              <a:gd name="T21" fmla="*/ 31344758 h 16980"/>
              <a:gd name="T22" fmla="*/ 15970146 w 6132"/>
              <a:gd name="T23" fmla="*/ 32000508 h 16980"/>
              <a:gd name="T24" fmla="*/ 15062602 w 6132"/>
              <a:gd name="T25" fmla="*/ 32509198 h 16980"/>
              <a:gd name="T26" fmla="*/ 14014483 w 6132"/>
              <a:gd name="T27" fmla="*/ 32867899 h 16980"/>
              <a:gd name="T28" fmla="*/ 4168927 w 6132"/>
              <a:gd name="T29" fmla="*/ 32935519 h 16980"/>
              <a:gd name="T30" fmla="*/ 3003722 w 6132"/>
              <a:gd name="T31" fmla="*/ 32515054 h 16980"/>
              <a:gd name="T32" fmla="*/ 2104943 w 6132"/>
              <a:gd name="T33" fmla="*/ 32053432 h 16980"/>
              <a:gd name="T34" fmla="*/ 1334994 w 6132"/>
              <a:gd name="T35" fmla="*/ 31503585 h 16980"/>
              <a:gd name="T36" fmla="*/ 723146 w 6132"/>
              <a:gd name="T37" fmla="*/ 30883136 h 16980"/>
              <a:gd name="T38" fmla="*/ 295697 w 6132"/>
              <a:gd name="T39" fmla="*/ 30230369 h 16980"/>
              <a:gd name="T40" fmla="*/ 55622 w 6132"/>
              <a:gd name="T41" fmla="*/ 29542302 h 16980"/>
              <a:gd name="T42" fmla="*/ 2922 w 6132"/>
              <a:gd name="T43" fmla="*/ 16034064 h 16980"/>
              <a:gd name="T44" fmla="*/ 166867 w 6132"/>
              <a:gd name="T45" fmla="*/ 14637376 h 16980"/>
              <a:gd name="T46" fmla="*/ 608925 w 6132"/>
              <a:gd name="T47" fmla="*/ 13408297 h 16980"/>
              <a:gd name="T48" fmla="*/ 1326228 w 6132"/>
              <a:gd name="T49" fmla="*/ 12352689 h 16980"/>
              <a:gd name="T50" fmla="*/ 2309902 w 6132"/>
              <a:gd name="T51" fmla="*/ 11479386 h 16980"/>
              <a:gd name="T52" fmla="*/ 3495559 w 6132"/>
              <a:gd name="T53" fmla="*/ 10853081 h 16980"/>
              <a:gd name="T54" fmla="*/ 4889097 w 6132"/>
              <a:gd name="T55" fmla="*/ 10479630 h 16980"/>
              <a:gd name="T56" fmla="*/ 6475906 w 6132"/>
              <a:gd name="T57" fmla="*/ 10356104 h 16980"/>
              <a:gd name="T58" fmla="*/ 6768627 w 6132"/>
              <a:gd name="T59" fmla="*/ 10332625 h 16980"/>
              <a:gd name="T60" fmla="*/ 7661564 w 6132"/>
              <a:gd name="T61" fmla="*/ 10323786 h 16980"/>
              <a:gd name="T62" fmla="*/ 7863602 w 6132"/>
              <a:gd name="T63" fmla="*/ 10085627 h 16980"/>
              <a:gd name="T64" fmla="*/ 7032131 w 6132"/>
              <a:gd name="T65" fmla="*/ 9768029 h 16980"/>
              <a:gd name="T66" fmla="*/ 6197794 w 6132"/>
              <a:gd name="T67" fmla="*/ 9285801 h 16980"/>
              <a:gd name="T68" fmla="*/ 5471726 w 6132"/>
              <a:gd name="T69" fmla="*/ 8674191 h 16980"/>
              <a:gd name="T70" fmla="*/ 4859825 w 6132"/>
              <a:gd name="T71" fmla="*/ 7936181 h 16980"/>
              <a:gd name="T72" fmla="*/ 4409002 w 6132"/>
              <a:gd name="T73" fmla="*/ 7115803 h 16980"/>
              <a:gd name="T74" fmla="*/ 4122070 w 6132"/>
              <a:gd name="T75" fmla="*/ 6242499 h 16980"/>
              <a:gd name="T76" fmla="*/ 4002059 w 6132"/>
              <a:gd name="T77" fmla="*/ 5304506 h 16980"/>
              <a:gd name="T78" fmla="*/ 4069369 w 6132"/>
              <a:gd name="T79" fmla="*/ 4195974 h 16980"/>
              <a:gd name="T80" fmla="*/ 4370910 w 6132"/>
              <a:gd name="T81" fmla="*/ 3140364 h 16980"/>
              <a:gd name="T82" fmla="*/ 4906682 w 6132"/>
              <a:gd name="T83" fmla="*/ 2181765 h 16980"/>
              <a:gd name="T84" fmla="*/ 5679553 w 6132"/>
              <a:gd name="T85" fmla="*/ 1317301 h 16980"/>
              <a:gd name="T86" fmla="*/ 6578332 w 6132"/>
              <a:gd name="T87" fmla="*/ 643928 h 16980"/>
              <a:gd name="T88" fmla="*/ 7576670 w 6132"/>
              <a:gd name="T89" fmla="*/ 208768 h 16980"/>
              <a:gd name="T90" fmla="*/ 8671588 w 6132"/>
              <a:gd name="T91" fmla="*/ 11767 h 16980"/>
              <a:gd name="T92" fmla="*/ 9825105 w 6132"/>
              <a:gd name="T93" fmla="*/ 52924 h 16980"/>
              <a:gd name="T94" fmla="*/ 10893673 w 6132"/>
              <a:gd name="T95" fmla="*/ 326384 h 16980"/>
              <a:gd name="T96" fmla="*/ 11865659 w 6132"/>
              <a:gd name="T97" fmla="*/ 843912 h 16980"/>
              <a:gd name="T98" fmla="*/ 12743931 w 6132"/>
              <a:gd name="T99" fmla="*/ 1593689 h 16980"/>
              <a:gd name="T100" fmla="*/ 13431908 w 6132"/>
              <a:gd name="T101" fmla="*/ 2490525 h 16980"/>
              <a:gd name="T102" fmla="*/ 13891551 w 6132"/>
              <a:gd name="T103" fmla="*/ 3481443 h 16980"/>
              <a:gd name="T104" fmla="*/ 14111119 w 6132"/>
              <a:gd name="T105" fmla="*/ 4572353 h 16980"/>
              <a:gd name="T106" fmla="*/ 14105275 w 6132"/>
              <a:gd name="T107" fmla="*/ 5636746 h 16980"/>
              <a:gd name="T108" fmla="*/ 13912057 w 6132"/>
              <a:gd name="T109" fmla="*/ 6586506 h 16980"/>
              <a:gd name="T110" fmla="*/ 13537309 w 6132"/>
              <a:gd name="T111" fmla="*/ 7471577 h 16980"/>
              <a:gd name="T112" fmla="*/ 12972265 w 6132"/>
              <a:gd name="T113" fmla="*/ 8303722 h 16980"/>
              <a:gd name="T114" fmla="*/ 12272601 w 6132"/>
              <a:gd name="T115" fmla="*/ 9015324 h 16980"/>
              <a:gd name="T116" fmla="*/ 11473326 w 6132"/>
              <a:gd name="T117" fmla="*/ 9562188 h 16980"/>
              <a:gd name="T118" fmla="*/ 10571626 w 6132"/>
              <a:gd name="T119" fmla="*/ 9941550 h 16980"/>
              <a:gd name="T120" fmla="*/ 10147098 w 6132"/>
              <a:gd name="T121" fmla="*/ 10232633 h 1698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6132"/>
              <a:gd name="T184" fmla="*/ 0 h 16980"/>
              <a:gd name="T185" fmla="*/ 6132 w 6132"/>
              <a:gd name="T186" fmla="*/ 16980 h 16980"/>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6132" h="16980">
                <a:moveTo>
                  <a:pt x="3480" y="3522"/>
                </a:moveTo>
                <a:lnTo>
                  <a:pt x="4254" y="3522"/>
                </a:lnTo>
                <a:lnTo>
                  <a:pt x="4298" y="3522"/>
                </a:lnTo>
                <a:lnTo>
                  <a:pt x="4342" y="3524"/>
                </a:lnTo>
                <a:lnTo>
                  <a:pt x="4386" y="3527"/>
                </a:lnTo>
                <a:lnTo>
                  <a:pt x="4429" y="3531"/>
                </a:lnTo>
                <a:lnTo>
                  <a:pt x="4473" y="3536"/>
                </a:lnTo>
                <a:lnTo>
                  <a:pt x="4515" y="3543"/>
                </a:lnTo>
                <a:lnTo>
                  <a:pt x="4558" y="3551"/>
                </a:lnTo>
                <a:lnTo>
                  <a:pt x="4601" y="3560"/>
                </a:lnTo>
                <a:lnTo>
                  <a:pt x="4643" y="3570"/>
                </a:lnTo>
                <a:lnTo>
                  <a:pt x="4685" y="3582"/>
                </a:lnTo>
                <a:lnTo>
                  <a:pt x="4727" y="3595"/>
                </a:lnTo>
                <a:lnTo>
                  <a:pt x="4769" y="3609"/>
                </a:lnTo>
                <a:lnTo>
                  <a:pt x="4809" y="3624"/>
                </a:lnTo>
                <a:lnTo>
                  <a:pt x="4851" y="3640"/>
                </a:lnTo>
                <a:lnTo>
                  <a:pt x="4892" y="3658"/>
                </a:lnTo>
                <a:lnTo>
                  <a:pt x="4932" y="3676"/>
                </a:lnTo>
                <a:lnTo>
                  <a:pt x="4973" y="3696"/>
                </a:lnTo>
                <a:lnTo>
                  <a:pt x="5013" y="3717"/>
                </a:lnTo>
                <a:lnTo>
                  <a:pt x="5052" y="3739"/>
                </a:lnTo>
                <a:lnTo>
                  <a:pt x="5093" y="3763"/>
                </a:lnTo>
                <a:lnTo>
                  <a:pt x="5132" y="3788"/>
                </a:lnTo>
                <a:lnTo>
                  <a:pt x="5171" y="3814"/>
                </a:lnTo>
                <a:lnTo>
                  <a:pt x="5210" y="3842"/>
                </a:lnTo>
                <a:lnTo>
                  <a:pt x="5249" y="3870"/>
                </a:lnTo>
                <a:lnTo>
                  <a:pt x="5287" y="3900"/>
                </a:lnTo>
                <a:lnTo>
                  <a:pt x="5325" y="3931"/>
                </a:lnTo>
                <a:lnTo>
                  <a:pt x="5364" y="3963"/>
                </a:lnTo>
                <a:lnTo>
                  <a:pt x="5401" y="3997"/>
                </a:lnTo>
                <a:lnTo>
                  <a:pt x="5438" y="4031"/>
                </a:lnTo>
                <a:lnTo>
                  <a:pt x="5475" y="4067"/>
                </a:lnTo>
                <a:lnTo>
                  <a:pt x="5512" y="4104"/>
                </a:lnTo>
                <a:lnTo>
                  <a:pt x="5549" y="4142"/>
                </a:lnTo>
                <a:lnTo>
                  <a:pt x="5584" y="4181"/>
                </a:lnTo>
                <a:lnTo>
                  <a:pt x="5619" y="4220"/>
                </a:lnTo>
                <a:lnTo>
                  <a:pt x="5652" y="4260"/>
                </a:lnTo>
                <a:lnTo>
                  <a:pt x="5685" y="4300"/>
                </a:lnTo>
                <a:lnTo>
                  <a:pt x="5716" y="4339"/>
                </a:lnTo>
                <a:lnTo>
                  <a:pt x="5747" y="4379"/>
                </a:lnTo>
                <a:lnTo>
                  <a:pt x="5775" y="4420"/>
                </a:lnTo>
                <a:lnTo>
                  <a:pt x="5803" y="4460"/>
                </a:lnTo>
                <a:lnTo>
                  <a:pt x="5830" y="4502"/>
                </a:lnTo>
                <a:lnTo>
                  <a:pt x="5855" y="4543"/>
                </a:lnTo>
                <a:lnTo>
                  <a:pt x="5880" y="4585"/>
                </a:lnTo>
                <a:lnTo>
                  <a:pt x="5904" y="4626"/>
                </a:lnTo>
                <a:lnTo>
                  <a:pt x="5925" y="4667"/>
                </a:lnTo>
                <a:lnTo>
                  <a:pt x="5946" y="4710"/>
                </a:lnTo>
                <a:lnTo>
                  <a:pt x="5967" y="4752"/>
                </a:lnTo>
                <a:lnTo>
                  <a:pt x="5986" y="4795"/>
                </a:lnTo>
                <a:lnTo>
                  <a:pt x="6004" y="4838"/>
                </a:lnTo>
                <a:lnTo>
                  <a:pt x="6020" y="4880"/>
                </a:lnTo>
                <a:lnTo>
                  <a:pt x="6036" y="4924"/>
                </a:lnTo>
                <a:lnTo>
                  <a:pt x="6049" y="4967"/>
                </a:lnTo>
                <a:lnTo>
                  <a:pt x="6063" y="5011"/>
                </a:lnTo>
                <a:lnTo>
                  <a:pt x="6075" y="5055"/>
                </a:lnTo>
                <a:lnTo>
                  <a:pt x="6085" y="5100"/>
                </a:lnTo>
                <a:lnTo>
                  <a:pt x="6095" y="5144"/>
                </a:lnTo>
                <a:lnTo>
                  <a:pt x="6104" y="5189"/>
                </a:lnTo>
                <a:lnTo>
                  <a:pt x="6111" y="5234"/>
                </a:lnTo>
                <a:lnTo>
                  <a:pt x="6117" y="5280"/>
                </a:lnTo>
                <a:lnTo>
                  <a:pt x="6123" y="5324"/>
                </a:lnTo>
                <a:lnTo>
                  <a:pt x="6127" y="5370"/>
                </a:lnTo>
                <a:lnTo>
                  <a:pt x="6130" y="5417"/>
                </a:lnTo>
                <a:lnTo>
                  <a:pt x="6131" y="5463"/>
                </a:lnTo>
                <a:lnTo>
                  <a:pt x="6132" y="5509"/>
                </a:lnTo>
                <a:lnTo>
                  <a:pt x="6132" y="9605"/>
                </a:lnTo>
                <a:lnTo>
                  <a:pt x="6132" y="9643"/>
                </a:lnTo>
                <a:lnTo>
                  <a:pt x="6130" y="9682"/>
                </a:lnTo>
                <a:lnTo>
                  <a:pt x="6129" y="9719"/>
                </a:lnTo>
                <a:lnTo>
                  <a:pt x="6126" y="9756"/>
                </a:lnTo>
                <a:lnTo>
                  <a:pt x="6122" y="9793"/>
                </a:lnTo>
                <a:lnTo>
                  <a:pt x="6117" y="9829"/>
                </a:lnTo>
                <a:lnTo>
                  <a:pt x="6112" y="9866"/>
                </a:lnTo>
                <a:lnTo>
                  <a:pt x="6107" y="9901"/>
                </a:lnTo>
                <a:lnTo>
                  <a:pt x="6099" y="9937"/>
                </a:lnTo>
                <a:lnTo>
                  <a:pt x="6092" y="9972"/>
                </a:lnTo>
                <a:lnTo>
                  <a:pt x="6083" y="10007"/>
                </a:lnTo>
                <a:lnTo>
                  <a:pt x="6074" y="10041"/>
                </a:lnTo>
                <a:lnTo>
                  <a:pt x="6063" y="10075"/>
                </a:lnTo>
                <a:lnTo>
                  <a:pt x="6053" y="10109"/>
                </a:lnTo>
                <a:lnTo>
                  <a:pt x="6041" y="10142"/>
                </a:lnTo>
                <a:lnTo>
                  <a:pt x="6028" y="10175"/>
                </a:lnTo>
                <a:lnTo>
                  <a:pt x="6014" y="10208"/>
                </a:lnTo>
                <a:lnTo>
                  <a:pt x="6001" y="10241"/>
                </a:lnTo>
                <a:lnTo>
                  <a:pt x="5986" y="10273"/>
                </a:lnTo>
                <a:lnTo>
                  <a:pt x="5970" y="10305"/>
                </a:lnTo>
                <a:lnTo>
                  <a:pt x="5953" y="10335"/>
                </a:lnTo>
                <a:lnTo>
                  <a:pt x="5935" y="10366"/>
                </a:lnTo>
                <a:lnTo>
                  <a:pt x="5917" y="10397"/>
                </a:lnTo>
                <a:lnTo>
                  <a:pt x="5898" y="10428"/>
                </a:lnTo>
                <a:lnTo>
                  <a:pt x="5877" y="10458"/>
                </a:lnTo>
                <a:lnTo>
                  <a:pt x="5857" y="10487"/>
                </a:lnTo>
                <a:lnTo>
                  <a:pt x="5835" y="10517"/>
                </a:lnTo>
                <a:lnTo>
                  <a:pt x="5813" y="10546"/>
                </a:lnTo>
                <a:lnTo>
                  <a:pt x="5789" y="10575"/>
                </a:lnTo>
                <a:lnTo>
                  <a:pt x="5766" y="10603"/>
                </a:lnTo>
                <a:lnTo>
                  <a:pt x="5740" y="10632"/>
                </a:lnTo>
                <a:lnTo>
                  <a:pt x="5715" y="10660"/>
                </a:lnTo>
                <a:lnTo>
                  <a:pt x="5688" y="10687"/>
                </a:lnTo>
                <a:lnTo>
                  <a:pt x="5661" y="10714"/>
                </a:lnTo>
                <a:lnTo>
                  <a:pt x="5633" y="10739"/>
                </a:lnTo>
                <a:lnTo>
                  <a:pt x="5606" y="10765"/>
                </a:lnTo>
                <a:lnTo>
                  <a:pt x="5576" y="10790"/>
                </a:lnTo>
                <a:lnTo>
                  <a:pt x="5546" y="10814"/>
                </a:lnTo>
                <a:lnTo>
                  <a:pt x="5516" y="10838"/>
                </a:lnTo>
                <a:lnTo>
                  <a:pt x="5486" y="10860"/>
                </a:lnTo>
                <a:lnTo>
                  <a:pt x="5455" y="10883"/>
                </a:lnTo>
                <a:lnTo>
                  <a:pt x="5422" y="10905"/>
                </a:lnTo>
                <a:lnTo>
                  <a:pt x="5390" y="10925"/>
                </a:lnTo>
                <a:lnTo>
                  <a:pt x="5357" y="10947"/>
                </a:lnTo>
                <a:lnTo>
                  <a:pt x="5323" y="10966"/>
                </a:lnTo>
                <a:lnTo>
                  <a:pt x="5288" y="10985"/>
                </a:lnTo>
                <a:lnTo>
                  <a:pt x="5253" y="11004"/>
                </a:lnTo>
                <a:lnTo>
                  <a:pt x="5218" y="11022"/>
                </a:lnTo>
                <a:lnTo>
                  <a:pt x="5182" y="11039"/>
                </a:lnTo>
                <a:lnTo>
                  <a:pt x="5145" y="11056"/>
                </a:lnTo>
                <a:lnTo>
                  <a:pt x="5108" y="11072"/>
                </a:lnTo>
                <a:lnTo>
                  <a:pt x="5069" y="11087"/>
                </a:lnTo>
                <a:lnTo>
                  <a:pt x="5031" y="11102"/>
                </a:lnTo>
                <a:lnTo>
                  <a:pt x="4992" y="11117"/>
                </a:lnTo>
                <a:lnTo>
                  <a:pt x="4952" y="11130"/>
                </a:lnTo>
                <a:lnTo>
                  <a:pt x="4911" y="11143"/>
                </a:lnTo>
                <a:lnTo>
                  <a:pt x="4871" y="11155"/>
                </a:lnTo>
                <a:lnTo>
                  <a:pt x="4828" y="11167"/>
                </a:lnTo>
                <a:lnTo>
                  <a:pt x="4787" y="11178"/>
                </a:lnTo>
                <a:lnTo>
                  <a:pt x="4743" y="11189"/>
                </a:lnTo>
                <a:lnTo>
                  <a:pt x="4701" y="11199"/>
                </a:lnTo>
                <a:lnTo>
                  <a:pt x="4656" y="11208"/>
                </a:lnTo>
                <a:lnTo>
                  <a:pt x="4612" y="11217"/>
                </a:lnTo>
                <a:lnTo>
                  <a:pt x="4567" y="11225"/>
                </a:lnTo>
                <a:lnTo>
                  <a:pt x="4567" y="16980"/>
                </a:lnTo>
                <a:lnTo>
                  <a:pt x="1510" y="16980"/>
                </a:lnTo>
                <a:lnTo>
                  <a:pt x="1510" y="11225"/>
                </a:lnTo>
                <a:lnTo>
                  <a:pt x="1424" y="11201"/>
                </a:lnTo>
                <a:lnTo>
                  <a:pt x="1340" y="11175"/>
                </a:lnTo>
                <a:lnTo>
                  <a:pt x="1298" y="11161"/>
                </a:lnTo>
                <a:lnTo>
                  <a:pt x="1258" y="11148"/>
                </a:lnTo>
                <a:lnTo>
                  <a:pt x="1218" y="11134"/>
                </a:lnTo>
                <a:lnTo>
                  <a:pt x="1178" y="11120"/>
                </a:lnTo>
                <a:lnTo>
                  <a:pt x="1139" y="11105"/>
                </a:lnTo>
                <a:lnTo>
                  <a:pt x="1101" y="11089"/>
                </a:lnTo>
                <a:lnTo>
                  <a:pt x="1064" y="11074"/>
                </a:lnTo>
                <a:lnTo>
                  <a:pt x="1026" y="11058"/>
                </a:lnTo>
                <a:lnTo>
                  <a:pt x="990" y="11042"/>
                </a:lnTo>
                <a:lnTo>
                  <a:pt x="954" y="11025"/>
                </a:lnTo>
                <a:lnTo>
                  <a:pt x="918" y="11009"/>
                </a:lnTo>
                <a:lnTo>
                  <a:pt x="884" y="10991"/>
                </a:lnTo>
                <a:lnTo>
                  <a:pt x="849" y="10974"/>
                </a:lnTo>
                <a:lnTo>
                  <a:pt x="816" y="10956"/>
                </a:lnTo>
                <a:lnTo>
                  <a:pt x="782" y="10938"/>
                </a:lnTo>
                <a:lnTo>
                  <a:pt x="750" y="10920"/>
                </a:lnTo>
                <a:lnTo>
                  <a:pt x="719" y="10901"/>
                </a:lnTo>
                <a:lnTo>
                  <a:pt x="687" y="10882"/>
                </a:lnTo>
                <a:lnTo>
                  <a:pt x="656" y="10862"/>
                </a:lnTo>
                <a:lnTo>
                  <a:pt x="626" y="10841"/>
                </a:lnTo>
                <a:lnTo>
                  <a:pt x="596" y="10821"/>
                </a:lnTo>
                <a:lnTo>
                  <a:pt x="567" y="10801"/>
                </a:lnTo>
                <a:lnTo>
                  <a:pt x="539" y="10780"/>
                </a:lnTo>
                <a:lnTo>
                  <a:pt x="510" y="10758"/>
                </a:lnTo>
                <a:lnTo>
                  <a:pt x="484" y="10736"/>
                </a:lnTo>
                <a:lnTo>
                  <a:pt x="456" y="10714"/>
                </a:lnTo>
                <a:lnTo>
                  <a:pt x="431" y="10691"/>
                </a:lnTo>
                <a:lnTo>
                  <a:pt x="405" y="10668"/>
                </a:lnTo>
                <a:lnTo>
                  <a:pt x="380" y="10646"/>
                </a:lnTo>
                <a:lnTo>
                  <a:pt x="355" y="10622"/>
                </a:lnTo>
                <a:lnTo>
                  <a:pt x="332" y="10599"/>
                </a:lnTo>
                <a:lnTo>
                  <a:pt x="310" y="10576"/>
                </a:lnTo>
                <a:lnTo>
                  <a:pt x="289" y="10551"/>
                </a:lnTo>
                <a:lnTo>
                  <a:pt x="267" y="10528"/>
                </a:lnTo>
                <a:lnTo>
                  <a:pt x="247" y="10503"/>
                </a:lnTo>
                <a:lnTo>
                  <a:pt x="228" y="10480"/>
                </a:lnTo>
                <a:lnTo>
                  <a:pt x="209" y="10455"/>
                </a:lnTo>
                <a:lnTo>
                  <a:pt x="191" y="10431"/>
                </a:lnTo>
                <a:lnTo>
                  <a:pt x="174" y="10407"/>
                </a:lnTo>
                <a:lnTo>
                  <a:pt x="158" y="10382"/>
                </a:lnTo>
                <a:lnTo>
                  <a:pt x="142" y="10357"/>
                </a:lnTo>
                <a:lnTo>
                  <a:pt x="128" y="10332"/>
                </a:lnTo>
                <a:lnTo>
                  <a:pt x="114" y="10307"/>
                </a:lnTo>
                <a:lnTo>
                  <a:pt x="101" y="10281"/>
                </a:lnTo>
                <a:lnTo>
                  <a:pt x="89" y="10256"/>
                </a:lnTo>
                <a:lnTo>
                  <a:pt x="77" y="10230"/>
                </a:lnTo>
                <a:lnTo>
                  <a:pt x="67" y="10205"/>
                </a:lnTo>
                <a:lnTo>
                  <a:pt x="57" y="10179"/>
                </a:lnTo>
                <a:lnTo>
                  <a:pt x="48" y="10153"/>
                </a:lnTo>
                <a:lnTo>
                  <a:pt x="39" y="10127"/>
                </a:lnTo>
                <a:lnTo>
                  <a:pt x="32" y="10100"/>
                </a:lnTo>
                <a:lnTo>
                  <a:pt x="25" y="10074"/>
                </a:lnTo>
                <a:lnTo>
                  <a:pt x="19" y="10047"/>
                </a:lnTo>
                <a:lnTo>
                  <a:pt x="14" y="10021"/>
                </a:lnTo>
                <a:lnTo>
                  <a:pt x="9" y="9994"/>
                </a:lnTo>
                <a:lnTo>
                  <a:pt x="6" y="9967"/>
                </a:lnTo>
                <a:lnTo>
                  <a:pt x="3" y="9940"/>
                </a:lnTo>
                <a:lnTo>
                  <a:pt x="1" y="9912"/>
                </a:lnTo>
                <a:lnTo>
                  <a:pt x="0" y="9885"/>
                </a:lnTo>
                <a:lnTo>
                  <a:pt x="0" y="9857"/>
                </a:lnTo>
                <a:lnTo>
                  <a:pt x="0" y="5509"/>
                </a:lnTo>
                <a:lnTo>
                  <a:pt x="1" y="5453"/>
                </a:lnTo>
                <a:lnTo>
                  <a:pt x="2" y="5398"/>
                </a:lnTo>
                <a:lnTo>
                  <a:pt x="5" y="5342"/>
                </a:lnTo>
                <a:lnTo>
                  <a:pt x="9" y="5288"/>
                </a:lnTo>
                <a:lnTo>
                  <a:pt x="15" y="5235"/>
                </a:lnTo>
                <a:lnTo>
                  <a:pt x="21" y="5182"/>
                </a:lnTo>
                <a:lnTo>
                  <a:pt x="28" y="5130"/>
                </a:lnTo>
                <a:lnTo>
                  <a:pt x="37" y="5079"/>
                </a:lnTo>
                <a:lnTo>
                  <a:pt x="47" y="5028"/>
                </a:lnTo>
                <a:lnTo>
                  <a:pt x="57" y="4978"/>
                </a:lnTo>
                <a:lnTo>
                  <a:pt x="70" y="4929"/>
                </a:lnTo>
                <a:lnTo>
                  <a:pt x="83" y="4880"/>
                </a:lnTo>
                <a:lnTo>
                  <a:pt x="97" y="4832"/>
                </a:lnTo>
                <a:lnTo>
                  <a:pt x="112" y="4785"/>
                </a:lnTo>
                <a:lnTo>
                  <a:pt x="129" y="4739"/>
                </a:lnTo>
                <a:lnTo>
                  <a:pt x="147" y="4693"/>
                </a:lnTo>
                <a:lnTo>
                  <a:pt x="166" y="4648"/>
                </a:lnTo>
                <a:lnTo>
                  <a:pt x="187" y="4604"/>
                </a:lnTo>
                <a:lnTo>
                  <a:pt x="208" y="4560"/>
                </a:lnTo>
                <a:lnTo>
                  <a:pt x="230" y="4518"/>
                </a:lnTo>
                <a:lnTo>
                  <a:pt x="255" y="4476"/>
                </a:lnTo>
                <a:lnTo>
                  <a:pt x="279" y="4435"/>
                </a:lnTo>
                <a:lnTo>
                  <a:pt x="306" y="4393"/>
                </a:lnTo>
                <a:lnTo>
                  <a:pt x="332" y="4354"/>
                </a:lnTo>
                <a:lnTo>
                  <a:pt x="361" y="4315"/>
                </a:lnTo>
                <a:lnTo>
                  <a:pt x="391" y="4275"/>
                </a:lnTo>
                <a:lnTo>
                  <a:pt x="421" y="4238"/>
                </a:lnTo>
                <a:lnTo>
                  <a:pt x="453" y="4201"/>
                </a:lnTo>
                <a:lnTo>
                  <a:pt x="486" y="4165"/>
                </a:lnTo>
                <a:lnTo>
                  <a:pt x="520" y="4129"/>
                </a:lnTo>
                <a:lnTo>
                  <a:pt x="556" y="4093"/>
                </a:lnTo>
                <a:lnTo>
                  <a:pt x="592" y="4059"/>
                </a:lnTo>
                <a:lnTo>
                  <a:pt x="629" y="4025"/>
                </a:lnTo>
                <a:lnTo>
                  <a:pt x="668" y="3994"/>
                </a:lnTo>
                <a:lnTo>
                  <a:pt x="707" y="3963"/>
                </a:lnTo>
                <a:lnTo>
                  <a:pt x="747" y="3933"/>
                </a:lnTo>
                <a:lnTo>
                  <a:pt x="789" y="3904"/>
                </a:lnTo>
                <a:lnTo>
                  <a:pt x="830" y="3876"/>
                </a:lnTo>
                <a:lnTo>
                  <a:pt x="873" y="3849"/>
                </a:lnTo>
                <a:lnTo>
                  <a:pt x="916" y="3823"/>
                </a:lnTo>
                <a:lnTo>
                  <a:pt x="961" y="3799"/>
                </a:lnTo>
                <a:lnTo>
                  <a:pt x="1005" y="3775"/>
                </a:lnTo>
                <a:lnTo>
                  <a:pt x="1052" y="3752"/>
                </a:lnTo>
                <a:lnTo>
                  <a:pt x="1099" y="3731"/>
                </a:lnTo>
                <a:lnTo>
                  <a:pt x="1146" y="3711"/>
                </a:lnTo>
                <a:lnTo>
                  <a:pt x="1194" y="3691"/>
                </a:lnTo>
                <a:lnTo>
                  <a:pt x="1244" y="3672"/>
                </a:lnTo>
                <a:lnTo>
                  <a:pt x="1294" y="3655"/>
                </a:lnTo>
                <a:lnTo>
                  <a:pt x="1345" y="3640"/>
                </a:lnTo>
                <a:lnTo>
                  <a:pt x="1397" y="3624"/>
                </a:lnTo>
                <a:lnTo>
                  <a:pt x="1450" y="3610"/>
                </a:lnTo>
                <a:lnTo>
                  <a:pt x="1503" y="3597"/>
                </a:lnTo>
                <a:lnTo>
                  <a:pt x="1558" y="3584"/>
                </a:lnTo>
                <a:lnTo>
                  <a:pt x="1614" y="3574"/>
                </a:lnTo>
                <a:lnTo>
                  <a:pt x="1670" y="3564"/>
                </a:lnTo>
                <a:lnTo>
                  <a:pt x="1726" y="3554"/>
                </a:lnTo>
                <a:lnTo>
                  <a:pt x="1785" y="3547"/>
                </a:lnTo>
                <a:lnTo>
                  <a:pt x="1843" y="3540"/>
                </a:lnTo>
                <a:lnTo>
                  <a:pt x="1902" y="3534"/>
                </a:lnTo>
                <a:lnTo>
                  <a:pt x="1963" y="3530"/>
                </a:lnTo>
                <a:lnTo>
                  <a:pt x="2024" y="3526"/>
                </a:lnTo>
                <a:lnTo>
                  <a:pt x="2086" y="3524"/>
                </a:lnTo>
                <a:lnTo>
                  <a:pt x="2149" y="3522"/>
                </a:lnTo>
                <a:lnTo>
                  <a:pt x="2212" y="3522"/>
                </a:lnTo>
                <a:lnTo>
                  <a:pt x="2218" y="3517"/>
                </a:lnTo>
                <a:lnTo>
                  <a:pt x="2224" y="3514"/>
                </a:lnTo>
                <a:lnTo>
                  <a:pt x="2230" y="3513"/>
                </a:lnTo>
                <a:lnTo>
                  <a:pt x="2237" y="3512"/>
                </a:lnTo>
                <a:lnTo>
                  <a:pt x="2243" y="3512"/>
                </a:lnTo>
                <a:lnTo>
                  <a:pt x="2251" y="3512"/>
                </a:lnTo>
                <a:lnTo>
                  <a:pt x="2261" y="3512"/>
                </a:lnTo>
                <a:lnTo>
                  <a:pt x="2274" y="3512"/>
                </a:lnTo>
                <a:lnTo>
                  <a:pt x="2312" y="3514"/>
                </a:lnTo>
                <a:lnTo>
                  <a:pt x="2353" y="3516"/>
                </a:lnTo>
                <a:lnTo>
                  <a:pt x="2393" y="3517"/>
                </a:lnTo>
                <a:lnTo>
                  <a:pt x="2435" y="3519"/>
                </a:lnTo>
                <a:lnTo>
                  <a:pt x="2479" y="3520"/>
                </a:lnTo>
                <a:lnTo>
                  <a:pt x="2522" y="3520"/>
                </a:lnTo>
                <a:lnTo>
                  <a:pt x="2568" y="3522"/>
                </a:lnTo>
                <a:lnTo>
                  <a:pt x="2615" y="3522"/>
                </a:lnTo>
                <a:lnTo>
                  <a:pt x="2616" y="3516"/>
                </a:lnTo>
                <a:lnTo>
                  <a:pt x="2617" y="3511"/>
                </a:lnTo>
                <a:lnTo>
                  <a:pt x="2620" y="3505"/>
                </a:lnTo>
                <a:lnTo>
                  <a:pt x="2623" y="3498"/>
                </a:lnTo>
                <a:lnTo>
                  <a:pt x="2634" y="3483"/>
                </a:lnTo>
                <a:lnTo>
                  <a:pt x="2649" y="3466"/>
                </a:lnTo>
                <a:lnTo>
                  <a:pt x="2663" y="3450"/>
                </a:lnTo>
                <a:lnTo>
                  <a:pt x="2674" y="3439"/>
                </a:lnTo>
                <a:lnTo>
                  <a:pt x="2678" y="3434"/>
                </a:lnTo>
                <a:lnTo>
                  <a:pt x="2683" y="3431"/>
                </a:lnTo>
                <a:lnTo>
                  <a:pt x="2686" y="3430"/>
                </a:lnTo>
                <a:lnTo>
                  <a:pt x="2688" y="3429"/>
                </a:lnTo>
                <a:lnTo>
                  <a:pt x="2651" y="3417"/>
                </a:lnTo>
                <a:lnTo>
                  <a:pt x="2614" y="3406"/>
                </a:lnTo>
                <a:lnTo>
                  <a:pt x="2578" y="3393"/>
                </a:lnTo>
                <a:lnTo>
                  <a:pt x="2542" y="3380"/>
                </a:lnTo>
                <a:lnTo>
                  <a:pt x="2506" y="3366"/>
                </a:lnTo>
                <a:lnTo>
                  <a:pt x="2471" y="3351"/>
                </a:lnTo>
                <a:lnTo>
                  <a:pt x="2436" y="3337"/>
                </a:lnTo>
                <a:lnTo>
                  <a:pt x="2402" y="3322"/>
                </a:lnTo>
                <a:lnTo>
                  <a:pt x="2368" y="3306"/>
                </a:lnTo>
                <a:lnTo>
                  <a:pt x="2336" y="3289"/>
                </a:lnTo>
                <a:lnTo>
                  <a:pt x="2303" y="3272"/>
                </a:lnTo>
                <a:lnTo>
                  <a:pt x="2271" y="3255"/>
                </a:lnTo>
                <a:lnTo>
                  <a:pt x="2239" y="3237"/>
                </a:lnTo>
                <a:lnTo>
                  <a:pt x="2208" y="3218"/>
                </a:lnTo>
                <a:lnTo>
                  <a:pt x="2177" y="3198"/>
                </a:lnTo>
                <a:lnTo>
                  <a:pt x="2147" y="3178"/>
                </a:lnTo>
                <a:lnTo>
                  <a:pt x="2117" y="3158"/>
                </a:lnTo>
                <a:lnTo>
                  <a:pt x="2087" y="3137"/>
                </a:lnTo>
                <a:lnTo>
                  <a:pt x="2058" y="3115"/>
                </a:lnTo>
                <a:lnTo>
                  <a:pt x="2030" y="3093"/>
                </a:lnTo>
                <a:lnTo>
                  <a:pt x="2002" y="3071"/>
                </a:lnTo>
                <a:lnTo>
                  <a:pt x="1975" y="3047"/>
                </a:lnTo>
                <a:lnTo>
                  <a:pt x="1948" y="3024"/>
                </a:lnTo>
                <a:lnTo>
                  <a:pt x="1921" y="3000"/>
                </a:lnTo>
                <a:lnTo>
                  <a:pt x="1895" y="2975"/>
                </a:lnTo>
                <a:lnTo>
                  <a:pt x="1869" y="2950"/>
                </a:lnTo>
                <a:lnTo>
                  <a:pt x="1844" y="2924"/>
                </a:lnTo>
                <a:lnTo>
                  <a:pt x="1820" y="2898"/>
                </a:lnTo>
                <a:lnTo>
                  <a:pt x="1795" y="2871"/>
                </a:lnTo>
                <a:lnTo>
                  <a:pt x="1771" y="2843"/>
                </a:lnTo>
                <a:lnTo>
                  <a:pt x="1747" y="2816"/>
                </a:lnTo>
                <a:lnTo>
                  <a:pt x="1725" y="2787"/>
                </a:lnTo>
                <a:lnTo>
                  <a:pt x="1703" y="2757"/>
                </a:lnTo>
                <a:lnTo>
                  <a:pt x="1682" y="2729"/>
                </a:lnTo>
                <a:lnTo>
                  <a:pt x="1660" y="2699"/>
                </a:lnTo>
                <a:lnTo>
                  <a:pt x="1640" y="2669"/>
                </a:lnTo>
                <a:lnTo>
                  <a:pt x="1621" y="2638"/>
                </a:lnTo>
                <a:lnTo>
                  <a:pt x="1603" y="2608"/>
                </a:lnTo>
                <a:lnTo>
                  <a:pt x="1585" y="2578"/>
                </a:lnTo>
                <a:lnTo>
                  <a:pt x="1568" y="2547"/>
                </a:lnTo>
                <a:lnTo>
                  <a:pt x="1551" y="2516"/>
                </a:lnTo>
                <a:lnTo>
                  <a:pt x="1535" y="2484"/>
                </a:lnTo>
                <a:lnTo>
                  <a:pt x="1520" y="2452"/>
                </a:lnTo>
                <a:lnTo>
                  <a:pt x="1506" y="2420"/>
                </a:lnTo>
                <a:lnTo>
                  <a:pt x="1493" y="2388"/>
                </a:lnTo>
                <a:lnTo>
                  <a:pt x="1479" y="2356"/>
                </a:lnTo>
                <a:lnTo>
                  <a:pt x="1467" y="2324"/>
                </a:lnTo>
                <a:lnTo>
                  <a:pt x="1455" y="2291"/>
                </a:lnTo>
                <a:lnTo>
                  <a:pt x="1445" y="2258"/>
                </a:lnTo>
                <a:lnTo>
                  <a:pt x="1434" y="2225"/>
                </a:lnTo>
                <a:lnTo>
                  <a:pt x="1425" y="2191"/>
                </a:lnTo>
                <a:lnTo>
                  <a:pt x="1416" y="2157"/>
                </a:lnTo>
                <a:lnTo>
                  <a:pt x="1408" y="2123"/>
                </a:lnTo>
                <a:lnTo>
                  <a:pt x="1400" y="2089"/>
                </a:lnTo>
                <a:lnTo>
                  <a:pt x="1394" y="2054"/>
                </a:lnTo>
                <a:lnTo>
                  <a:pt x="1389" y="2018"/>
                </a:lnTo>
                <a:lnTo>
                  <a:pt x="1383" y="1983"/>
                </a:lnTo>
                <a:lnTo>
                  <a:pt x="1378" y="1948"/>
                </a:lnTo>
                <a:lnTo>
                  <a:pt x="1375" y="1912"/>
                </a:lnTo>
                <a:lnTo>
                  <a:pt x="1372" y="1876"/>
                </a:lnTo>
                <a:lnTo>
                  <a:pt x="1368" y="1840"/>
                </a:lnTo>
                <a:lnTo>
                  <a:pt x="1367" y="1804"/>
                </a:lnTo>
                <a:lnTo>
                  <a:pt x="1366" y="1767"/>
                </a:lnTo>
                <a:lnTo>
                  <a:pt x="1365" y="1729"/>
                </a:lnTo>
                <a:lnTo>
                  <a:pt x="1366" y="1686"/>
                </a:lnTo>
                <a:lnTo>
                  <a:pt x="1367" y="1641"/>
                </a:lnTo>
                <a:lnTo>
                  <a:pt x="1370" y="1598"/>
                </a:lnTo>
                <a:lnTo>
                  <a:pt x="1374" y="1555"/>
                </a:lnTo>
                <a:lnTo>
                  <a:pt x="1378" y="1511"/>
                </a:lnTo>
                <a:lnTo>
                  <a:pt x="1383" y="1469"/>
                </a:lnTo>
                <a:lnTo>
                  <a:pt x="1390" y="1427"/>
                </a:lnTo>
                <a:lnTo>
                  <a:pt x="1397" y="1386"/>
                </a:lnTo>
                <a:lnTo>
                  <a:pt x="1405" y="1345"/>
                </a:lnTo>
                <a:lnTo>
                  <a:pt x="1415" y="1304"/>
                </a:lnTo>
                <a:lnTo>
                  <a:pt x="1426" y="1264"/>
                </a:lnTo>
                <a:lnTo>
                  <a:pt x="1437" y="1223"/>
                </a:lnTo>
                <a:lnTo>
                  <a:pt x="1449" y="1184"/>
                </a:lnTo>
                <a:lnTo>
                  <a:pt x="1463" y="1145"/>
                </a:lnTo>
                <a:lnTo>
                  <a:pt x="1477" y="1106"/>
                </a:lnTo>
                <a:lnTo>
                  <a:pt x="1493" y="1068"/>
                </a:lnTo>
                <a:lnTo>
                  <a:pt x="1508" y="1030"/>
                </a:lnTo>
                <a:lnTo>
                  <a:pt x="1527" y="993"/>
                </a:lnTo>
                <a:lnTo>
                  <a:pt x="1545" y="955"/>
                </a:lnTo>
                <a:lnTo>
                  <a:pt x="1564" y="919"/>
                </a:lnTo>
                <a:lnTo>
                  <a:pt x="1585" y="883"/>
                </a:lnTo>
                <a:lnTo>
                  <a:pt x="1606" y="847"/>
                </a:lnTo>
                <a:lnTo>
                  <a:pt x="1628" y="811"/>
                </a:lnTo>
                <a:lnTo>
                  <a:pt x="1652" y="776"/>
                </a:lnTo>
                <a:lnTo>
                  <a:pt x="1676" y="742"/>
                </a:lnTo>
                <a:lnTo>
                  <a:pt x="1702" y="708"/>
                </a:lnTo>
                <a:lnTo>
                  <a:pt x="1728" y="674"/>
                </a:lnTo>
                <a:lnTo>
                  <a:pt x="1756" y="640"/>
                </a:lnTo>
                <a:lnTo>
                  <a:pt x="1783" y="607"/>
                </a:lnTo>
                <a:lnTo>
                  <a:pt x="1813" y="574"/>
                </a:lnTo>
                <a:lnTo>
                  <a:pt x="1844" y="542"/>
                </a:lnTo>
                <a:lnTo>
                  <a:pt x="1875" y="510"/>
                </a:lnTo>
                <a:lnTo>
                  <a:pt x="1907" y="478"/>
                </a:lnTo>
                <a:lnTo>
                  <a:pt x="1940" y="448"/>
                </a:lnTo>
                <a:lnTo>
                  <a:pt x="1971" y="419"/>
                </a:lnTo>
                <a:lnTo>
                  <a:pt x="2005" y="390"/>
                </a:lnTo>
                <a:lnTo>
                  <a:pt x="2038" y="362"/>
                </a:lnTo>
                <a:lnTo>
                  <a:pt x="2072" y="336"/>
                </a:lnTo>
                <a:lnTo>
                  <a:pt x="2106" y="311"/>
                </a:lnTo>
                <a:lnTo>
                  <a:pt x="2141" y="287"/>
                </a:lnTo>
                <a:lnTo>
                  <a:pt x="2176" y="263"/>
                </a:lnTo>
                <a:lnTo>
                  <a:pt x="2211" y="240"/>
                </a:lnTo>
                <a:lnTo>
                  <a:pt x="2247" y="219"/>
                </a:lnTo>
                <a:lnTo>
                  <a:pt x="2284" y="199"/>
                </a:lnTo>
                <a:lnTo>
                  <a:pt x="2320" y="179"/>
                </a:lnTo>
                <a:lnTo>
                  <a:pt x="2357" y="160"/>
                </a:lnTo>
                <a:lnTo>
                  <a:pt x="2395" y="143"/>
                </a:lnTo>
                <a:lnTo>
                  <a:pt x="2432" y="127"/>
                </a:lnTo>
                <a:lnTo>
                  <a:pt x="2470" y="111"/>
                </a:lnTo>
                <a:lnTo>
                  <a:pt x="2510" y="98"/>
                </a:lnTo>
                <a:lnTo>
                  <a:pt x="2549" y="84"/>
                </a:lnTo>
                <a:lnTo>
                  <a:pt x="2588" y="71"/>
                </a:lnTo>
                <a:lnTo>
                  <a:pt x="2628" y="60"/>
                </a:lnTo>
                <a:lnTo>
                  <a:pt x="2668" y="50"/>
                </a:lnTo>
                <a:lnTo>
                  <a:pt x="2709" y="40"/>
                </a:lnTo>
                <a:lnTo>
                  <a:pt x="2750" y="32"/>
                </a:lnTo>
                <a:lnTo>
                  <a:pt x="2791" y="24"/>
                </a:lnTo>
                <a:lnTo>
                  <a:pt x="2833" y="18"/>
                </a:lnTo>
                <a:lnTo>
                  <a:pt x="2876" y="13"/>
                </a:lnTo>
                <a:lnTo>
                  <a:pt x="2918" y="7"/>
                </a:lnTo>
                <a:lnTo>
                  <a:pt x="2962" y="4"/>
                </a:lnTo>
                <a:lnTo>
                  <a:pt x="3005" y="2"/>
                </a:lnTo>
                <a:lnTo>
                  <a:pt x="3049" y="1"/>
                </a:lnTo>
                <a:lnTo>
                  <a:pt x="3094" y="0"/>
                </a:lnTo>
                <a:lnTo>
                  <a:pt x="3138" y="1"/>
                </a:lnTo>
                <a:lnTo>
                  <a:pt x="3183" y="2"/>
                </a:lnTo>
                <a:lnTo>
                  <a:pt x="3226" y="4"/>
                </a:lnTo>
                <a:lnTo>
                  <a:pt x="3270" y="7"/>
                </a:lnTo>
                <a:lnTo>
                  <a:pt x="3312" y="13"/>
                </a:lnTo>
                <a:lnTo>
                  <a:pt x="3356" y="18"/>
                </a:lnTo>
                <a:lnTo>
                  <a:pt x="3397" y="24"/>
                </a:lnTo>
                <a:lnTo>
                  <a:pt x="3440" y="32"/>
                </a:lnTo>
                <a:lnTo>
                  <a:pt x="3481" y="40"/>
                </a:lnTo>
                <a:lnTo>
                  <a:pt x="3521" y="50"/>
                </a:lnTo>
                <a:lnTo>
                  <a:pt x="3563" y="60"/>
                </a:lnTo>
                <a:lnTo>
                  <a:pt x="3602" y="71"/>
                </a:lnTo>
                <a:lnTo>
                  <a:pt x="3643" y="84"/>
                </a:lnTo>
                <a:lnTo>
                  <a:pt x="3682" y="98"/>
                </a:lnTo>
                <a:lnTo>
                  <a:pt x="3721" y="111"/>
                </a:lnTo>
                <a:lnTo>
                  <a:pt x="3759" y="127"/>
                </a:lnTo>
                <a:lnTo>
                  <a:pt x="3798" y="143"/>
                </a:lnTo>
                <a:lnTo>
                  <a:pt x="3835" y="160"/>
                </a:lnTo>
                <a:lnTo>
                  <a:pt x="3873" y="179"/>
                </a:lnTo>
                <a:lnTo>
                  <a:pt x="3909" y="199"/>
                </a:lnTo>
                <a:lnTo>
                  <a:pt x="3946" y="219"/>
                </a:lnTo>
                <a:lnTo>
                  <a:pt x="3982" y="240"/>
                </a:lnTo>
                <a:lnTo>
                  <a:pt x="4017" y="263"/>
                </a:lnTo>
                <a:lnTo>
                  <a:pt x="4053" y="287"/>
                </a:lnTo>
                <a:lnTo>
                  <a:pt x="4088" y="311"/>
                </a:lnTo>
                <a:lnTo>
                  <a:pt x="4122" y="336"/>
                </a:lnTo>
                <a:lnTo>
                  <a:pt x="4156" y="362"/>
                </a:lnTo>
                <a:lnTo>
                  <a:pt x="4190" y="390"/>
                </a:lnTo>
                <a:lnTo>
                  <a:pt x="4223" y="419"/>
                </a:lnTo>
                <a:lnTo>
                  <a:pt x="4256" y="448"/>
                </a:lnTo>
                <a:lnTo>
                  <a:pt x="4289" y="478"/>
                </a:lnTo>
                <a:lnTo>
                  <a:pt x="4321" y="510"/>
                </a:lnTo>
                <a:lnTo>
                  <a:pt x="4353" y="542"/>
                </a:lnTo>
                <a:lnTo>
                  <a:pt x="4383" y="574"/>
                </a:lnTo>
                <a:lnTo>
                  <a:pt x="4412" y="607"/>
                </a:lnTo>
                <a:lnTo>
                  <a:pt x="4440" y="640"/>
                </a:lnTo>
                <a:lnTo>
                  <a:pt x="4467" y="674"/>
                </a:lnTo>
                <a:lnTo>
                  <a:pt x="4493" y="708"/>
                </a:lnTo>
                <a:lnTo>
                  <a:pt x="4518" y="742"/>
                </a:lnTo>
                <a:lnTo>
                  <a:pt x="4543" y="776"/>
                </a:lnTo>
                <a:lnTo>
                  <a:pt x="4566" y="811"/>
                </a:lnTo>
                <a:lnTo>
                  <a:pt x="4588" y="847"/>
                </a:lnTo>
                <a:lnTo>
                  <a:pt x="4610" y="883"/>
                </a:lnTo>
                <a:lnTo>
                  <a:pt x="4630" y="919"/>
                </a:lnTo>
                <a:lnTo>
                  <a:pt x="4649" y="955"/>
                </a:lnTo>
                <a:lnTo>
                  <a:pt x="4667" y="993"/>
                </a:lnTo>
                <a:lnTo>
                  <a:pt x="4685" y="1030"/>
                </a:lnTo>
                <a:lnTo>
                  <a:pt x="4701" y="1068"/>
                </a:lnTo>
                <a:lnTo>
                  <a:pt x="4716" y="1106"/>
                </a:lnTo>
                <a:lnTo>
                  <a:pt x="4731" y="1145"/>
                </a:lnTo>
                <a:lnTo>
                  <a:pt x="4745" y="1184"/>
                </a:lnTo>
                <a:lnTo>
                  <a:pt x="4756" y="1223"/>
                </a:lnTo>
                <a:lnTo>
                  <a:pt x="4768" y="1264"/>
                </a:lnTo>
                <a:lnTo>
                  <a:pt x="4779" y="1304"/>
                </a:lnTo>
                <a:lnTo>
                  <a:pt x="4788" y="1345"/>
                </a:lnTo>
                <a:lnTo>
                  <a:pt x="4797" y="1386"/>
                </a:lnTo>
                <a:lnTo>
                  <a:pt x="4803" y="1427"/>
                </a:lnTo>
                <a:lnTo>
                  <a:pt x="4810" y="1469"/>
                </a:lnTo>
                <a:lnTo>
                  <a:pt x="4816" y="1511"/>
                </a:lnTo>
                <a:lnTo>
                  <a:pt x="4820" y="1555"/>
                </a:lnTo>
                <a:lnTo>
                  <a:pt x="4823" y="1598"/>
                </a:lnTo>
                <a:lnTo>
                  <a:pt x="4825" y="1641"/>
                </a:lnTo>
                <a:lnTo>
                  <a:pt x="4827" y="1686"/>
                </a:lnTo>
                <a:lnTo>
                  <a:pt x="4827" y="1729"/>
                </a:lnTo>
                <a:lnTo>
                  <a:pt x="4827" y="1768"/>
                </a:lnTo>
                <a:lnTo>
                  <a:pt x="4826" y="1806"/>
                </a:lnTo>
                <a:lnTo>
                  <a:pt x="4824" y="1843"/>
                </a:lnTo>
                <a:lnTo>
                  <a:pt x="4822" y="1880"/>
                </a:lnTo>
                <a:lnTo>
                  <a:pt x="4818" y="1917"/>
                </a:lnTo>
                <a:lnTo>
                  <a:pt x="4814" y="1954"/>
                </a:lnTo>
                <a:lnTo>
                  <a:pt x="4808" y="1990"/>
                </a:lnTo>
                <a:lnTo>
                  <a:pt x="4803" y="2027"/>
                </a:lnTo>
                <a:lnTo>
                  <a:pt x="4797" y="2062"/>
                </a:lnTo>
                <a:lnTo>
                  <a:pt x="4789" y="2098"/>
                </a:lnTo>
                <a:lnTo>
                  <a:pt x="4781" y="2134"/>
                </a:lnTo>
                <a:lnTo>
                  <a:pt x="4772" y="2169"/>
                </a:lnTo>
                <a:lnTo>
                  <a:pt x="4763" y="2204"/>
                </a:lnTo>
                <a:lnTo>
                  <a:pt x="4752" y="2240"/>
                </a:lnTo>
                <a:lnTo>
                  <a:pt x="4740" y="2274"/>
                </a:lnTo>
                <a:lnTo>
                  <a:pt x="4729" y="2308"/>
                </a:lnTo>
                <a:lnTo>
                  <a:pt x="4716" y="2342"/>
                </a:lnTo>
                <a:lnTo>
                  <a:pt x="4702" y="2376"/>
                </a:lnTo>
                <a:lnTo>
                  <a:pt x="4688" y="2410"/>
                </a:lnTo>
                <a:lnTo>
                  <a:pt x="4673" y="2443"/>
                </a:lnTo>
                <a:lnTo>
                  <a:pt x="4657" y="2476"/>
                </a:lnTo>
                <a:lnTo>
                  <a:pt x="4641" y="2508"/>
                </a:lnTo>
                <a:lnTo>
                  <a:pt x="4624" y="2541"/>
                </a:lnTo>
                <a:lnTo>
                  <a:pt x="4605" y="2573"/>
                </a:lnTo>
                <a:lnTo>
                  <a:pt x="4586" y="2606"/>
                </a:lnTo>
                <a:lnTo>
                  <a:pt x="4566" y="2638"/>
                </a:lnTo>
                <a:lnTo>
                  <a:pt x="4546" y="2669"/>
                </a:lnTo>
                <a:lnTo>
                  <a:pt x="4525" y="2701"/>
                </a:lnTo>
                <a:lnTo>
                  <a:pt x="4502" y="2732"/>
                </a:lnTo>
                <a:lnTo>
                  <a:pt x="4480" y="2763"/>
                </a:lnTo>
                <a:lnTo>
                  <a:pt x="4456" y="2793"/>
                </a:lnTo>
                <a:lnTo>
                  <a:pt x="4431" y="2824"/>
                </a:lnTo>
                <a:lnTo>
                  <a:pt x="4407" y="2853"/>
                </a:lnTo>
                <a:lnTo>
                  <a:pt x="4381" y="2883"/>
                </a:lnTo>
                <a:lnTo>
                  <a:pt x="4356" y="2910"/>
                </a:lnTo>
                <a:lnTo>
                  <a:pt x="4329" y="2938"/>
                </a:lnTo>
                <a:lnTo>
                  <a:pt x="4303" y="2965"/>
                </a:lnTo>
                <a:lnTo>
                  <a:pt x="4276" y="2991"/>
                </a:lnTo>
                <a:lnTo>
                  <a:pt x="4249" y="3017"/>
                </a:lnTo>
                <a:lnTo>
                  <a:pt x="4220" y="3041"/>
                </a:lnTo>
                <a:lnTo>
                  <a:pt x="4192" y="3066"/>
                </a:lnTo>
                <a:lnTo>
                  <a:pt x="4164" y="3089"/>
                </a:lnTo>
                <a:lnTo>
                  <a:pt x="4134" y="3112"/>
                </a:lnTo>
                <a:lnTo>
                  <a:pt x="4105" y="3134"/>
                </a:lnTo>
                <a:lnTo>
                  <a:pt x="4075" y="3155"/>
                </a:lnTo>
                <a:lnTo>
                  <a:pt x="4045" y="3176"/>
                </a:lnTo>
                <a:lnTo>
                  <a:pt x="4014" y="3196"/>
                </a:lnTo>
                <a:lnTo>
                  <a:pt x="3982" y="3215"/>
                </a:lnTo>
                <a:lnTo>
                  <a:pt x="3950" y="3233"/>
                </a:lnTo>
                <a:lnTo>
                  <a:pt x="3919" y="3252"/>
                </a:lnTo>
                <a:lnTo>
                  <a:pt x="3887" y="3269"/>
                </a:lnTo>
                <a:lnTo>
                  <a:pt x="3854" y="3286"/>
                </a:lnTo>
                <a:lnTo>
                  <a:pt x="3820" y="3301"/>
                </a:lnTo>
                <a:lnTo>
                  <a:pt x="3786" y="3316"/>
                </a:lnTo>
                <a:lnTo>
                  <a:pt x="3752" y="3331"/>
                </a:lnTo>
                <a:lnTo>
                  <a:pt x="3718" y="3344"/>
                </a:lnTo>
                <a:lnTo>
                  <a:pt x="3683" y="3358"/>
                </a:lnTo>
                <a:lnTo>
                  <a:pt x="3647" y="3370"/>
                </a:lnTo>
                <a:lnTo>
                  <a:pt x="3611" y="3381"/>
                </a:lnTo>
                <a:lnTo>
                  <a:pt x="3575" y="3393"/>
                </a:lnTo>
                <a:lnTo>
                  <a:pt x="3538" y="3402"/>
                </a:lnTo>
                <a:lnTo>
                  <a:pt x="3500" y="3412"/>
                </a:lnTo>
                <a:lnTo>
                  <a:pt x="3463" y="3421"/>
                </a:lnTo>
                <a:lnTo>
                  <a:pt x="3425" y="3429"/>
                </a:lnTo>
                <a:lnTo>
                  <a:pt x="3438" y="3443"/>
                </a:lnTo>
                <a:lnTo>
                  <a:pt x="3449" y="3456"/>
                </a:lnTo>
                <a:lnTo>
                  <a:pt x="3459" y="3468"/>
                </a:lnTo>
                <a:lnTo>
                  <a:pt x="3466" y="3480"/>
                </a:lnTo>
                <a:lnTo>
                  <a:pt x="3473" y="3491"/>
                </a:lnTo>
                <a:lnTo>
                  <a:pt x="3477" y="3501"/>
                </a:lnTo>
                <a:lnTo>
                  <a:pt x="3479" y="3512"/>
                </a:lnTo>
                <a:lnTo>
                  <a:pt x="3480" y="3522"/>
                </a:lnTo>
                <a:close/>
              </a:path>
            </a:pathLst>
          </a:custGeom>
          <a:solidFill>
            <a:schemeClr val="accent1"/>
          </a:solidFill>
          <a:ln w="9525">
            <a:noFill/>
            <a:round/>
            <a:headEnd/>
            <a:tailEnd/>
          </a:ln>
        </p:spPr>
        <p:txBody>
          <a:bodyPr/>
          <a:lstStyle>
            <a:defPPr>
              <a:defRPr lang="en-US"/>
            </a:defPPr>
            <a:lvl1pPr marL="0" algn="l" defTabSz="1018824" rtl="0" eaLnBrk="1" latinLnBrk="0" hangingPunct="1">
              <a:defRPr sz="2000" kern="1200">
                <a:solidFill>
                  <a:schemeClr val="tx1"/>
                </a:solidFill>
                <a:latin typeface="+mn-lt"/>
                <a:ea typeface="+mn-ea"/>
                <a:cs typeface="+mn-cs"/>
              </a:defRPr>
            </a:lvl1pPr>
            <a:lvl2pPr marL="509412" algn="l" defTabSz="1018824" rtl="0" eaLnBrk="1" latinLnBrk="0" hangingPunct="1">
              <a:defRPr sz="2000" kern="1200">
                <a:solidFill>
                  <a:schemeClr val="tx1"/>
                </a:solidFill>
                <a:latin typeface="+mn-lt"/>
                <a:ea typeface="+mn-ea"/>
                <a:cs typeface="+mn-cs"/>
              </a:defRPr>
            </a:lvl2pPr>
            <a:lvl3pPr marL="1018824" algn="l" defTabSz="1018824" rtl="0" eaLnBrk="1" latinLnBrk="0" hangingPunct="1">
              <a:defRPr sz="2000" kern="1200">
                <a:solidFill>
                  <a:schemeClr val="tx1"/>
                </a:solidFill>
                <a:latin typeface="+mn-lt"/>
                <a:ea typeface="+mn-ea"/>
                <a:cs typeface="+mn-cs"/>
              </a:defRPr>
            </a:lvl3pPr>
            <a:lvl4pPr marL="1528237" algn="l" defTabSz="1018824" rtl="0" eaLnBrk="1" latinLnBrk="0" hangingPunct="1">
              <a:defRPr sz="2000" kern="1200">
                <a:solidFill>
                  <a:schemeClr val="tx1"/>
                </a:solidFill>
                <a:latin typeface="+mn-lt"/>
                <a:ea typeface="+mn-ea"/>
                <a:cs typeface="+mn-cs"/>
              </a:defRPr>
            </a:lvl4pPr>
            <a:lvl5pPr marL="2037649" algn="l" defTabSz="1018824" rtl="0" eaLnBrk="1" latinLnBrk="0" hangingPunct="1">
              <a:defRPr sz="2000" kern="1200">
                <a:solidFill>
                  <a:schemeClr val="tx1"/>
                </a:solidFill>
                <a:latin typeface="+mn-lt"/>
                <a:ea typeface="+mn-ea"/>
                <a:cs typeface="+mn-cs"/>
              </a:defRPr>
            </a:lvl5pPr>
            <a:lvl6pPr marL="2547061" algn="l" defTabSz="1018824" rtl="0" eaLnBrk="1" latinLnBrk="0" hangingPunct="1">
              <a:defRPr sz="2000" kern="1200">
                <a:solidFill>
                  <a:schemeClr val="tx1"/>
                </a:solidFill>
                <a:latin typeface="+mn-lt"/>
                <a:ea typeface="+mn-ea"/>
                <a:cs typeface="+mn-cs"/>
              </a:defRPr>
            </a:lvl6pPr>
            <a:lvl7pPr marL="3056473" algn="l" defTabSz="1018824" rtl="0" eaLnBrk="1" latinLnBrk="0" hangingPunct="1">
              <a:defRPr sz="2000" kern="1200">
                <a:solidFill>
                  <a:schemeClr val="tx1"/>
                </a:solidFill>
                <a:latin typeface="+mn-lt"/>
                <a:ea typeface="+mn-ea"/>
                <a:cs typeface="+mn-cs"/>
              </a:defRPr>
            </a:lvl7pPr>
            <a:lvl8pPr marL="3565886" algn="l" defTabSz="1018824" rtl="0" eaLnBrk="1" latinLnBrk="0" hangingPunct="1">
              <a:defRPr sz="2000" kern="1200">
                <a:solidFill>
                  <a:schemeClr val="tx1"/>
                </a:solidFill>
                <a:latin typeface="+mn-lt"/>
                <a:ea typeface="+mn-ea"/>
                <a:cs typeface="+mn-cs"/>
              </a:defRPr>
            </a:lvl8pPr>
            <a:lvl9pPr marL="4075298" algn="l" defTabSz="1018824" rtl="0" eaLnBrk="1" latinLnBrk="0" hangingPunct="1">
              <a:defRPr sz="2000" kern="1200">
                <a:solidFill>
                  <a:schemeClr val="tx1"/>
                </a:solidFill>
                <a:latin typeface="+mn-lt"/>
                <a:ea typeface="+mn-ea"/>
                <a:cs typeface="+mn-cs"/>
              </a:defRPr>
            </a:lvl9pPr>
          </a:lstStyle>
          <a:p>
            <a:pPr marL="0" marR="0" lvl="0" indent="0" algn="l" defTabSz="1018824" rtl="0" eaLnBrk="1" fontAlgn="auto" latinLnBrk="0" hangingPunct="1">
              <a:lnSpc>
                <a:spcPct val="100000"/>
              </a:lnSpc>
              <a:spcBef>
                <a:spcPts val="0"/>
              </a:spcBef>
              <a:spcAft>
                <a:spcPts val="0"/>
              </a:spcAft>
              <a:buClrTx/>
              <a:buSzTx/>
              <a:buFontTx/>
              <a:buNone/>
              <a:tabLst/>
              <a:defRPr/>
            </a:pPr>
            <a:endParaRPr kumimoji="0" lang="en-GB" sz="1589"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2" name="Freeform 16">
            <a:extLst>
              <a:ext uri="{FF2B5EF4-FFF2-40B4-BE49-F238E27FC236}">
                <a16:creationId xmlns:a16="http://schemas.microsoft.com/office/drawing/2014/main" id="{A98EF187-16DE-429D-B948-E0128D1BE2FF}"/>
              </a:ext>
            </a:extLst>
          </p:cNvPr>
          <p:cNvSpPr>
            <a:spLocks/>
          </p:cNvSpPr>
          <p:nvPr/>
        </p:nvSpPr>
        <p:spPr bwMode="auto">
          <a:xfrm>
            <a:off x="6023742" y="1856608"/>
            <a:ext cx="197037" cy="470851"/>
          </a:xfrm>
          <a:custGeom>
            <a:avLst/>
            <a:gdLst>
              <a:gd name="T0" fmla="*/ 13344091 w 6132"/>
              <a:gd name="T1" fmla="*/ 10441401 h 16980"/>
              <a:gd name="T2" fmla="*/ 14439013 w 6132"/>
              <a:gd name="T3" fmla="*/ 10808942 h 16980"/>
              <a:gd name="T4" fmla="*/ 15478309 w 6132"/>
              <a:gd name="T5" fmla="*/ 11467619 h 16980"/>
              <a:gd name="T6" fmla="*/ 16450295 w 6132"/>
              <a:gd name="T7" fmla="*/ 12408541 h 16980"/>
              <a:gd name="T8" fmla="*/ 17214401 w 6132"/>
              <a:gd name="T9" fmla="*/ 13481773 h 16980"/>
              <a:gd name="T10" fmla="*/ 17709159 w 6132"/>
              <a:gd name="T11" fmla="*/ 14605004 h 16980"/>
              <a:gd name="T12" fmla="*/ 17937493 w 6132"/>
              <a:gd name="T13" fmla="*/ 15789994 h 16980"/>
              <a:gd name="T14" fmla="*/ 17922884 w 6132"/>
              <a:gd name="T15" fmla="*/ 28795453 h 16980"/>
              <a:gd name="T16" fmla="*/ 17720901 w 6132"/>
              <a:gd name="T17" fmla="*/ 29724608 h 16980"/>
              <a:gd name="T18" fmla="*/ 17322724 w 6132"/>
              <a:gd name="T19" fmla="*/ 30571448 h 16980"/>
              <a:gd name="T20" fmla="*/ 16731329 w 6132"/>
              <a:gd name="T21" fmla="*/ 31344758 h 16980"/>
              <a:gd name="T22" fmla="*/ 15970146 w 6132"/>
              <a:gd name="T23" fmla="*/ 32000508 h 16980"/>
              <a:gd name="T24" fmla="*/ 15062602 w 6132"/>
              <a:gd name="T25" fmla="*/ 32509198 h 16980"/>
              <a:gd name="T26" fmla="*/ 14014483 w 6132"/>
              <a:gd name="T27" fmla="*/ 32867899 h 16980"/>
              <a:gd name="T28" fmla="*/ 4168927 w 6132"/>
              <a:gd name="T29" fmla="*/ 32935519 h 16980"/>
              <a:gd name="T30" fmla="*/ 3003722 w 6132"/>
              <a:gd name="T31" fmla="*/ 32515054 h 16980"/>
              <a:gd name="T32" fmla="*/ 2104943 w 6132"/>
              <a:gd name="T33" fmla="*/ 32053432 h 16980"/>
              <a:gd name="T34" fmla="*/ 1334994 w 6132"/>
              <a:gd name="T35" fmla="*/ 31503585 h 16980"/>
              <a:gd name="T36" fmla="*/ 723146 w 6132"/>
              <a:gd name="T37" fmla="*/ 30883136 h 16980"/>
              <a:gd name="T38" fmla="*/ 295697 w 6132"/>
              <a:gd name="T39" fmla="*/ 30230369 h 16980"/>
              <a:gd name="T40" fmla="*/ 55622 w 6132"/>
              <a:gd name="T41" fmla="*/ 29542302 h 16980"/>
              <a:gd name="T42" fmla="*/ 2922 w 6132"/>
              <a:gd name="T43" fmla="*/ 16034064 h 16980"/>
              <a:gd name="T44" fmla="*/ 166867 w 6132"/>
              <a:gd name="T45" fmla="*/ 14637376 h 16980"/>
              <a:gd name="T46" fmla="*/ 608925 w 6132"/>
              <a:gd name="T47" fmla="*/ 13408297 h 16980"/>
              <a:gd name="T48" fmla="*/ 1326228 w 6132"/>
              <a:gd name="T49" fmla="*/ 12352689 h 16980"/>
              <a:gd name="T50" fmla="*/ 2309902 w 6132"/>
              <a:gd name="T51" fmla="*/ 11479386 h 16980"/>
              <a:gd name="T52" fmla="*/ 3495559 w 6132"/>
              <a:gd name="T53" fmla="*/ 10853081 h 16980"/>
              <a:gd name="T54" fmla="*/ 4889097 w 6132"/>
              <a:gd name="T55" fmla="*/ 10479630 h 16980"/>
              <a:gd name="T56" fmla="*/ 6475906 w 6132"/>
              <a:gd name="T57" fmla="*/ 10356104 h 16980"/>
              <a:gd name="T58" fmla="*/ 6768627 w 6132"/>
              <a:gd name="T59" fmla="*/ 10332625 h 16980"/>
              <a:gd name="T60" fmla="*/ 7661564 w 6132"/>
              <a:gd name="T61" fmla="*/ 10323786 h 16980"/>
              <a:gd name="T62" fmla="*/ 7863602 w 6132"/>
              <a:gd name="T63" fmla="*/ 10085627 h 16980"/>
              <a:gd name="T64" fmla="*/ 7032131 w 6132"/>
              <a:gd name="T65" fmla="*/ 9768029 h 16980"/>
              <a:gd name="T66" fmla="*/ 6197794 w 6132"/>
              <a:gd name="T67" fmla="*/ 9285801 h 16980"/>
              <a:gd name="T68" fmla="*/ 5471726 w 6132"/>
              <a:gd name="T69" fmla="*/ 8674191 h 16980"/>
              <a:gd name="T70" fmla="*/ 4859825 w 6132"/>
              <a:gd name="T71" fmla="*/ 7936181 h 16980"/>
              <a:gd name="T72" fmla="*/ 4409002 w 6132"/>
              <a:gd name="T73" fmla="*/ 7115803 h 16980"/>
              <a:gd name="T74" fmla="*/ 4122070 w 6132"/>
              <a:gd name="T75" fmla="*/ 6242499 h 16980"/>
              <a:gd name="T76" fmla="*/ 4002059 w 6132"/>
              <a:gd name="T77" fmla="*/ 5304506 h 16980"/>
              <a:gd name="T78" fmla="*/ 4069369 w 6132"/>
              <a:gd name="T79" fmla="*/ 4195974 h 16980"/>
              <a:gd name="T80" fmla="*/ 4370910 w 6132"/>
              <a:gd name="T81" fmla="*/ 3140364 h 16980"/>
              <a:gd name="T82" fmla="*/ 4906682 w 6132"/>
              <a:gd name="T83" fmla="*/ 2181765 h 16980"/>
              <a:gd name="T84" fmla="*/ 5679553 w 6132"/>
              <a:gd name="T85" fmla="*/ 1317301 h 16980"/>
              <a:gd name="T86" fmla="*/ 6578332 w 6132"/>
              <a:gd name="T87" fmla="*/ 643928 h 16980"/>
              <a:gd name="T88" fmla="*/ 7576670 w 6132"/>
              <a:gd name="T89" fmla="*/ 208768 h 16980"/>
              <a:gd name="T90" fmla="*/ 8671588 w 6132"/>
              <a:gd name="T91" fmla="*/ 11767 h 16980"/>
              <a:gd name="T92" fmla="*/ 9825105 w 6132"/>
              <a:gd name="T93" fmla="*/ 52924 h 16980"/>
              <a:gd name="T94" fmla="*/ 10893673 w 6132"/>
              <a:gd name="T95" fmla="*/ 326384 h 16980"/>
              <a:gd name="T96" fmla="*/ 11865659 w 6132"/>
              <a:gd name="T97" fmla="*/ 843912 h 16980"/>
              <a:gd name="T98" fmla="*/ 12743931 w 6132"/>
              <a:gd name="T99" fmla="*/ 1593689 h 16980"/>
              <a:gd name="T100" fmla="*/ 13431908 w 6132"/>
              <a:gd name="T101" fmla="*/ 2490525 h 16980"/>
              <a:gd name="T102" fmla="*/ 13891551 w 6132"/>
              <a:gd name="T103" fmla="*/ 3481443 h 16980"/>
              <a:gd name="T104" fmla="*/ 14111119 w 6132"/>
              <a:gd name="T105" fmla="*/ 4572353 h 16980"/>
              <a:gd name="T106" fmla="*/ 14105275 w 6132"/>
              <a:gd name="T107" fmla="*/ 5636746 h 16980"/>
              <a:gd name="T108" fmla="*/ 13912057 w 6132"/>
              <a:gd name="T109" fmla="*/ 6586506 h 16980"/>
              <a:gd name="T110" fmla="*/ 13537309 w 6132"/>
              <a:gd name="T111" fmla="*/ 7471577 h 16980"/>
              <a:gd name="T112" fmla="*/ 12972265 w 6132"/>
              <a:gd name="T113" fmla="*/ 8303722 h 16980"/>
              <a:gd name="T114" fmla="*/ 12272601 w 6132"/>
              <a:gd name="T115" fmla="*/ 9015324 h 16980"/>
              <a:gd name="T116" fmla="*/ 11473326 w 6132"/>
              <a:gd name="T117" fmla="*/ 9562188 h 16980"/>
              <a:gd name="T118" fmla="*/ 10571626 w 6132"/>
              <a:gd name="T119" fmla="*/ 9941550 h 16980"/>
              <a:gd name="T120" fmla="*/ 10147098 w 6132"/>
              <a:gd name="T121" fmla="*/ 10232633 h 1698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6132"/>
              <a:gd name="T184" fmla="*/ 0 h 16980"/>
              <a:gd name="T185" fmla="*/ 6132 w 6132"/>
              <a:gd name="T186" fmla="*/ 16980 h 16980"/>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6132" h="16980">
                <a:moveTo>
                  <a:pt x="3480" y="3522"/>
                </a:moveTo>
                <a:lnTo>
                  <a:pt x="4254" y="3522"/>
                </a:lnTo>
                <a:lnTo>
                  <a:pt x="4298" y="3522"/>
                </a:lnTo>
                <a:lnTo>
                  <a:pt x="4342" y="3524"/>
                </a:lnTo>
                <a:lnTo>
                  <a:pt x="4386" y="3527"/>
                </a:lnTo>
                <a:lnTo>
                  <a:pt x="4429" y="3531"/>
                </a:lnTo>
                <a:lnTo>
                  <a:pt x="4473" y="3536"/>
                </a:lnTo>
                <a:lnTo>
                  <a:pt x="4515" y="3543"/>
                </a:lnTo>
                <a:lnTo>
                  <a:pt x="4558" y="3551"/>
                </a:lnTo>
                <a:lnTo>
                  <a:pt x="4601" y="3560"/>
                </a:lnTo>
                <a:lnTo>
                  <a:pt x="4643" y="3570"/>
                </a:lnTo>
                <a:lnTo>
                  <a:pt x="4685" y="3582"/>
                </a:lnTo>
                <a:lnTo>
                  <a:pt x="4727" y="3595"/>
                </a:lnTo>
                <a:lnTo>
                  <a:pt x="4769" y="3609"/>
                </a:lnTo>
                <a:lnTo>
                  <a:pt x="4809" y="3624"/>
                </a:lnTo>
                <a:lnTo>
                  <a:pt x="4851" y="3640"/>
                </a:lnTo>
                <a:lnTo>
                  <a:pt x="4892" y="3658"/>
                </a:lnTo>
                <a:lnTo>
                  <a:pt x="4932" y="3676"/>
                </a:lnTo>
                <a:lnTo>
                  <a:pt x="4973" y="3696"/>
                </a:lnTo>
                <a:lnTo>
                  <a:pt x="5013" y="3717"/>
                </a:lnTo>
                <a:lnTo>
                  <a:pt x="5052" y="3739"/>
                </a:lnTo>
                <a:lnTo>
                  <a:pt x="5093" y="3763"/>
                </a:lnTo>
                <a:lnTo>
                  <a:pt x="5132" y="3788"/>
                </a:lnTo>
                <a:lnTo>
                  <a:pt x="5171" y="3814"/>
                </a:lnTo>
                <a:lnTo>
                  <a:pt x="5210" y="3842"/>
                </a:lnTo>
                <a:lnTo>
                  <a:pt x="5249" y="3870"/>
                </a:lnTo>
                <a:lnTo>
                  <a:pt x="5287" y="3900"/>
                </a:lnTo>
                <a:lnTo>
                  <a:pt x="5325" y="3931"/>
                </a:lnTo>
                <a:lnTo>
                  <a:pt x="5364" y="3963"/>
                </a:lnTo>
                <a:lnTo>
                  <a:pt x="5401" y="3997"/>
                </a:lnTo>
                <a:lnTo>
                  <a:pt x="5438" y="4031"/>
                </a:lnTo>
                <a:lnTo>
                  <a:pt x="5475" y="4067"/>
                </a:lnTo>
                <a:lnTo>
                  <a:pt x="5512" y="4104"/>
                </a:lnTo>
                <a:lnTo>
                  <a:pt x="5549" y="4142"/>
                </a:lnTo>
                <a:lnTo>
                  <a:pt x="5584" y="4181"/>
                </a:lnTo>
                <a:lnTo>
                  <a:pt x="5619" y="4220"/>
                </a:lnTo>
                <a:lnTo>
                  <a:pt x="5652" y="4260"/>
                </a:lnTo>
                <a:lnTo>
                  <a:pt x="5685" y="4300"/>
                </a:lnTo>
                <a:lnTo>
                  <a:pt x="5716" y="4339"/>
                </a:lnTo>
                <a:lnTo>
                  <a:pt x="5747" y="4379"/>
                </a:lnTo>
                <a:lnTo>
                  <a:pt x="5775" y="4420"/>
                </a:lnTo>
                <a:lnTo>
                  <a:pt x="5803" y="4460"/>
                </a:lnTo>
                <a:lnTo>
                  <a:pt x="5830" y="4502"/>
                </a:lnTo>
                <a:lnTo>
                  <a:pt x="5855" y="4543"/>
                </a:lnTo>
                <a:lnTo>
                  <a:pt x="5880" y="4585"/>
                </a:lnTo>
                <a:lnTo>
                  <a:pt x="5904" y="4626"/>
                </a:lnTo>
                <a:lnTo>
                  <a:pt x="5925" y="4667"/>
                </a:lnTo>
                <a:lnTo>
                  <a:pt x="5946" y="4710"/>
                </a:lnTo>
                <a:lnTo>
                  <a:pt x="5967" y="4752"/>
                </a:lnTo>
                <a:lnTo>
                  <a:pt x="5986" y="4795"/>
                </a:lnTo>
                <a:lnTo>
                  <a:pt x="6004" y="4838"/>
                </a:lnTo>
                <a:lnTo>
                  <a:pt x="6020" y="4880"/>
                </a:lnTo>
                <a:lnTo>
                  <a:pt x="6036" y="4924"/>
                </a:lnTo>
                <a:lnTo>
                  <a:pt x="6049" y="4967"/>
                </a:lnTo>
                <a:lnTo>
                  <a:pt x="6063" y="5011"/>
                </a:lnTo>
                <a:lnTo>
                  <a:pt x="6075" y="5055"/>
                </a:lnTo>
                <a:lnTo>
                  <a:pt x="6085" y="5100"/>
                </a:lnTo>
                <a:lnTo>
                  <a:pt x="6095" y="5144"/>
                </a:lnTo>
                <a:lnTo>
                  <a:pt x="6104" y="5189"/>
                </a:lnTo>
                <a:lnTo>
                  <a:pt x="6111" y="5234"/>
                </a:lnTo>
                <a:lnTo>
                  <a:pt x="6117" y="5280"/>
                </a:lnTo>
                <a:lnTo>
                  <a:pt x="6123" y="5324"/>
                </a:lnTo>
                <a:lnTo>
                  <a:pt x="6127" y="5370"/>
                </a:lnTo>
                <a:lnTo>
                  <a:pt x="6130" y="5417"/>
                </a:lnTo>
                <a:lnTo>
                  <a:pt x="6131" y="5463"/>
                </a:lnTo>
                <a:lnTo>
                  <a:pt x="6132" y="5509"/>
                </a:lnTo>
                <a:lnTo>
                  <a:pt x="6132" y="9605"/>
                </a:lnTo>
                <a:lnTo>
                  <a:pt x="6132" y="9643"/>
                </a:lnTo>
                <a:lnTo>
                  <a:pt x="6130" y="9682"/>
                </a:lnTo>
                <a:lnTo>
                  <a:pt x="6129" y="9719"/>
                </a:lnTo>
                <a:lnTo>
                  <a:pt x="6126" y="9756"/>
                </a:lnTo>
                <a:lnTo>
                  <a:pt x="6122" y="9793"/>
                </a:lnTo>
                <a:lnTo>
                  <a:pt x="6117" y="9829"/>
                </a:lnTo>
                <a:lnTo>
                  <a:pt x="6112" y="9866"/>
                </a:lnTo>
                <a:lnTo>
                  <a:pt x="6107" y="9901"/>
                </a:lnTo>
                <a:lnTo>
                  <a:pt x="6099" y="9937"/>
                </a:lnTo>
                <a:lnTo>
                  <a:pt x="6092" y="9972"/>
                </a:lnTo>
                <a:lnTo>
                  <a:pt x="6083" y="10007"/>
                </a:lnTo>
                <a:lnTo>
                  <a:pt x="6074" y="10041"/>
                </a:lnTo>
                <a:lnTo>
                  <a:pt x="6063" y="10075"/>
                </a:lnTo>
                <a:lnTo>
                  <a:pt x="6053" y="10109"/>
                </a:lnTo>
                <a:lnTo>
                  <a:pt x="6041" y="10142"/>
                </a:lnTo>
                <a:lnTo>
                  <a:pt x="6028" y="10175"/>
                </a:lnTo>
                <a:lnTo>
                  <a:pt x="6014" y="10208"/>
                </a:lnTo>
                <a:lnTo>
                  <a:pt x="6001" y="10241"/>
                </a:lnTo>
                <a:lnTo>
                  <a:pt x="5986" y="10273"/>
                </a:lnTo>
                <a:lnTo>
                  <a:pt x="5970" y="10305"/>
                </a:lnTo>
                <a:lnTo>
                  <a:pt x="5953" y="10335"/>
                </a:lnTo>
                <a:lnTo>
                  <a:pt x="5935" y="10366"/>
                </a:lnTo>
                <a:lnTo>
                  <a:pt x="5917" y="10397"/>
                </a:lnTo>
                <a:lnTo>
                  <a:pt x="5898" y="10428"/>
                </a:lnTo>
                <a:lnTo>
                  <a:pt x="5877" y="10458"/>
                </a:lnTo>
                <a:lnTo>
                  <a:pt x="5857" y="10487"/>
                </a:lnTo>
                <a:lnTo>
                  <a:pt x="5835" y="10517"/>
                </a:lnTo>
                <a:lnTo>
                  <a:pt x="5813" y="10546"/>
                </a:lnTo>
                <a:lnTo>
                  <a:pt x="5789" y="10575"/>
                </a:lnTo>
                <a:lnTo>
                  <a:pt x="5766" y="10603"/>
                </a:lnTo>
                <a:lnTo>
                  <a:pt x="5740" y="10632"/>
                </a:lnTo>
                <a:lnTo>
                  <a:pt x="5715" y="10660"/>
                </a:lnTo>
                <a:lnTo>
                  <a:pt x="5688" y="10687"/>
                </a:lnTo>
                <a:lnTo>
                  <a:pt x="5661" y="10714"/>
                </a:lnTo>
                <a:lnTo>
                  <a:pt x="5633" y="10739"/>
                </a:lnTo>
                <a:lnTo>
                  <a:pt x="5606" y="10765"/>
                </a:lnTo>
                <a:lnTo>
                  <a:pt x="5576" y="10790"/>
                </a:lnTo>
                <a:lnTo>
                  <a:pt x="5546" y="10814"/>
                </a:lnTo>
                <a:lnTo>
                  <a:pt x="5516" y="10838"/>
                </a:lnTo>
                <a:lnTo>
                  <a:pt x="5486" y="10860"/>
                </a:lnTo>
                <a:lnTo>
                  <a:pt x="5455" y="10883"/>
                </a:lnTo>
                <a:lnTo>
                  <a:pt x="5422" y="10905"/>
                </a:lnTo>
                <a:lnTo>
                  <a:pt x="5390" y="10925"/>
                </a:lnTo>
                <a:lnTo>
                  <a:pt x="5357" y="10947"/>
                </a:lnTo>
                <a:lnTo>
                  <a:pt x="5323" y="10966"/>
                </a:lnTo>
                <a:lnTo>
                  <a:pt x="5288" y="10985"/>
                </a:lnTo>
                <a:lnTo>
                  <a:pt x="5253" y="11004"/>
                </a:lnTo>
                <a:lnTo>
                  <a:pt x="5218" y="11022"/>
                </a:lnTo>
                <a:lnTo>
                  <a:pt x="5182" y="11039"/>
                </a:lnTo>
                <a:lnTo>
                  <a:pt x="5145" y="11056"/>
                </a:lnTo>
                <a:lnTo>
                  <a:pt x="5108" y="11072"/>
                </a:lnTo>
                <a:lnTo>
                  <a:pt x="5069" y="11087"/>
                </a:lnTo>
                <a:lnTo>
                  <a:pt x="5031" y="11102"/>
                </a:lnTo>
                <a:lnTo>
                  <a:pt x="4992" y="11117"/>
                </a:lnTo>
                <a:lnTo>
                  <a:pt x="4952" y="11130"/>
                </a:lnTo>
                <a:lnTo>
                  <a:pt x="4911" y="11143"/>
                </a:lnTo>
                <a:lnTo>
                  <a:pt x="4871" y="11155"/>
                </a:lnTo>
                <a:lnTo>
                  <a:pt x="4828" y="11167"/>
                </a:lnTo>
                <a:lnTo>
                  <a:pt x="4787" y="11178"/>
                </a:lnTo>
                <a:lnTo>
                  <a:pt x="4743" y="11189"/>
                </a:lnTo>
                <a:lnTo>
                  <a:pt x="4701" y="11199"/>
                </a:lnTo>
                <a:lnTo>
                  <a:pt x="4656" y="11208"/>
                </a:lnTo>
                <a:lnTo>
                  <a:pt x="4612" y="11217"/>
                </a:lnTo>
                <a:lnTo>
                  <a:pt x="4567" y="11225"/>
                </a:lnTo>
                <a:lnTo>
                  <a:pt x="4567" y="16980"/>
                </a:lnTo>
                <a:lnTo>
                  <a:pt x="1510" y="16980"/>
                </a:lnTo>
                <a:lnTo>
                  <a:pt x="1510" y="11225"/>
                </a:lnTo>
                <a:lnTo>
                  <a:pt x="1424" y="11201"/>
                </a:lnTo>
                <a:lnTo>
                  <a:pt x="1340" y="11175"/>
                </a:lnTo>
                <a:lnTo>
                  <a:pt x="1298" y="11161"/>
                </a:lnTo>
                <a:lnTo>
                  <a:pt x="1258" y="11148"/>
                </a:lnTo>
                <a:lnTo>
                  <a:pt x="1218" y="11134"/>
                </a:lnTo>
                <a:lnTo>
                  <a:pt x="1178" y="11120"/>
                </a:lnTo>
                <a:lnTo>
                  <a:pt x="1139" y="11105"/>
                </a:lnTo>
                <a:lnTo>
                  <a:pt x="1101" y="11089"/>
                </a:lnTo>
                <a:lnTo>
                  <a:pt x="1064" y="11074"/>
                </a:lnTo>
                <a:lnTo>
                  <a:pt x="1026" y="11058"/>
                </a:lnTo>
                <a:lnTo>
                  <a:pt x="990" y="11042"/>
                </a:lnTo>
                <a:lnTo>
                  <a:pt x="954" y="11025"/>
                </a:lnTo>
                <a:lnTo>
                  <a:pt x="918" y="11009"/>
                </a:lnTo>
                <a:lnTo>
                  <a:pt x="884" y="10991"/>
                </a:lnTo>
                <a:lnTo>
                  <a:pt x="849" y="10974"/>
                </a:lnTo>
                <a:lnTo>
                  <a:pt x="816" y="10956"/>
                </a:lnTo>
                <a:lnTo>
                  <a:pt x="782" y="10938"/>
                </a:lnTo>
                <a:lnTo>
                  <a:pt x="750" y="10920"/>
                </a:lnTo>
                <a:lnTo>
                  <a:pt x="719" y="10901"/>
                </a:lnTo>
                <a:lnTo>
                  <a:pt x="687" y="10882"/>
                </a:lnTo>
                <a:lnTo>
                  <a:pt x="656" y="10862"/>
                </a:lnTo>
                <a:lnTo>
                  <a:pt x="626" y="10841"/>
                </a:lnTo>
                <a:lnTo>
                  <a:pt x="596" y="10821"/>
                </a:lnTo>
                <a:lnTo>
                  <a:pt x="567" y="10801"/>
                </a:lnTo>
                <a:lnTo>
                  <a:pt x="539" y="10780"/>
                </a:lnTo>
                <a:lnTo>
                  <a:pt x="510" y="10758"/>
                </a:lnTo>
                <a:lnTo>
                  <a:pt x="484" y="10736"/>
                </a:lnTo>
                <a:lnTo>
                  <a:pt x="456" y="10714"/>
                </a:lnTo>
                <a:lnTo>
                  <a:pt x="431" y="10691"/>
                </a:lnTo>
                <a:lnTo>
                  <a:pt x="405" y="10668"/>
                </a:lnTo>
                <a:lnTo>
                  <a:pt x="380" y="10646"/>
                </a:lnTo>
                <a:lnTo>
                  <a:pt x="355" y="10622"/>
                </a:lnTo>
                <a:lnTo>
                  <a:pt x="332" y="10599"/>
                </a:lnTo>
                <a:lnTo>
                  <a:pt x="310" y="10576"/>
                </a:lnTo>
                <a:lnTo>
                  <a:pt x="289" y="10551"/>
                </a:lnTo>
                <a:lnTo>
                  <a:pt x="267" y="10528"/>
                </a:lnTo>
                <a:lnTo>
                  <a:pt x="247" y="10503"/>
                </a:lnTo>
                <a:lnTo>
                  <a:pt x="228" y="10480"/>
                </a:lnTo>
                <a:lnTo>
                  <a:pt x="209" y="10455"/>
                </a:lnTo>
                <a:lnTo>
                  <a:pt x="191" y="10431"/>
                </a:lnTo>
                <a:lnTo>
                  <a:pt x="174" y="10407"/>
                </a:lnTo>
                <a:lnTo>
                  <a:pt x="158" y="10382"/>
                </a:lnTo>
                <a:lnTo>
                  <a:pt x="142" y="10357"/>
                </a:lnTo>
                <a:lnTo>
                  <a:pt x="128" y="10332"/>
                </a:lnTo>
                <a:lnTo>
                  <a:pt x="114" y="10307"/>
                </a:lnTo>
                <a:lnTo>
                  <a:pt x="101" y="10281"/>
                </a:lnTo>
                <a:lnTo>
                  <a:pt x="89" y="10256"/>
                </a:lnTo>
                <a:lnTo>
                  <a:pt x="77" y="10230"/>
                </a:lnTo>
                <a:lnTo>
                  <a:pt x="67" y="10205"/>
                </a:lnTo>
                <a:lnTo>
                  <a:pt x="57" y="10179"/>
                </a:lnTo>
                <a:lnTo>
                  <a:pt x="48" y="10153"/>
                </a:lnTo>
                <a:lnTo>
                  <a:pt x="39" y="10127"/>
                </a:lnTo>
                <a:lnTo>
                  <a:pt x="32" y="10100"/>
                </a:lnTo>
                <a:lnTo>
                  <a:pt x="25" y="10074"/>
                </a:lnTo>
                <a:lnTo>
                  <a:pt x="19" y="10047"/>
                </a:lnTo>
                <a:lnTo>
                  <a:pt x="14" y="10021"/>
                </a:lnTo>
                <a:lnTo>
                  <a:pt x="9" y="9994"/>
                </a:lnTo>
                <a:lnTo>
                  <a:pt x="6" y="9967"/>
                </a:lnTo>
                <a:lnTo>
                  <a:pt x="3" y="9940"/>
                </a:lnTo>
                <a:lnTo>
                  <a:pt x="1" y="9912"/>
                </a:lnTo>
                <a:lnTo>
                  <a:pt x="0" y="9885"/>
                </a:lnTo>
                <a:lnTo>
                  <a:pt x="0" y="9857"/>
                </a:lnTo>
                <a:lnTo>
                  <a:pt x="0" y="5509"/>
                </a:lnTo>
                <a:lnTo>
                  <a:pt x="1" y="5453"/>
                </a:lnTo>
                <a:lnTo>
                  <a:pt x="2" y="5398"/>
                </a:lnTo>
                <a:lnTo>
                  <a:pt x="5" y="5342"/>
                </a:lnTo>
                <a:lnTo>
                  <a:pt x="9" y="5288"/>
                </a:lnTo>
                <a:lnTo>
                  <a:pt x="15" y="5235"/>
                </a:lnTo>
                <a:lnTo>
                  <a:pt x="21" y="5182"/>
                </a:lnTo>
                <a:lnTo>
                  <a:pt x="28" y="5130"/>
                </a:lnTo>
                <a:lnTo>
                  <a:pt x="37" y="5079"/>
                </a:lnTo>
                <a:lnTo>
                  <a:pt x="47" y="5028"/>
                </a:lnTo>
                <a:lnTo>
                  <a:pt x="57" y="4978"/>
                </a:lnTo>
                <a:lnTo>
                  <a:pt x="70" y="4929"/>
                </a:lnTo>
                <a:lnTo>
                  <a:pt x="83" y="4880"/>
                </a:lnTo>
                <a:lnTo>
                  <a:pt x="97" y="4832"/>
                </a:lnTo>
                <a:lnTo>
                  <a:pt x="112" y="4785"/>
                </a:lnTo>
                <a:lnTo>
                  <a:pt x="129" y="4739"/>
                </a:lnTo>
                <a:lnTo>
                  <a:pt x="147" y="4693"/>
                </a:lnTo>
                <a:lnTo>
                  <a:pt x="166" y="4648"/>
                </a:lnTo>
                <a:lnTo>
                  <a:pt x="187" y="4604"/>
                </a:lnTo>
                <a:lnTo>
                  <a:pt x="208" y="4560"/>
                </a:lnTo>
                <a:lnTo>
                  <a:pt x="230" y="4518"/>
                </a:lnTo>
                <a:lnTo>
                  <a:pt x="255" y="4476"/>
                </a:lnTo>
                <a:lnTo>
                  <a:pt x="279" y="4435"/>
                </a:lnTo>
                <a:lnTo>
                  <a:pt x="306" y="4393"/>
                </a:lnTo>
                <a:lnTo>
                  <a:pt x="332" y="4354"/>
                </a:lnTo>
                <a:lnTo>
                  <a:pt x="361" y="4315"/>
                </a:lnTo>
                <a:lnTo>
                  <a:pt x="391" y="4275"/>
                </a:lnTo>
                <a:lnTo>
                  <a:pt x="421" y="4238"/>
                </a:lnTo>
                <a:lnTo>
                  <a:pt x="453" y="4201"/>
                </a:lnTo>
                <a:lnTo>
                  <a:pt x="486" y="4165"/>
                </a:lnTo>
                <a:lnTo>
                  <a:pt x="520" y="4129"/>
                </a:lnTo>
                <a:lnTo>
                  <a:pt x="556" y="4093"/>
                </a:lnTo>
                <a:lnTo>
                  <a:pt x="592" y="4059"/>
                </a:lnTo>
                <a:lnTo>
                  <a:pt x="629" y="4025"/>
                </a:lnTo>
                <a:lnTo>
                  <a:pt x="668" y="3994"/>
                </a:lnTo>
                <a:lnTo>
                  <a:pt x="707" y="3963"/>
                </a:lnTo>
                <a:lnTo>
                  <a:pt x="747" y="3933"/>
                </a:lnTo>
                <a:lnTo>
                  <a:pt x="789" y="3904"/>
                </a:lnTo>
                <a:lnTo>
                  <a:pt x="830" y="3876"/>
                </a:lnTo>
                <a:lnTo>
                  <a:pt x="873" y="3849"/>
                </a:lnTo>
                <a:lnTo>
                  <a:pt x="916" y="3823"/>
                </a:lnTo>
                <a:lnTo>
                  <a:pt x="961" y="3799"/>
                </a:lnTo>
                <a:lnTo>
                  <a:pt x="1005" y="3775"/>
                </a:lnTo>
                <a:lnTo>
                  <a:pt x="1052" y="3752"/>
                </a:lnTo>
                <a:lnTo>
                  <a:pt x="1099" y="3731"/>
                </a:lnTo>
                <a:lnTo>
                  <a:pt x="1146" y="3711"/>
                </a:lnTo>
                <a:lnTo>
                  <a:pt x="1194" y="3691"/>
                </a:lnTo>
                <a:lnTo>
                  <a:pt x="1244" y="3672"/>
                </a:lnTo>
                <a:lnTo>
                  <a:pt x="1294" y="3655"/>
                </a:lnTo>
                <a:lnTo>
                  <a:pt x="1345" y="3640"/>
                </a:lnTo>
                <a:lnTo>
                  <a:pt x="1397" y="3624"/>
                </a:lnTo>
                <a:lnTo>
                  <a:pt x="1450" y="3610"/>
                </a:lnTo>
                <a:lnTo>
                  <a:pt x="1503" y="3597"/>
                </a:lnTo>
                <a:lnTo>
                  <a:pt x="1558" y="3584"/>
                </a:lnTo>
                <a:lnTo>
                  <a:pt x="1614" y="3574"/>
                </a:lnTo>
                <a:lnTo>
                  <a:pt x="1670" y="3564"/>
                </a:lnTo>
                <a:lnTo>
                  <a:pt x="1726" y="3554"/>
                </a:lnTo>
                <a:lnTo>
                  <a:pt x="1785" y="3547"/>
                </a:lnTo>
                <a:lnTo>
                  <a:pt x="1843" y="3540"/>
                </a:lnTo>
                <a:lnTo>
                  <a:pt x="1902" y="3534"/>
                </a:lnTo>
                <a:lnTo>
                  <a:pt x="1963" y="3530"/>
                </a:lnTo>
                <a:lnTo>
                  <a:pt x="2024" y="3526"/>
                </a:lnTo>
                <a:lnTo>
                  <a:pt x="2086" y="3524"/>
                </a:lnTo>
                <a:lnTo>
                  <a:pt x="2149" y="3522"/>
                </a:lnTo>
                <a:lnTo>
                  <a:pt x="2212" y="3522"/>
                </a:lnTo>
                <a:lnTo>
                  <a:pt x="2218" y="3517"/>
                </a:lnTo>
                <a:lnTo>
                  <a:pt x="2224" y="3514"/>
                </a:lnTo>
                <a:lnTo>
                  <a:pt x="2230" y="3513"/>
                </a:lnTo>
                <a:lnTo>
                  <a:pt x="2237" y="3512"/>
                </a:lnTo>
                <a:lnTo>
                  <a:pt x="2243" y="3512"/>
                </a:lnTo>
                <a:lnTo>
                  <a:pt x="2251" y="3512"/>
                </a:lnTo>
                <a:lnTo>
                  <a:pt x="2261" y="3512"/>
                </a:lnTo>
                <a:lnTo>
                  <a:pt x="2274" y="3512"/>
                </a:lnTo>
                <a:lnTo>
                  <a:pt x="2312" y="3514"/>
                </a:lnTo>
                <a:lnTo>
                  <a:pt x="2353" y="3516"/>
                </a:lnTo>
                <a:lnTo>
                  <a:pt x="2393" y="3517"/>
                </a:lnTo>
                <a:lnTo>
                  <a:pt x="2435" y="3519"/>
                </a:lnTo>
                <a:lnTo>
                  <a:pt x="2479" y="3520"/>
                </a:lnTo>
                <a:lnTo>
                  <a:pt x="2522" y="3520"/>
                </a:lnTo>
                <a:lnTo>
                  <a:pt x="2568" y="3522"/>
                </a:lnTo>
                <a:lnTo>
                  <a:pt x="2615" y="3522"/>
                </a:lnTo>
                <a:lnTo>
                  <a:pt x="2616" y="3516"/>
                </a:lnTo>
                <a:lnTo>
                  <a:pt x="2617" y="3511"/>
                </a:lnTo>
                <a:lnTo>
                  <a:pt x="2620" y="3505"/>
                </a:lnTo>
                <a:lnTo>
                  <a:pt x="2623" y="3498"/>
                </a:lnTo>
                <a:lnTo>
                  <a:pt x="2634" y="3483"/>
                </a:lnTo>
                <a:lnTo>
                  <a:pt x="2649" y="3466"/>
                </a:lnTo>
                <a:lnTo>
                  <a:pt x="2663" y="3450"/>
                </a:lnTo>
                <a:lnTo>
                  <a:pt x="2674" y="3439"/>
                </a:lnTo>
                <a:lnTo>
                  <a:pt x="2678" y="3434"/>
                </a:lnTo>
                <a:lnTo>
                  <a:pt x="2683" y="3431"/>
                </a:lnTo>
                <a:lnTo>
                  <a:pt x="2686" y="3430"/>
                </a:lnTo>
                <a:lnTo>
                  <a:pt x="2688" y="3429"/>
                </a:lnTo>
                <a:lnTo>
                  <a:pt x="2651" y="3417"/>
                </a:lnTo>
                <a:lnTo>
                  <a:pt x="2614" y="3406"/>
                </a:lnTo>
                <a:lnTo>
                  <a:pt x="2578" y="3393"/>
                </a:lnTo>
                <a:lnTo>
                  <a:pt x="2542" y="3380"/>
                </a:lnTo>
                <a:lnTo>
                  <a:pt x="2506" y="3366"/>
                </a:lnTo>
                <a:lnTo>
                  <a:pt x="2471" y="3351"/>
                </a:lnTo>
                <a:lnTo>
                  <a:pt x="2436" y="3337"/>
                </a:lnTo>
                <a:lnTo>
                  <a:pt x="2402" y="3322"/>
                </a:lnTo>
                <a:lnTo>
                  <a:pt x="2368" y="3306"/>
                </a:lnTo>
                <a:lnTo>
                  <a:pt x="2336" y="3289"/>
                </a:lnTo>
                <a:lnTo>
                  <a:pt x="2303" y="3272"/>
                </a:lnTo>
                <a:lnTo>
                  <a:pt x="2271" y="3255"/>
                </a:lnTo>
                <a:lnTo>
                  <a:pt x="2239" y="3237"/>
                </a:lnTo>
                <a:lnTo>
                  <a:pt x="2208" y="3218"/>
                </a:lnTo>
                <a:lnTo>
                  <a:pt x="2177" y="3198"/>
                </a:lnTo>
                <a:lnTo>
                  <a:pt x="2147" y="3178"/>
                </a:lnTo>
                <a:lnTo>
                  <a:pt x="2117" y="3158"/>
                </a:lnTo>
                <a:lnTo>
                  <a:pt x="2087" y="3137"/>
                </a:lnTo>
                <a:lnTo>
                  <a:pt x="2058" y="3115"/>
                </a:lnTo>
                <a:lnTo>
                  <a:pt x="2030" y="3093"/>
                </a:lnTo>
                <a:lnTo>
                  <a:pt x="2002" y="3071"/>
                </a:lnTo>
                <a:lnTo>
                  <a:pt x="1975" y="3047"/>
                </a:lnTo>
                <a:lnTo>
                  <a:pt x="1948" y="3024"/>
                </a:lnTo>
                <a:lnTo>
                  <a:pt x="1921" y="3000"/>
                </a:lnTo>
                <a:lnTo>
                  <a:pt x="1895" y="2975"/>
                </a:lnTo>
                <a:lnTo>
                  <a:pt x="1869" y="2950"/>
                </a:lnTo>
                <a:lnTo>
                  <a:pt x="1844" y="2924"/>
                </a:lnTo>
                <a:lnTo>
                  <a:pt x="1820" y="2898"/>
                </a:lnTo>
                <a:lnTo>
                  <a:pt x="1795" y="2871"/>
                </a:lnTo>
                <a:lnTo>
                  <a:pt x="1771" y="2843"/>
                </a:lnTo>
                <a:lnTo>
                  <a:pt x="1747" y="2816"/>
                </a:lnTo>
                <a:lnTo>
                  <a:pt x="1725" y="2787"/>
                </a:lnTo>
                <a:lnTo>
                  <a:pt x="1703" y="2757"/>
                </a:lnTo>
                <a:lnTo>
                  <a:pt x="1682" y="2729"/>
                </a:lnTo>
                <a:lnTo>
                  <a:pt x="1660" y="2699"/>
                </a:lnTo>
                <a:lnTo>
                  <a:pt x="1640" y="2669"/>
                </a:lnTo>
                <a:lnTo>
                  <a:pt x="1621" y="2638"/>
                </a:lnTo>
                <a:lnTo>
                  <a:pt x="1603" y="2608"/>
                </a:lnTo>
                <a:lnTo>
                  <a:pt x="1585" y="2578"/>
                </a:lnTo>
                <a:lnTo>
                  <a:pt x="1568" y="2547"/>
                </a:lnTo>
                <a:lnTo>
                  <a:pt x="1551" y="2516"/>
                </a:lnTo>
                <a:lnTo>
                  <a:pt x="1535" y="2484"/>
                </a:lnTo>
                <a:lnTo>
                  <a:pt x="1520" y="2452"/>
                </a:lnTo>
                <a:lnTo>
                  <a:pt x="1506" y="2420"/>
                </a:lnTo>
                <a:lnTo>
                  <a:pt x="1493" y="2388"/>
                </a:lnTo>
                <a:lnTo>
                  <a:pt x="1479" y="2356"/>
                </a:lnTo>
                <a:lnTo>
                  <a:pt x="1467" y="2324"/>
                </a:lnTo>
                <a:lnTo>
                  <a:pt x="1455" y="2291"/>
                </a:lnTo>
                <a:lnTo>
                  <a:pt x="1445" y="2258"/>
                </a:lnTo>
                <a:lnTo>
                  <a:pt x="1434" y="2225"/>
                </a:lnTo>
                <a:lnTo>
                  <a:pt x="1425" y="2191"/>
                </a:lnTo>
                <a:lnTo>
                  <a:pt x="1416" y="2157"/>
                </a:lnTo>
                <a:lnTo>
                  <a:pt x="1408" y="2123"/>
                </a:lnTo>
                <a:lnTo>
                  <a:pt x="1400" y="2089"/>
                </a:lnTo>
                <a:lnTo>
                  <a:pt x="1394" y="2054"/>
                </a:lnTo>
                <a:lnTo>
                  <a:pt x="1389" y="2018"/>
                </a:lnTo>
                <a:lnTo>
                  <a:pt x="1383" y="1983"/>
                </a:lnTo>
                <a:lnTo>
                  <a:pt x="1378" y="1948"/>
                </a:lnTo>
                <a:lnTo>
                  <a:pt x="1375" y="1912"/>
                </a:lnTo>
                <a:lnTo>
                  <a:pt x="1372" y="1876"/>
                </a:lnTo>
                <a:lnTo>
                  <a:pt x="1368" y="1840"/>
                </a:lnTo>
                <a:lnTo>
                  <a:pt x="1367" y="1804"/>
                </a:lnTo>
                <a:lnTo>
                  <a:pt x="1366" y="1767"/>
                </a:lnTo>
                <a:lnTo>
                  <a:pt x="1365" y="1729"/>
                </a:lnTo>
                <a:lnTo>
                  <a:pt x="1366" y="1686"/>
                </a:lnTo>
                <a:lnTo>
                  <a:pt x="1367" y="1641"/>
                </a:lnTo>
                <a:lnTo>
                  <a:pt x="1370" y="1598"/>
                </a:lnTo>
                <a:lnTo>
                  <a:pt x="1374" y="1555"/>
                </a:lnTo>
                <a:lnTo>
                  <a:pt x="1378" y="1511"/>
                </a:lnTo>
                <a:lnTo>
                  <a:pt x="1383" y="1469"/>
                </a:lnTo>
                <a:lnTo>
                  <a:pt x="1390" y="1427"/>
                </a:lnTo>
                <a:lnTo>
                  <a:pt x="1397" y="1386"/>
                </a:lnTo>
                <a:lnTo>
                  <a:pt x="1405" y="1345"/>
                </a:lnTo>
                <a:lnTo>
                  <a:pt x="1415" y="1304"/>
                </a:lnTo>
                <a:lnTo>
                  <a:pt x="1426" y="1264"/>
                </a:lnTo>
                <a:lnTo>
                  <a:pt x="1437" y="1223"/>
                </a:lnTo>
                <a:lnTo>
                  <a:pt x="1449" y="1184"/>
                </a:lnTo>
                <a:lnTo>
                  <a:pt x="1463" y="1145"/>
                </a:lnTo>
                <a:lnTo>
                  <a:pt x="1477" y="1106"/>
                </a:lnTo>
                <a:lnTo>
                  <a:pt x="1493" y="1068"/>
                </a:lnTo>
                <a:lnTo>
                  <a:pt x="1508" y="1030"/>
                </a:lnTo>
                <a:lnTo>
                  <a:pt x="1527" y="993"/>
                </a:lnTo>
                <a:lnTo>
                  <a:pt x="1545" y="955"/>
                </a:lnTo>
                <a:lnTo>
                  <a:pt x="1564" y="919"/>
                </a:lnTo>
                <a:lnTo>
                  <a:pt x="1585" y="883"/>
                </a:lnTo>
                <a:lnTo>
                  <a:pt x="1606" y="847"/>
                </a:lnTo>
                <a:lnTo>
                  <a:pt x="1628" y="811"/>
                </a:lnTo>
                <a:lnTo>
                  <a:pt x="1652" y="776"/>
                </a:lnTo>
                <a:lnTo>
                  <a:pt x="1676" y="742"/>
                </a:lnTo>
                <a:lnTo>
                  <a:pt x="1702" y="708"/>
                </a:lnTo>
                <a:lnTo>
                  <a:pt x="1728" y="674"/>
                </a:lnTo>
                <a:lnTo>
                  <a:pt x="1756" y="640"/>
                </a:lnTo>
                <a:lnTo>
                  <a:pt x="1783" y="607"/>
                </a:lnTo>
                <a:lnTo>
                  <a:pt x="1813" y="574"/>
                </a:lnTo>
                <a:lnTo>
                  <a:pt x="1844" y="542"/>
                </a:lnTo>
                <a:lnTo>
                  <a:pt x="1875" y="510"/>
                </a:lnTo>
                <a:lnTo>
                  <a:pt x="1907" y="478"/>
                </a:lnTo>
                <a:lnTo>
                  <a:pt x="1940" y="448"/>
                </a:lnTo>
                <a:lnTo>
                  <a:pt x="1971" y="419"/>
                </a:lnTo>
                <a:lnTo>
                  <a:pt x="2005" y="390"/>
                </a:lnTo>
                <a:lnTo>
                  <a:pt x="2038" y="362"/>
                </a:lnTo>
                <a:lnTo>
                  <a:pt x="2072" y="336"/>
                </a:lnTo>
                <a:lnTo>
                  <a:pt x="2106" y="311"/>
                </a:lnTo>
                <a:lnTo>
                  <a:pt x="2141" y="287"/>
                </a:lnTo>
                <a:lnTo>
                  <a:pt x="2176" y="263"/>
                </a:lnTo>
                <a:lnTo>
                  <a:pt x="2211" y="240"/>
                </a:lnTo>
                <a:lnTo>
                  <a:pt x="2247" y="219"/>
                </a:lnTo>
                <a:lnTo>
                  <a:pt x="2284" y="199"/>
                </a:lnTo>
                <a:lnTo>
                  <a:pt x="2320" y="179"/>
                </a:lnTo>
                <a:lnTo>
                  <a:pt x="2357" y="160"/>
                </a:lnTo>
                <a:lnTo>
                  <a:pt x="2395" y="143"/>
                </a:lnTo>
                <a:lnTo>
                  <a:pt x="2432" y="127"/>
                </a:lnTo>
                <a:lnTo>
                  <a:pt x="2470" y="111"/>
                </a:lnTo>
                <a:lnTo>
                  <a:pt x="2510" y="98"/>
                </a:lnTo>
                <a:lnTo>
                  <a:pt x="2549" y="84"/>
                </a:lnTo>
                <a:lnTo>
                  <a:pt x="2588" y="71"/>
                </a:lnTo>
                <a:lnTo>
                  <a:pt x="2628" y="60"/>
                </a:lnTo>
                <a:lnTo>
                  <a:pt x="2668" y="50"/>
                </a:lnTo>
                <a:lnTo>
                  <a:pt x="2709" y="40"/>
                </a:lnTo>
                <a:lnTo>
                  <a:pt x="2750" y="32"/>
                </a:lnTo>
                <a:lnTo>
                  <a:pt x="2791" y="24"/>
                </a:lnTo>
                <a:lnTo>
                  <a:pt x="2833" y="18"/>
                </a:lnTo>
                <a:lnTo>
                  <a:pt x="2876" y="13"/>
                </a:lnTo>
                <a:lnTo>
                  <a:pt x="2918" y="7"/>
                </a:lnTo>
                <a:lnTo>
                  <a:pt x="2962" y="4"/>
                </a:lnTo>
                <a:lnTo>
                  <a:pt x="3005" y="2"/>
                </a:lnTo>
                <a:lnTo>
                  <a:pt x="3049" y="1"/>
                </a:lnTo>
                <a:lnTo>
                  <a:pt x="3094" y="0"/>
                </a:lnTo>
                <a:lnTo>
                  <a:pt x="3138" y="1"/>
                </a:lnTo>
                <a:lnTo>
                  <a:pt x="3183" y="2"/>
                </a:lnTo>
                <a:lnTo>
                  <a:pt x="3226" y="4"/>
                </a:lnTo>
                <a:lnTo>
                  <a:pt x="3270" y="7"/>
                </a:lnTo>
                <a:lnTo>
                  <a:pt x="3312" y="13"/>
                </a:lnTo>
                <a:lnTo>
                  <a:pt x="3356" y="18"/>
                </a:lnTo>
                <a:lnTo>
                  <a:pt x="3397" y="24"/>
                </a:lnTo>
                <a:lnTo>
                  <a:pt x="3440" y="32"/>
                </a:lnTo>
                <a:lnTo>
                  <a:pt x="3481" y="40"/>
                </a:lnTo>
                <a:lnTo>
                  <a:pt x="3521" y="50"/>
                </a:lnTo>
                <a:lnTo>
                  <a:pt x="3563" y="60"/>
                </a:lnTo>
                <a:lnTo>
                  <a:pt x="3602" y="71"/>
                </a:lnTo>
                <a:lnTo>
                  <a:pt x="3643" y="84"/>
                </a:lnTo>
                <a:lnTo>
                  <a:pt x="3682" y="98"/>
                </a:lnTo>
                <a:lnTo>
                  <a:pt x="3721" y="111"/>
                </a:lnTo>
                <a:lnTo>
                  <a:pt x="3759" y="127"/>
                </a:lnTo>
                <a:lnTo>
                  <a:pt x="3798" y="143"/>
                </a:lnTo>
                <a:lnTo>
                  <a:pt x="3835" y="160"/>
                </a:lnTo>
                <a:lnTo>
                  <a:pt x="3873" y="179"/>
                </a:lnTo>
                <a:lnTo>
                  <a:pt x="3909" y="199"/>
                </a:lnTo>
                <a:lnTo>
                  <a:pt x="3946" y="219"/>
                </a:lnTo>
                <a:lnTo>
                  <a:pt x="3982" y="240"/>
                </a:lnTo>
                <a:lnTo>
                  <a:pt x="4017" y="263"/>
                </a:lnTo>
                <a:lnTo>
                  <a:pt x="4053" y="287"/>
                </a:lnTo>
                <a:lnTo>
                  <a:pt x="4088" y="311"/>
                </a:lnTo>
                <a:lnTo>
                  <a:pt x="4122" y="336"/>
                </a:lnTo>
                <a:lnTo>
                  <a:pt x="4156" y="362"/>
                </a:lnTo>
                <a:lnTo>
                  <a:pt x="4190" y="390"/>
                </a:lnTo>
                <a:lnTo>
                  <a:pt x="4223" y="419"/>
                </a:lnTo>
                <a:lnTo>
                  <a:pt x="4256" y="448"/>
                </a:lnTo>
                <a:lnTo>
                  <a:pt x="4289" y="478"/>
                </a:lnTo>
                <a:lnTo>
                  <a:pt x="4321" y="510"/>
                </a:lnTo>
                <a:lnTo>
                  <a:pt x="4353" y="542"/>
                </a:lnTo>
                <a:lnTo>
                  <a:pt x="4383" y="574"/>
                </a:lnTo>
                <a:lnTo>
                  <a:pt x="4412" y="607"/>
                </a:lnTo>
                <a:lnTo>
                  <a:pt x="4440" y="640"/>
                </a:lnTo>
                <a:lnTo>
                  <a:pt x="4467" y="674"/>
                </a:lnTo>
                <a:lnTo>
                  <a:pt x="4493" y="708"/>
                </a:lnTo>
                <a:lnTo>
                  <a:pt x="4518" y="742"/>
                </a:lnTo>
                <a:lnTo>
                  <a:pt x="4543" y="776"/>
                </a:lnTo>
                <a:lnTo>
                  <a:pt x="4566" y="811"/>
                </a:lnTo>
                <a:lnTo>
                  <a:pt x="4588" y="847"/>
                </a:lnTo>
                <a:lnTo>
                  <a:pt x="4610" y="883"/>
                </a:lnTo>
                <a:lnTo>
                  <a:pt x="4630" y="919"/>
                </a:lnTo>
                <a:lnTo>
                  <a:pt x="4649" y="955"/>
                </a:lnTo>
                <a:lnTo>
                  <a:pt x="4667" y="993"/>
                </a:lnTo>
                <a:lnTo>
                  <a:pt x="4685" y="1030"/>
                </a:lnTo>
                <a:lnTo>
                  <a:pt x="4701" y="1068"/>
                </a:lnTo>
                <a:lnTo>
                  <a:pt x="4716" y="1106"/>
                </a:lnTo>
                <a:lnTo>
                  <a:pt x="4731" y="1145"/>
                </a:lnTo>
                <a:lnTo>
                  <a:pt x="4745" y="1184"/>
                </a:lnTo>
                <a:lnTo>
                  <a:pt x="4756" y="1223"/>
                </a:lnTo>
                <a:lnTo>
                  <a:pt x="4768" y="1264"/>
                </a:lnTo>
                <a:lnTo>
                  <a:pt x="4779" y="1304"/>
                </a:lnTo>
                <a:lnTo>
                  <a:pt x="4788" y="1345"/>
                </a:lnTo>
                <a:lnTo>
                  <a:pt x="4797" y="1386"/>
                </a:lnTo>
                <a:lnTo>
                  <a:pt x="4803" y="1427"/>
                </a:lnTo>
                <a:lnTo>
                  <a:pt x="4810" y="1469"/>
                </a:lnTo>
                <a:lnTo>
                  <a:pt x="4816" y="1511"/>
                </a:lnTo>
                <a:lnTo>
                  <a:pt x="4820" y="1555"/>
                </a:lnTo>
                <a:lnTo>
                  <a:pt x="4823" y="1598"/>
                </a:lnTo>
                <a:lnTo>
                  <a:pt x="4825" y="1641"/>
                </a:lnTo>
                <a:lnTo>
                  <a:pt x="4827" y="1686"/>
                </a:lnTo>
                <a:lnTo>
                  <a:pt x="4827" y="1729"/>
                </a:lnTo>
                <a:lnTo>
                  <a:pt x="4827" y="1768"/>
                </a:lnTo>
                <a:lnTo>
                  <a:pt x="4826" y="1806"/>
                </a:lnTo>
                <a:lnTo>
                  <a:pt x="4824" y="1843"/>
                </a:lnTo>
                <a:lnTo>
                  <a:pt x="4822" y="1880"/>
                </a:lnTo>
                <a:lnTo>
                  <a:pt x="4818" y="1917"/>
                </a:lnTo>
                <a:lnTo>
                  <a:pt x="4814" y="1954"/>
                </a:lnTo>
                <a:lnTo>
                  <a:pt x="4808" y="1990"/>
                </a:lnTo>
                <a:lnTo>
                  <a:pt x="4803" y="2027"/>
                </a:lnTo>
                <a:lnTo>
                  <a:pt x="4797" y="2062"/>
                </a:lnTo>
                <a:lnTo>
                  <a:pt x="4789" y="2098"/>
                </a:lnTo>
                <a:lnTo>
                  <a:pt x="4781" y="2134"/>
                </a:lnTo>
                <a:lnTo>
                  <a:pt x="4772" y="2169"/>
                </a:lnTo>
                <a:lnTo>
                  <a:pt x="4763" y="2204"/>
                </a:lnTo>
                <a:lnTo>
                  <a:pt x="4752" y="2240"/>
                </a:lnTo>
                <a:lnTo>
                  <a:pt x="4740" y="2274"/>
                </a:lnTo>
                <a:lnTo>
                  <a:pt x="4729" y="2308"/>
                </a:lnTo>
                <a:lnTo>
                  <a:pt x="4716" y="2342"/>
                </a:lnTo>
                <a:lnTo>
                  <a:pt x="4702" y="2376"/>
                </a:lnTo>
                <a:lnTo>
                  <a:pt x="4688" y="2410"/>
                </a:lnTo>
                <a:lnTo>
                  <a:pt x="4673" y="2443"/>
                </a:lnTo>
                <a:lnTo>
                  <a:pt x="4657" y="2476"/>
                </a:lnTo>
                <a:lnTo>
                  <a:pt x="4641" y="2508"/>
                </a:lnTo>
                <a:lnTo>
                  <a:pt x="4624" y="2541"/>
                </a:lnTo>
                <a:lnTo>
                  <a:pt x="4605" y="2573"/>
                </a:lnTo>
                <a:lnTo>
                  <a:pt x="4586" y="2606"/>
                </a:lnTo>
                <a:lnTo>
                  <a:pt x="4566" y="2638"/>
                </a:lnTo>
                <a:lnTo>
                  <a:pt x="4546" y="2669"/>
                </a:lnTo>
                <a:lnTo>
                  <a:pt x="4525" y="2701"/>
                </a:lnTo>
                <a:lnTo>
                  <a:pt x="4502" y="2732"/>
                </a:lnTo>
                <a:lnTo>
                  <a:pt x="4480" y="2763"/>
                </a:lnTo>
                <a:lnTo>
                  <a:pt x="4456" y="2793"/>
                </a:lnTo>
                <a:lnTo>
                  <a:pt x="4431" y="2824"/>
                </a:lnTo>
                <a:lnTo>
                  <a:pt x="4407" y="2853"/>
                </a:lnTo>
                <a:lnTo>
                  <a:pt x="4381" y="2883"/>
                </a:lnTo>
                <a:lnTo>
                  <a:pt x="4356" y="2910"/>
                </a:lnTo>
                <a:lnTo>
                  <a:pt x="4329" y="2938"/>
                </a:lnTo>
                <a:lnTo>
                  <a:pt x="4303" y="2965"/>
                </a:lnTo>
                <a:lnTo>
                  <a:pt x="4276" y="2991"/>
                </a:lnTo>
                <a:lnTo>
                  <a:pt x="4249" y="3017"/>
                </a:lnTo>
                <a:lnTo>
                  <a:pt x="4220" y="3041"/>
                </a:lnTo>
                <a:lnTo>
                  <a:pt x="4192" y="3066"/>
                </a:lnTo>
                <a:lnTo>
                  <a:pt x="4164" y="3089"/>
                </a:lnTo>
                <a:lnTo>
                  <a:pt x="4134" y="3112"/>
                </a:lnTo>
                <a:lnTo>
                  <a:pt x="4105" y="3134"/>
                </a:lnTo>
                <a:lnTo>
                  <a:pt x="4075" y="3155"/>
                </a:lnTo>
                <a:lnTo>
                  <a:pt x="4045" y="3176"/>
                </a:lnTo>
                <a:lnTo>
                  <a:pt x="4014" y="3196"/>
                </a:lnTo>
                <a:lnTo>
                  <a:pt x="3982" y="3215"/>
                </a:lnTo>
                <a:lnTo>
                  <a:pt x="3950" y="3233"/>
                </a:lnTo>
                <a:lnTo>
                  <a:pt x="3919" y="3252"/>
                </a:lnTo>
                <a:lnTo>
                  <a:pt x="3887" y="3269"/>
                </a:lnTo>
                <a:lnTo>
                  <a:pt x="3854" y="3286"/>
                </a:lnTo>
                <a:lnTo>
                  <a:pt x="3820" y="3301"/>
                </a:lnTo>
                <a:lnTo>
                  <a:pt x="3786" y="3316"/>
                </a:lnTo>
                <a:lnTo>
                  <a:pt x="3752" y="3331"/>
                </a:lnTo>
                <a:lnTo>
                  <a:pt x="3718" y="3344"/>
                </a:lnTo>
                <a:lnTo>
                  <a:pt x="3683" y="3358"/>
                </a:lnTo>
                <a:lnTo>
                  <a:pt x="3647" y="3370"/>
                </a:lnTo>
                <a:lnTo>
                  <a:pt x="3611" y="3381"/>
                </a:lnTo>
                <a:lnTo>
                  <a:pt x="3575" y="3393"/>
                </a:lnTo>
                <a:lnTo>
                  <a:pt x="3538" y="3402"/>
                </a:lnTo>
                <a:lnTo>
                  <a:pt x="3500" y="3412"/>
                </a:lnTo>
                <a:lnTo>
                  <a:pt x="3463" y="3421"/>
                </a:lnTo>
                <a:lnTo>
                  <a:pt x="3425" y="3429"/>
                </a:lnTo>
                <a:lnTo>
                  <a:pt x="3438" y="3443"/>
                </a:lnTo>
                <a:lnTo>
                  <a:pt x="3449" y="3456"/>
                </a:lnTo>
                <a:lnTo>
                  <a:pt x="3459" y="3468"/>
                </a:lnTo>
                <a:lnTo>
                  <a:pt x="3466" y="3480"/>
                </a:lnTo>
                <a:lnTo>
                  <a:pt x="3473" y="3491"/>
                </a:lnTo>
                <a:lnTo>
                  <a:pt x="3477" y="3501"/>
                </a:lnTo>
                <a:lnTo>
                  <a:pt x="3479" y="3512"/>
                </a:lnTo>
                <a:lnTo>
                  <a:pt x="3480" y="3522"/>
                </a:lnTo>
                <a:close/>
              </a:path>
            </a:pathLst>
          </a:custGeom>
          <a:solidFill>
            <a:schemeClr val="accent1"/>
          </a:solidFill>
          <a:ln w="9525">
            <a:noFill/>
            <a:round/>
            <a:headEnd/>
            <a:tailEnd/>
          </a:ln>
        </p:spPr>
        <p:txBody>
          <a:bodyPr/>
          <a:lstStyle>
            <a:defPPr>
              <a:defRPr lang="en-US"/>
            </a:defPPr>
            <a:lvl1pPr marL="0" algn="l" defTabSz="1018824" rtl="0" eaLnBrk="1" latinLnBrk="0" hangingPunct="1">
              <a:defRPr sz="2000" kern="1200">
                <a:solidFill>
                  <a:schemeClr val="tx1"/>
                </a:solidFill>
                <a:latin typeface="+mn-lt"/>
                <a:ea typeface="+mn-ea"/>
                <a:cs typeface="+mn-cs"/>
              </a:defRPr>
            </a:lvl1pPr>
            <a:lvl2pPr marL="509412" algn="l" defTabSz="1018824" rtl="0" eaLnBrk="1" latinLnBrk="0" hangingPunct="1">
              <a:defRPr sz="2000" kern="1200">
                <a:solidFill>
                  <a:schemeClr val="tx1"/>
                </a:solidFill>
                <a:latin typeface="+mn-lt"/>
                <a:ea typeface="+mn-ea"/>
                <a:cs typeface="+mn-cs"/>
              </a:defRPr>
            </a:lvl2pPr>
            <a:lvl3pPr marL="1018824" algn="l" defTabSz="1018824" rtl="0" eaLnBrk="1" latinLnBrk="0" hangingPunct="1">
              <a:defRPr sz="2000" kern="1200">
                <a:solidFill>
                  <a:schemeClr val="tx1"/>
                </a:solidFill>
                <a:latin typeface="+mn-lt"/>
                <a:ea typeface="+mn-ea"/>
                <a:cs typeface="+mn-cs"/>
              </a:defRPr>
            </a:lvl3pPr>
            <a:lvl4pPr marL="1528237" algn="l" defTabSz="1018824" rtl="0" eaLnBrk="1" latinLnBrk="0" hangingPunct="1">
              <a:defRPr sz="2000" kern="1200">
                <a:solidFill>
                  <a:schemeClr val="tx1"/>
                </a:solidFill>
                <a:latin typeface="+mn-lt"/>
                <a:ea typeface="+mn-ea"/>
                <a:cs typeface="+mn-cs"/>
              </a:defRPr>
            </a:lvl4pPr>
            <a:lvl5pPr marL="2037649" algn="l" defTabSz="1018824" rtl="0" eaLnBrk="1" latinLnBrk="0" hangingPunct="1">
              <a:defRPr sz="2000" kern="1200">
                <a:solidFill>
                  <a:schemeClr val="tx1"/>
                </a:solidFill>
                <a:latin typeface="+mn-lt"/>
                <a:ea typeface="+mn-ea"/>
                <a:cs typeface="+mn-cs"/>
              </a:defRPr>
            </a:lvl5pPr>
            <a:lvl6pPr marL="2547061" algn="l" defTabSz="1018824" rtl="0" eaLnBrk="1" latinLnBrk="0" hangingPunct="1">
              <a:defRPr sz="2000" kern="1200">
                <a:solidFill>
                  <a:schemeClr val="tx1"/>
                </a:solidFill>
                <a:latin typeface="+mn-lt"/>
                <a:ea typeface="+mn-ea"/>
                <a:cs typeface="+mn-cs"/>
              </a:defRPr>
            </a:lvl6pPr>
            <a:lvl7pPr marL="3056473" algn="l" defTabSz="1018824" rtl="0" eaLnBrk="1" latinLnBrk="0" hangingPunct="1">
              <a:defRPr sz="2000" kern="1200">
                <a:solidFill>
                  <a:schemeClr val="tx1"/>
                </a:solidFill>
                <a:latin typeface="+mn-lt"/>
                <a:ea typeface="+mn-ea"/>
                <a:cs typeface="+mn-cs"/>
              </a:defRPr>
            </a:lvl7pPr>
            <a:lvl8pPr marL="3565886" algn="l" defTabSz="1018824" rtl="0" eaLnBrk="1" latinLnBrk="0" hangingPunct="1">
              <a:defRPr sz="2000" kern="1200">
                <a:solidFill>
                  <a:schemeClr val="tx1"/>
                </a:solidFill>
                <a:latin typeface="+mn-lt"/>
                <a:ea typeface="+mn-ea"/>
                <a:cs typeface="+mn-cs"/>
              </a:defRPr>
            </a:lvl8pPr>
            <a:lvl9pPr marL="4075298" algn="l" defTabSz="1018824" rtl="0" eaLnBrk="1" latinLnBrk="0" hangingPunct="1">
              <a:defRPr sz="2000" kern="1200">
                <a:solidFill>
                  <a:schemeClr val="tx1"/>
                </a:solidFill>
                <a:latin typeface="+mn-lt"/>
                <a:ea typeface="+mn-ea"/>
                <a:cs typeface="+mn-cs"/>
              </a:defRPr>
            </a:lvl9pPr>
          </a:lstStyle>
          <a:p>
            <a:pPr marL="0" marR="0" lvl="0" indent="0" algn="l" defTabSz="1018824" rtl="0" eaLnBrk="1" fontAlgn="auto" latinLnBrk="0" hangingPunct="1">
              <a:lnSpc>
                <a:spcPct val="100000"/>
              </a:lnSpc>
              <a:spcBef>
                <a:spcPts val="0"/>
              </a:spcBef>
              <a:spcAft>
                <a:spcPts val="0"/>
              </a:spcAft>
              <a:buClrTx/>
              <a:buSzTx/>
              <a:buFontTx/>
              <a:buNone/>
              <a:tabLst/>
              <a:defRPr/>
            </a:pPr>
            <a:endParaRPr kumimoji="0" lang="en-GB" sz="1589"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3" name="Freeform 17">
            <a:extLst>
              <a:ext uri="{FF2B5EF4-FFF2-40B4-BE49-F238E27FC236}">
                <a16:creationId xmlns:a16="http://schemas.microsoft.com/office/drawing/2014/main" id="{E040BCD6-E503-4836-98C1-82577F90C7CB}"/>
              </a:ext>
            </a:extLst>
          </p:cNvPr>
          <p:cNvSpPr>
            <a:spLocks/>
          </p:cNvSpPr>
          <p:nvPr/>
        </p:nvSpPr>
        <p:spPr bwMode="auto">
          <a:xfrm>
            <a:off x="6296865" y="1856608"/>
            <a:ext cx="197037" cy="470851"/>
          </a:xfrm>
          <a:custGeom>
            <a:avLst/>
            <a:gdLst>
              <a:gd name="T0" fmla="*/ 13344091 w 6132"/>
              <a:gd name="T1" fmla="*/ 10441401 h 16980"/>
              <a:gd name="T2" fmla="*/ 14439013 w 6132"/>
              <a:gd name="T3" fmla="*/ 10808942 h 16980"/>
              <a:gd name="T4" fmla="*/ 15478309 w 6132"/>
              <a:gd name="T5" fmla="*/ 11467619 h 16980"/>
              <a:gd name="T6" fmla="*/ 16450295 w 6132"/>
              <a:gd name="T7" fmla="*/ 12408541 h 16980"/>
              <a:gd name="T8" fmla="*/ 17214401 w 6132"/>
              <a:gd name="T9" fmla="*/ 13481773 h 16980"/>
              <a:gd name="T10" fmla="*/ 17709159 w 6132"/>
              <a:gd name="T11" fmla="*/ 14605004 h 16980"/>
              <a:gd name="T12" fmla="*/ 17937493 w 6132"/>
              <a:gd name="T13" fmla="*/ 15789994 h 16980"/>
              <a:gd name="T14" fmla="*/ 17922884 w 6132"/>
              <a:gd name="T15" fmla="*/ 28795453 h 16980"/>
              <a:gd name="T16" fmla="*/ 17720901 w 6132"/>
              <a:gd name="T17" fmla="*/ 29724608 h 16980"/>
              <a:gd name="T18" fmla="*/ 17322724 w 6132"/>
              <a:gd name="T19" fmla="*/ 30571448 h 16980"/>
              <a:gd name="T20" fmla="*/ 16731329 w 6132"/>
              <a:gd name="T21" fmla="*/ 31344758 h 16980"/>
              <a:gd name="T22" fmla="*/ 15970146 w 6132"/>
              <a:gd name="T23" fmla="*/ 32000508 h 16980"/>
              <a:gd name="T24" fmla="*/ 15062602 w 6132"/>
              <a:gd name="T25" fmla="*/ 32509198 h 16980"/>
              <a:gd name="T26" fmla="*/ 14014483 w 6132"/>
              <a:gd name="T27" fmla="*/ 32867899 h 16980"/>
              <a:gd name="T28" fmla="*/ 4168927 w 6132"/>
              <a:gd name="T29" fmla="*/ 32935519 h 16980"/>
              <a:gd name="T30" fmla="*/ 3003722 w 6132"/>
              <a:gd name="T31" fmla="*/ 32515054 h 16980"/>
              <a:gd name="T32" fmla="*/ 2104943 w 6132"/>
              <a:gd name="T33" fmla="*/ 32053432 h 16980"/>
              <a:gd name="T34" fmla="*/ 1334994 w 6132"/>
              <a:gd name="T35" fmla="*/ 31503585 h 16980"/>
              <a:gd name="T36" fmla="*/ 723146 w 6132"/>
              <a:gd name="T37" fmla="*/ 30883136 h 16980"/>
              <a:gd name="T38" fmla="*/ 295697 w 6132"/>
              <a:gd name="T39" fmla="*/ 30230369 h 16980"/>
              <a:gd name="T40" fmla="*/ 55622 w 6132"/>
              <a:gd name="T41" fmla="*/ 29542302 h 16980"/>
              <a:gd name="T42" fmla="*/ 2922 w 6132"/>
              <a:gd name="T43" fmla="*/ 16034064 h 16980"/>
              <a:gd name="T44" fmla="*/ 166867 w 6132"/>
              <a:gd name="T45" fmla="*/ 14637376 h 16980"/>
              <a:gd name="T46" fmla="*/ 608925 w 6132"/>
              <a:gd name="T47" fmla="*/ 13408297 h 16980"/>
              <a:gd name="T48" fmla="*/ 1326228 w 6132"/>
              <a:gd name="T49" fmla="*/ 12352689 h 16980"/>
              <a:gd name="T50" fmla="*/ 2309902 w 6132"/>
              <a:gd name="T51" fmla="*/ 11479386 h 16980"/>
              <a:gd name="T52" fmla="*/ 3495559 w 6132"/>
              <a:gd name="T53" fmla="*/ 10853081 h 16980"/>
              <a:gd name="T54" fmla="*/ 4889097 w 6132"/>
              <a:gd name="T55" fmla="*/ 10479630 h 16980"/>
              <a:gd name="T56" fmla="*/ 6475906 w 6132"/>
              <a:gd name="T57" fmla="*/ 10356104 h 16980"/>
              <a:gd name="T58" fmla="*/ 6768627 w 6132"/>
              <a:gd name="T59" fmla="*/ 10332625 h 16980"/>
              <a:gd name="T60" fmla="*/ 7661564 w 6132"/>
              <a:gd name="T61" fmla="*/ 10323786 h 16980"/>
              <a:gd name="T62" fmla="*/ 7863602 w 6132"/>
              <a:gd name="T63" fmla="*/ 10085627 h 16980"/>
              <a:gd name="T64" fmla="*/ 7032131 w 6132"/>
              <a:gd name="T65" fmla="*/ 9768029 h 16980"/>
              <a:gd name="T66" fmla="*/ 6197794 w 6132"/>
              <a:gd name="T67" fmla="*/ 9285801 h 16980"/>
              <a:gd name="T68" fmla="*/ 5471726 w 6132"/>
              <a:gd name="T69" fmla="*/ 8674191 h 16980"/>
              <a:gd name="T70" fmla="*/ 4859825 w 6132"/>
              <a:gd name="T71" fmla="*/ 7936181 h 16980"/>
              <a:gd name="T72" fmla="*/ 4409002 w 6132"/>
              <a:gd name="T73" fmla="*/ 7115803 h 16980"/>
              <a:gd name="T74" fmla="*/ 4122070 w 6132"/>
              <a:gd name="T75" fmla="*/ 6242499 h 16980"/>
              <a:gd name="T76" fmla="*/ 4002059 w 6132"/>
              <a:gd name="T77" fmla="*/ 5304506 h 16980"/>
              <a:gd name="T78" fmla="*/ 4069369 w 6132"/>
              <a:gd name="T79" fmla="*/ 4195974 h 16980"/>
              <a:gd name="T80" fmla="*/ 4370910 w 6132"/>
              <a:gd name="T81" fmla="*/ 3140364 h 16980"/>
              <a:gd name="T82" fmla="*/ 4906682 w 6132"/>
              <a:gd name="T83" fmla="*/ 2181765 h 16980"/>
              <a:gd name="T84" fmla="*/ 5679553 w 6132"/>
              <a:gd name="T85" fmla="*/ 1317301 h 16980"/>
              <a:gd name="T86" fmla="*/ 6578332 w 6132"/>
              <a:gd name="T87" fmla="*/ 643928 h 16980"/>
              <a:gd name="T88" fmla="*/ 7576670 w 6132"/>
              <a:gd name="T89" fmla="*/ 208768 h 16980"/>
              <a:gd name="T90" fmla="*/ 8671588 w 6132"/>
              <a:gd name="T91" fmla="*/ 11767 h 16980"/>
              <a:gd name="T92" fmla="*/ 9825105 w 6132"/>
              <a:gd name="T93" fmla="*/ 52924 h 16980"/>
              <a:gd name="T94" fmla="*/ 10893673 w 6132"/>
              <a:gd name="T95" fmla="*/ 326384 h 16980"/>
              <a:gd name="T96" fmla="*/ 11865659 w 6132"/>
              <a:gd name="T97" fmla="*/ 843912 h 16980"/>
              <a:gd name="T98" fmla="*/ 12743931 w 6132"/>
              <a:gd name="T99" fmla="*/ 1593689 h 16980"/>
              <a:gd name="T100" fmla="*/ 13431908 w 6132"/>
              <a:gd name="T101" fmla="*/ 2490525 h 16980"/>
              <a:gd name="T102" fmla="*/ 13891551 w 6132"/>
              <a:gd name="T103" fmla="*/ 3481443 h 16980"/>
              <a:gd name="T104" fmla="*/ 14111119 w 6132"/>
              <a:gd name="T105" fmla="*/ 4572353 h 16980"/>
              <a:gd name="T106" fmla="*/ 14105275 w 6132"/>
              <a:gd name="T107" fmla="*/ 5636746 h 16980"/>
              <a:gd name="T108" fmla="*/ 13912057 w 6132"/>
              <a:gd name="T109" fmla="*/ 6586506 h 16980"/>
              <a:gd name="T110" fmla="*/ 13537309 w 6132"/>
              <a:gd name="T111" fmla="*/ 7471577 h 16980"/>
              <a:gd name="T112" fmla="*/ 12972265 w 6132"/>
              <a:gd name="T113" fmla="*/ 8303722 h 16980"/>
              <a:gd name="T114" fmla="*/ 12272601 w 6132"/>
              <a:gd name="T115" fmla="*/ 9015324 h 16980"/>
              <a:gd name="T116" fmla="*/ 11473326 w 6132"/>
              <a:gd name="T117" fmla="*/ 9562188 h 16980"/>
              <a:gd name="T118" fmla="*/ 10571626 w 6132"/>
              <a:gd name="T119" fmla="*/ 9941550 h 16980"/>
              <a:gd name="T120" fmla="*/ 10147098 w 6132"/>
              <a:gd name="T121" fmla="*/ 10232633 h 1698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6132"/>
              <a:gd name="T184" fmla="*/ 0 h 16980"/>
              <a:gd name="T185" fmla="*/ 6132 w 6132"/>
              <a:gd name="T186" fmla="*/ 16980 h 16980"/>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6132" h="16980">
                <a:moveTo>
                  <a:pt x="3480" y="3522"/>
                </a:moveTo>
                <a:lnTo>
                  <a:pt x="4254" y="3522"/>
                </a:lnTo>
                <a:lnTo>
                  <a:pt x="4298" y="3522"/>
                </a:lnTo>
                <a:lnTo>
                  <a:pt x="4342" y="3524"/>
                </a:lnTo>
                <a:lnTo>
                  <a:pt x="4386" y="3527"/>
                </a:lnTo>
                <a:lnTo>
                  <a:pt x="4429" y="3531"/>
                </a:lnTo>
                <a:lnTo>
                  <a:pt x="4473" y="3536"/>
                </a:lnTo>
                <a:lnTo>
                  <a:pt x="4515" y="3543"/>
                </a:lnTo>
                <a:lnTo>
                  <a:pt x="4558" y="3551"/>
                </a:lnTo>
                <a:lnTo>
                  <a:pt x="4601" y="3560"/>
                </a:lnTo>
                <a:lnTo>
                  <a:pt x="4643" y="3570"/>
                </a:lnTo>
                <a:lnTo>
                  <a:pt x="4685" y="3582"/>
                </a:lnTo>
                <a:lnTo>
                  <a:pt x="4727" y="3595"/>
                </a:lnTo>
                <a:lnTo>
                  <a:pt x="4769" y="3609"/>
                </a:lnTo>
                <a:lnTo>
                  <a:pt x="4809" y="3624"/>
                </a:lnTo>
                <a:lnTo>
                  <a:pt x="4851" y="3640"/>
                </a:lnTo>
                <a:lnTo>
                  <a:pt x="4892" y="3658"/>
                </a:lnTo>
                <a:lnTo>
                  <a:pt x="4932" y="3676"/>
                </a:lnTo>
                <a:lnTo>
                  <a:pt x="4973" y="3696"/>
                </a:lnTo>
                <a:lnTo>
                  <a:pt x="5013" y="3717"/>
                </a:lnTo>
                <a:lnTo>
                  <a:pt x="5052" y="3739"/>
                </a:lnTo>
                <a:lnTo>
                  <a:pt x="5093" y="3763"/>
                </a:lnTo>
                <a:lnTo>
                  <a:pt x="5132" y="3788"/>
                </a:lnTo>
                <a:lnTo>
                  <a:pt x="5171" y="3814"/>
                </a:lnTo>
                <a:lnTo>
                  <a:pt x="5210" y="3842"/>
                </a:lnTo>
                <a:lnTo>
                  <a:pt x="5249" y="3870"/>
                </a:lnTo>
                <a:lnTo>
                  <a:pt x="5287" y="3900"/>
                </a:lnTo>
                <a:lnTo>
                  <a:pt x="5325" y="3931"/>
                </a:lnTo>
                <a:lnTo>
                  <a:pt x="5364" y="3963"/>
                </a:lnTo>
                <a:lnTo>
                  <a:pt x="5401" y="3997"/>
                </a:lnTo>
                <a:lnTo>
                  <a:pt x="5438" y="4031"/>
                </a:lnTo>
                <a:lnTo>
                  <a:pt x="5475" y="4067"/>
                </a:lnTo>
                <a:lnTo>
                  <a:pt x="5512" y="4104"/>
                </a:lnTo>
                <a:lnTo>
                  <a:pt x="5549" y="4142"/>
                </a:lnTo>
                <a:lnTo>
                  <a:pt x="5584" y="4181"/>
                </a:lnTo>
                <a:lnTo>
                  <a:pt x="5619" y="4220"/>
                </a:lnTo>
                <a:lnTo>
                  <a:pt x="5652" y="4260"/>
                </a:lnTo>
                <a:lnTo>
                  <a:pt x="5685" y="4300"/>
                </a:lnTo>
                <a:lnTo>
                  <a:pt x="5716" y="4339"/>
                </a:lnTo>
                <a:lnTo>
                  <a:pt x="5747" y="4379"/>
                </a:lnTo>
                <a:lnTo>
                  <a:pt x="5775" y="4420"/>
                </a:lnTo>
                <a:lnTo>
                  <a:pt x="5803" y="4460"/>
                </a:lnTo>
                <a:lnTo>
                  <a:pt x="5830" y="4502"/>
                </a:lnTo>
                <a:lnTo>
                  <a:pt x="5855" y="4543"/>
                </a:lnTo>
                <a:lnTo>
                  <a:pt x="5880" y="4585"/>
                </a:lnTo>
                <a:lnTo>
                  <a:pt x="5904" y="4626"/>
                </a:lnTo>
                <a:lnTo>
                  <a:pt x="5925" y="4667"/>
                </a:lnTo>
                <a:lnTo>
                  <a:pt x="5946" y="4710"/>
                </a:lnTo>
                <a:lnTo>
                  <a:pt x="5967" y="4752"/>
                </a:lnTo>
                <a:lnTo>
                  <a:pt x="5986" y="4795"/>
                </a:lnTo>
                <a:lnTo>
                  <a:pt x="6004" y="4838"/>
                </a:lnTo>
                <a:lnTo>
                  <a:pt x="6020" y="4880"/>
                </a:lnTo>
                <a:lnTo>
                  <a:pt x="6036" y="4924"/>
                </a:lnTo>
                <a:lnTo>
                  <a:pt x="6049" y="4967"/>
                </a:lnTo>
                <a:lnTo>
                  <a:pt x="6063" y="5011"/>
                </a:lnTo>
                <a:lnTo>
                  <a:pt x="6075" y="5055"/>
                </a:lnTo>
                <a:lnTo>
                  <a:pt x="6085" y="5100"/>
                </a:lnTo>
                <a:lnTo>
                  <a:pt x="6095" y="5144"/>
                </a:lnTo>
                <a:lnTo>
                  <a:pt x="6104" y="5189"/>
                </a:lnTo>
                <a:lnTo>
                  <a:pt x="6111" y="5234"/>
                </a:lnTo>
                <a:lnTo>
                  <a:pt x="6117" y="5280"/>
                </a:lnTo>
                <a:lnTo>
                  <a:pt x="6123" y="5324"/>
                </a:lnTo>
                <a:lnTo>
                  <a:pt x="6127" y="5370"/>
                </a:lnTo>
                <a:lnTo>
                  <a:pt x="6130" y="5417"/>
                </a:lnTo>
                <a:lnTo>
                  <a:pt x="6131" y="5463"/>
                </a:lnTo>
                <a:lnTo>
                  <a:pt x="6132" y="5509"/>
                </a:lnTo>
                <a:lnTo>
                  <a:pt x="6132" y="9605"/>
                </a:lnTo>
                <a:lnTo>
                  <a:pt x="6132" y="9643"/>
                </a:lnTo>
                <a:lnTo>
                  <a:pt x="6130" y="9682"/>
                </a:lnTo>
                <a:lnTo>
                  <a:pt x="6129" y="9719"/>
                </a:lnTo>
                <a:lnTo>
                  <a:pt x="6126" y="9756"/>
                </a:lnTo>
                <a:lnTo>
                  <a:pt x="6122" y="9793"/>
                </a:lnTo>
                <a:lnTo>
                  <a:pt x="6117" y="9829"/>
                </a:lnTo>
                <a:lnTo>
                  <a:pt x="6112" y="9866"/>
                </a:lnTo>
                <a:lnTo>
                  <a:pt x="6107" y="9901"/>
                </a:lnTo>
                <a:lnTo>
                  <a:pt x="6099" y="9937"/>
                </a:lnTo>
                <a:lnTo>
                  <a:pt x="6092" y="9972"/>
                </a:lnTo>
                <a:lnTo>
                  <a:pt x="6083" y="10007"/>
                </a:lnTo>
                <a:lnTo>
                  <a:pt x="6074" y="10041"/>
                </a:lnTo>
                <a:lnTo>
                  <a:pt x="6063" y="10075"/>
                </a:lnTo>
                <a:lnTo>
                  <a:pt x="6053" y="10109"/>
                </a:lnTo>
                <a:lnTo>
                  <a:pt x="6041" y="10142"/>
                </a:lnTo>
                <a:lnTo>
                  <a:pt x="6028" y="10175"/>
                </a:lnTo>
                <a:lnTo>
                  <a:pt x="6014" y="10208"/>
                </a:lnTo>
                <a:lnTo>
                  <a:pt x="6001" y="10241"/>
                </a:lnTo>
                <a:lnTo>
                  <a:pt x="5986" y="10273"/>
                </a:lnTo>
                <a:lnTo>
                  <a:pt x="5970" y="10305"/>
                </a:lnTo>
                <a:lnTo>
                  <a:pt x="5953" y="10335"/>
                </a:lnTo>
                <a:lnTo>
                  <a:pt x="5935" y="10366"/>
                </a:lnTo>
                <a:lnTo>
                  <a:pt x="5917" y="10397"/>
                </a:lnTo>
                <a:lnTo>
                  <a:pt x="5898" y="10428"/>
                </a:lnTo>
                <a:lnTo>
                  <a:pt x="5877" y="10458"/>
                </a:lnTo>
                <a:lnTo>
                  <a:pt x="5857" y="10487"/>
                </a:lnTo>
                <a:lnTo>
                  <a:pt x="5835" y="10517"/>
                </a:lnTo>
                <a:lnTo>
                  <a:pt x="5813" y="10546"/>
                </a:lnTo>
                <a:lnTo>
                  <a:pt x="5789" y="10575"/>
                </a:lnTo>
                <a:lnTo>
                  <a:pt x="5766" y="10603"/>
                </a:lnTo>
                <a:lnTo>
                  <a:pt x="5740" y="10632"/>
                </a:lnTo>
                <a:lnTo>
                  <a:pt x="5715" y="10660"/>
                </a:lnTo>
                <a:lnTo>
                  <a:pt x="5688" y="10687"/>
                </a:lnTo>
                <a:lnTo>
                  <a:pt x="5661" y="10714"/>
                </a:lnTo>
                <a:lnTo>
                  <a:pt x="5633" y="10739"/>
                </a:lnTo>
                <a:lnTo>
                  <a:pt x="5606" y="10765"/>
                </a:lnTo>
                <a:lnTo>
                  <a:pt x="5576" y="10790"/>
                </a:lnTo>
                <a:lnTo>
                  <a:pt x="5546" y="10814"/>
                </a:lnTo>
                <a:lnTo>
                  <a:pt x="5516" y="10838"/>
                </a:lnTo>
                <a:lnTo>
                  <a:pt x="5486" y="10860"/>
                </a:lnTo>
                <a:lnTo>
                  <a:pt x="5455" y="10883"/>
                </a:lnTo>
                <a:lnTo>
                  <a:pt x="5422" y="10905"/>
                </a:lnTo>
                <a:lnTo>
                  <a:pt x="5390" y="10925"/>
                </a:lnTo>
                <a:lnTo>
                  <a:pt x="5357" y="10947"/>
                </a:lnTo>
                <a:lnTo>
                  <a:pt x="5323" y="10966"/>
                </a:lnTo>
                <a:lnTo>
                  <a:pt x="5288" y="10985"/>
                </a:lnTo>
                <a:lnTo>
                  <a:pt x="5253" y="11004"/>
                </a:lnTo>
                <a:lnTo>
                  <a:pt x="5218" y="11022"/>
                </a:lnTo>
                <a:lnTo>
                  <a:pt x="5182" y="11039"/>
                </a:lnTo>
                <a:lnTo>
                  <a:pt x="5145" y="11056"/>
                </a:lnTo>
                <a:lnTo>
                  <a:pt x="5108" y="11072"/>
                </a:lnTo>
                <a:lnTo>
                  <a:pt x="5069" y="11087"/>
                </a:lnTo>
                <a:lnTo>
                  <a:pt x="5031" y="11102"/>
                </a:lnTo>
                <a:lnTo>
                  <a:pt x="4992" y="11117"/>
                </a:lnTo>
                <a:lnTo>
                  <a:pt x="4952" y="11130"/>
                </a:lnTo>
                <a:lnTo>
                  <a:pt x="4911" y="11143"/>
                </a:lnTo>
                <a:lnTo>
                  <a:pt x="4871" y="11155"/>
                </a:lnTo>
                <a:lnTo>
                  <a:pt x="4828" y="11167"/>
                </a:lnTo>
                <a:lnTo>
                  <a:pt x="4787" y="11178"/>
                </a:lnTo>
                <a:lnTo>
                  <a:pt x="4743" y="11189"/>
                </a:lnTo>
                <a:lnTo>
                  <a:pt x="4701" y="11199"/>
                </a:lnTo>
                <a:lnTo>
                  <a:pt x="4656" y="11208"/>
                </a:lnTo>
                <a:lnTo>
                  <a:pt x="4612" y="11217"/>
                </a:lnTo>
                <a:lnTo>
                  <a:pt x="4567" y="11225"/>
                </a:lnTo>
                <a:lnTo>
                  <a:pt x="4567" y="16980"/>
                </a:lnTo>
                <a:lnTo>
                  <a:pt x="1510" y="16980"/>
                </a:lnTo>
                <a:lnTo>
                  <a:pt x="1510" y="11225"/>
                </a:lnTo>
                <a:lnTo>
                  <a:pt x="1424" y="11201"/>
                </a:lnTo>
                <a:lnTo>
                  <a:pt x="1340" y="11175"/>
                </a:lnTo>
                <a:lnTo>
                  <a:pt x="1298" y="11161"/>
                </a:lnTo>
                <a:lnTo>
                  <a:pt x="1258" y="11148"/>
                </a:lnTo>
                <a:lnTo>
                  <a:pt x="1218" y="11134"/>
                </a:lnTo>
                <a:lnTo>
                  <a:pt x="1178" y="11120"/>
                </a:lnTo>
                <a:lnTo>
                  <a:pt x="1139" y="11105"/>
                </a:lnTo>
                <a:lnTo>
                  <a:pt x="1101" y="11089"/>
                </a:lnTo>
                <a:lnTo>
                  <a:pt x="1064" y="11074"/>
                </a:lnTo>
                <a:lnTo>
                  <a:pt x="1026" y="11058"/>
                </a:lnTo>
                <a:lnTo>
                  <a:pt x="990" y="11042"/>
                </a:lnTo>
                <a:lnTo>
                  <a:pt x="954" y="11025"/>
                </a:lnTo>
                <a:lnTo>
                  <a:pt x="918" y="11009"/>
                </a:lnTo>
                <a:lnTo>
                  <a:pt x="884" y="10991"/>
                </a:lnTo>
                <a:lnTo>
                  <a:pt x="849" y="10974"/>
                </a:lnTo>
                <a:lnTo>
                  <a:pt x="816" y="10956"/>
                </a:lnTo>
                <a:lnTo>
                  <a:pt x="782" y="10938"/>
                </a:lnTo>
                <a:lnTo>
                  <a:pt x="750" y="10920"/>
                </a:lnTo>
                <a:lnTo>
                  <a:pt x="719" y="10901"/>
                </a:lnTo>
                <a:lnTo>
                  <a:pt x="687" y="10882"/>
                </a:lnTo>
                <a:lnTo>
                  <a:pt x="656" y="10862"/>
                </a:lnTo>
                <a:lnTo>
                  <a:pt x="626" y="10841"/>
                </a:lnTo>
                <a:lnTo>
                  <a:pt x="596" y="10821"/>
                </a:lnTo>
                <a:lnTo>
                  <a:pt x="567" y="10801"/>
                </a:lnTo>
                <a:lnTo>
                  <a:pt x="539" y="10780"/>
                </a:lnTo>
                <a:lnTo>
                  <a:pt x="510" y="10758"/>
                </a:lnTo>
                <a:lnTo>
                  <a:pt x="484" y="10736"/>
                </a:lnTo>
                <a:lnTo>
                  <a:pt x="456" y="10714"/>
                </a:lnTo>
                <a:lnTo>
                  <a:pt x="431" y="10691"/>
                </a:lnTo>
                <a:lnTo>
                  <a:pt x="405" y="10668"/>
                </a:lnTo>
                <a:lnTo>
                  <a:pt x="380" y="10646"/>
                </a:lnTo>
                <a:lnTo>
                  <a:pt x="355" y="10622"/>
                </a:lnTo>
                <a:lnTo>
                  <a:pt x="332" y="10599"/>
                </a:lnTo>
                <a:lnTo>
                  <a:pt x="310" y="10576"/>
                </a:lnTo>
                <a:lnTo>
                  <a:pt x="289" y="10551"/>
                </a:lnTo>
                <a:lnTo>
                  <a:pt x="267" y="10528"/>
                </a:lnTo>
                <a:lnTo>
                  <a:pt x="247" y="10503"/>
                </a:lnTo>
                <a:lnTo>
                  <a:pt x="228" y="10480"/>
                </a:lnTo>
                <a:lnTo>
                  <a:pt x="209" y="10455"/>
                </a:lnTo>
                <a:lnTo>
                  <a:pt x="191" y="10431"/>
                </a:lnTo>
                <a:lnTo>
                  <a:pt x="174" y="10407"/>
                </a:lnTo>
                <a:lnTo>
                  <a:pt x="158" y="10382"/>
                </a:lnTo>
                <a:lnTo>
                  <a:pt x="142" y="10357"/>
                </a:lnTo>
                <a:lnTo>
                  <a:pt x="128" y="10332"/>
                </a:lnTo>
                <a:lnTo>
                  <a:pt x="114" y="10307"/>
                </a:lnTo>
                <a:lnTo>
                  <a:pt x="101" y="10281"/>
                </a:lnTo>
                <a:lnTo>
                  <a:pt x="89" y="10256"/>
                </a:lnTo>
                <a:lnTo>
                  <a:pt x="77" y="10230"/>
                </a:lnTo>
                <a:lnTo>
                  <a:pt x="67" y="10205"/>
                </a:lnTo>
                <a:lnTo>
                  <a:pt x="57" y="10179"/>
                </a:lnTo>
                <a:lnTo>
                  <a:pt x="48" y="10153"/>
                </a:lnTo>
                <a:lnTo>
                  <a:pt x="39" y="10127"/>
                </a:lnTo>
                <a:lnTo>
                  <a:pt x="32" y="10100"/>
                </a:lnTo>
                <a:lnTo>
                  <a:pt x="25" y="10074"/>
                </a:lnTo>
                <a:lnTo>
                  <a:pt x="19" y="10047"/>
                </a:lnTo>
                <a:lnTo>
                  <a:pt x="14" y="10021"/>
                </a:lnTo>
                <a:lnTo>
                  <a:pt x="9" y="9994"/>
                </a:lnTo>
                <a:lnTo>
                  <a:pt x="6" y="9967"/>
                </a:lnTo>
                <a:lnTo>
                  <a:pt x="3" y="9940"/>
                </a:lnTo>
                <a:lnTo>
                  <a:pt x="1" y="9912"/>
                </a:lnTo>
                <a:lnTo>
                  <a:pt x="0" y="9885"/>
                </a:lnTo>
                <a:lnTo>
                  <a:pt x="0" y="9857"/>
                </a:lnTo>
                <a:lnTo>
                  <a:pt x="0" y="5509"/>
                </a:lnTo>
                <a:lnTo>
                  <a:pt x="1" y="5453"/>
                </a:lnTo>
                <a:lnTo>
                  <a:pt x="2" y="5398"/>
                </a:lnTo>
                <a:lnTo>
                  <a:pt x="5" y="5342"/>
                </a:lnTo>
                <a:lnTo>
                  <a:pt x="9" y="5288"/>
                </a:lnTo>
                <a:lnTo>
                  <a:pt x="15" y="5235"/>
                </a:lnTo>
                <a:lnTo>
                  <a:pt x="21" y="5182"/>
                </a:lnTo>
                <a:lnTo>
                  <a:pt x="28" y="5130"/>
                </a:lnTo>
                <a:lnTo>
                  <a:pt x="37" y="5079"/>
                </a:lnTo>
                <a:lnTo>
                  <a:pt x="47" y="5028"/>
                </a:lnTo>
                <a:lnTo>
                  <a:pt x="57" y="4978"/>
                </a:lnTo>
                <a:lnTo>
                  <a:pt x="70" y="4929"/>
                </a:lnTo>
                <a:lnTo>
                  <a:pt x="83" y="4880"/>
                </a:lnTo>
                <a:lnTo>
                  <a:pt x="97" y="4832"/>
                </a:lnTo>
                <a:lnTo>
                  <a:pt x="112" y="4785"/>
                </a:lnTo>
                <a:lnTo>
                  <a:pt x="129" y="4739"/>
                </a:lnTo>
                <a:lnTo>
                  <a:pt x="147" y="4693"/>
                </a:lnTo>
                <a:lnTo>
                  <a:pt x="166" y="4648"/>
                </a:lnTo>
                <a:lnTo>
                  <a:pt x="187" y="4604"/>
                </a:lnTo>
                <a:lnTo>
                  <a:pt x="208" y="4560"/>
                </a:lnTo>
                <a:lnTo>
                  <a:pt x="230" y="4518"/>
                </a:lnTo>
                <a:lnTo>
                  <a:pt x="255" y="4476"/>
                </a:lnTo>
                <a:lnTo>
                  <a:pt x="279" y="4435"/>
                </a:lnTo>
                <a:lnTo>
                  <a:pt x="306" y="4393"/>
                </a:lnTo>
                <a:lnTo>
                  <a:pt x="332" y="4354"/>
                </a:lnTo>
                <a:lnTo>
                  <a:pt x="361" y="4315"/>
                </a:lnTo>
                <a:lnTo>
                  <a:pt x="391" y="4275"/>
                </a:lnTo>
                <a:lnTo>
                  <a:pt x="421" y="4238"/>
                </a:lnTo>
                <a:lnTo>
                  <a:pt x="453" y="4201"/>
                </a:lnTo>
                <a:lnTo>
                  <a:pt x="486" y="4165"/>
                </a:lnTo>
                <a:lnTo>
                  <a:pt x="520" y="4129"/>
                </a:lnTo>
                <a:lnTo>
                  <a:pt x="556" y="4093"/>
                </a:lnTo>
                <a:lnTo>
                  <a:pt x="592" y="4059"/>
                </a:lnTo>
                <a:lnTo>
                  <a:pt x="629" y="4025"/>
                </a:lnTo>
                <a:lnTo>
                  <a:pt x="668" y="3994"/>
                </a:lnTo>
                <a:lnTo>
                  <a:pt x="707" y="3963"/>
                </a:lnTo>
                <a:lnTo>
                  <a:pt x="747" y="3933"/>
                </a:lnTo>
                <a:lnTo>
                  <a:pt x="789" y="3904"/>
                </a:lnTo>
                <a:lnTo>
                  <a:pt x="830" y="3876"/>
                </a:lnTo>
                <a:lnTo>
                  <a:pt x="873" y="3849"/>
                </a:lnTo>
                <a:lnTo>
                  <a:pt x="916" y="3823"/>
                </a:lnTo>
                <a:lnTo>
                  <a:pt x="961" y="3799"/>
                </a:lnTo>
                <a:lnTo>
                  <a:pt x="1005" y="3775"/>
                </a:lnTo>
                <a:lnTo>
                  <a:pt x="1052" y="3752"/>
                </a:lnTo>
                <a:lnTo>
                  <a:pt x="1099" y="3731"/>
                </a:lnTo>
                <a:lnTo>
                  <a:pt x="1146" y="3711"/>
                </a:lnTo>
                <a:lnTo>
                  <a:pt x="1194" y="3691"/>
                </a:lnTo>
                <a:lnTo>
                  <a:pt x="1244" y="3672"/>
                </a:lnTo>
                <a:lnTo>
                  <a:pt x="1294" y="3655"/>
                </a:lnTo>
                <a:lnTo>
                  <a:pt x="1345" y="3640"/>
                </a:lnTo>
                <a:lnTo>
                  <a:pt x="1397" y="3624"/>
                </a:lnTo>
                <a:lnTo>
                  <a:pt x="1450" y="3610"/>
                </a:lnTo>
                <a:lnTo>
                  <a:pt x="1503" y="3597"/>
                </a:lnTo>
                <a:lnTo>
                  <a:pt x="1558" y="3584"/>
                </a:lnTo>
                <a:lnTo>
                  <a:pt x="1614" y="3574"/>
                </a:lnTo>
                <a:lnTo>
                  <a:pt x="1670" y="3564"/>
                </a:lnTo>
                <a:lnTo>
                  <a:pt x="1726" y="3554"/>
                </a:lnTo>
                <a:lnTo>
                  <a:pt x="1785" y="3547"/>
                </a:lnTo>
                <a:lnTo>
                  <a:pt x="1843" y="3540"/>
                </a:lnTo>
                <a:lnTo>
                  <a:pt x="1902" y="3534"/>
                </a:lnTo>
                <a:lnTo>
                  <a:pt x="1963" y="3530"/>
                </a:lnTo>
                <a:lnTo>
                  <a:pt x="2024" y="3526"/>
                </a:lnTo>
                <a:lnTo>
                  <a:pt x="2086" y="3524"/>
                </a:lnTo>
                <a:lnTo>
                  <a:pt x="2149" y="3522"/>
                </a:lnTo>
                <a:lnTo>
                  <a:pt x="2212" y="3522"/>
                </a:lnTo>
                <a:lnTo>
                  <a:pt x="2218" y="3517"/>
                </a:lnTo>
                <a:lnTo>
                  <a:pt x="2224" y="3514"/>
                </a:lnTo>
                <a:lnTo>
                  <a:pt x="2230" y="3513"/>
                </a:lnTo>
                <a:lnTo>
                  <a:pt x="2237" y="3512"/>
                </a:lnTo>
                <a:lnTo>
                  <a:pt x="2243" y="3512"/>
                </a:lnTo>
                <a:lnTo>
                  <a:pt x="2251" y="3512"/>
                </a:lnTo>
                <a:lnTo>
                  <a:pt x="2261" y="3512"/>
                </a:lnTo>
                <a:lnTo>
                  <a:pt x="2274" y="3512"/>
                </a:lnTo>
                <a:lnTo>
                  <a:pt x="2312" y="3514"/>
                </a:lnTo>
                <a:lnTo>
                  <a:pt x="2353" y="3516"/>
                </a:lnTo>
                <a:lnTo>
                  <a:pt x="2393" y="3517"/>
                </a:lnTo>
                <a:lnTo>
                  <a:pt x="2435" y="3519"/>
                </a:lnTo>
                <a:lnTo>
                  <a:pt x="2479" y="3520"/>
                </a:lnTo>
                <a:lnTo>
                  <a:pt x="2522" y="3520"/>
                </a:lnTo>
                <a:lnTo>
                  <a:pt x="2568" y="3522"/>
                </a:lnTo>
                <a:lnTo>
                  <a:pt x="2615" y="3522"/>
                </a:lnTo>
                <a:lnTo>
                  <a:pt x="2616" y="3516"/>
                </a:lnTo>
                <a:lnTo>
                  <a:pt x="2617" y="3511"/>
                </a:lnTo>
                <a:lnTo>
                  <a:pt x="2620" y="3505"/>
                </a:lnTo>
                <a:lnTo>
                  <a:pt x="2623" y="3498"/>
                </a:lnTo>
                <a:lnTo>
                  <a:pt x="2634" y="3483"/>
                </a:lnTo>
                <a:lnTo>
                  <a:pt x="2649" y="3466"/>
                </a:lnTo>
                <a:lnTo>
                  <a:pt x="2663" y="3450"/>
                </a:lnTo>
                <a:lnTo>
                  <a:pt x="2674" y="3439"/>
                </a:lnTo>
                <a:lnTo>
                  <a:pt x="2678" y="3434"/>
                </a:lnTo>
                <a:lnTo>
                  <a:pt x="2683" y="3431"/>
                </a:lnTo>
                <a:lnTo>
                  <a:pt x="2686" y="3430"/>
                </a:lnTo>
                <a:lnTo>
                  <a:pt x="2688" y="3429"/>
                </a:lnTo>
                <a:lnTo>
                  <a:pt x="2651" y="3417"/>
                </a:lnTo>
                <a:lnTo>
                  <a:pt x="2614" y="3406"/>
                </a:lnTo>
                <a:lnTo>
                  <a:pt x="2578" y="3393"/>
                </a:lnTo>
                <a:lnTo>
                  <a:pt x="2542" y="3380"/>
                </a:lnTo>
                <a:lnTo>
                  <a:pt x="2506" y="3366"/>
                </a:lnTo>
                <a:lnTo>
                  <a:pt x="2471" y="3351"/>
                </a:lnTo>
                <a:lnTo>
                  <a:pt x="2436" y="3337"/>
                </a:lnTo>
                <a:lnTo>
                  <a:pt x="2402" y="3322"/>
                </a:lnTo>
                <a:lnTo>
                  <a:pt x="2368" y="3306"/>
                </a:lnTo>
                <a:lnTo>
                  <a:pt x="2336" y="3289"/>
                </a:lnTo>
                <a:lnTo>
                  <a:pt x="2303" y="3272"/>
                </a:lnTo>
                <a:lnTo>
                  <a:pt x="2271" y="3255"/>
                </a:lnTo>
                <a:lnTo>
                  <a:pt x="2239" y="3237"/>
                </a:lnTo>
                <a:lnTo>
                  <a:pt x="2208" y="3218"/>
                </a:lnTo>
                <a:lnTo>
                  <a:pt x="2177" y="3198"/>
                </a:lnTo>
                <a:lnTo>
                  <a:pt x="2147" y="3178"/>
                </a:lnTo>
                <a:lnTo>
                  <a:pt x="2117" y="3158"/>
                </a:lnTo>
                <a:lnTo>
                  <a:pt x="2087" y="3137"/>
                </a:lnTo>
                <a:lnTo>
                  <a:pt x="2058" y="3115"/>
                </a:lnTo>
                <a:lnTo>
                  <a:pt x="2030" y="3093"/>
                </a:lnTo>
                <a:lnTo>
                  <a:pt x="2002" y="3071"/>
                </a:lnTo>
                <a:lnTo>
                  <a:pt x="1975" y="3047"/>
                </a:lnTo>
                <a:lnTo>
                  <a:pt x="1948" y="3024"/>
                </a:lnTo>
                <a:lnTo>
                  <a:pt x="1921" y="3000"/>
                </a:lnTo>
                <a:lnTo>
                  <a:pt x="1895" y="2975"/>
                </a:lnTo>
                <a:lnTo>
                  <a:pt x="1869" y="2950"/>
                </a:lnTo>
                <a:lnTo>
                  <a:pt x="1844" y="2924"/>
                </a:lnTo>
                <a:lnTo>
                  <a:pt x="1820" y="2898"/>
                </a:lnTo>
                <a:lnTo>
                  <a:pt x="1795" y="2871"/>
                </a:lnTo>
                <a:lnTo>
                  <a:pt x="1771" y="2843"/>
                </a:lnTo>
                <a:lnTo>
                  <a:pt x="1747" y="2816"/>
                </a:lnTo>
                <a:lnTo>
                  <a:pt x="1725" y="2787"/>
                </a:lnTo>
                <a:lnTo>
                  <a:pt x="1703" y="2757"/>
                </a:lnTo>
                <a:lnTo>
                  <a:pt x="1682" y="2729"/>
                </a:lnTo>
                <a:lnTo>
                  <a:pt x="1660" y="2699"/>
                </a:lnTo>
                <a:lnTo>
                  <a:pt x="1640" y="2669"/>
                </a:lnTo>
                <a:lnTo>
                  <a:pt x="1621" y="2638"/>
                </a:lnTo>
                <a:lnTo>
                  <a:pt x="1603" y="2608"/>
                </a:lnTo>
                <a:lnTo>
                  <a:pt x="1585" y="2578"/>
                </a:lnTo>
                <a:lnTo>
                  <a:pt x="1568" y="2547"/>
                </a:lnTo>
                <a:lnTo>
                  <a:pt x="1551" y="2516"/>
                </a:lnTo>
                <a:lnTo>
                  <a:pt x="1535" y="2484"/>
                </a:lnTo>
                <a:lnTo>
                  <a:pt x="1520" y="2452"/>
                </a:lnTo>
                <a:lnTo>
                  <a:pt x="1506" y="2420"/>
                </a:lnTo>
                <a:lnTo>
                  <a:pt x="1493" y="2388"/>
                </a:lnTo>
                <a:lnTo>
                  <a:pt x="1479" y="2356"/>
                </a:lnTo>
                <a:lnTo>
                  <a:pt x="1467" y="2324"/>
                </a:lnTo>
                <a:lnTo>
                  <a:pt x="1455" y="2291"/>
                </a:lnTo>
                <a:lnTo>
                  <a:pt x="1445" y="2258"/>
                </a:lnTo>
                <a:lnTo>
                  <a:pt x="1434" y="2225"/>
                </a:lnTo>
                <a:lnTo>
                  <a:pt x="1425" y="2191"/>
                </a:lnTo>
                <a:lnTo>
                  <a:pt x="1416" y="2157"/>
                </a:lnTo>
                <a:lnTo>
                  <a:pt x="1408" y="2123"/>
                </a:lnTo>
                <a:lnTo>
                  <a:pt x="1400" y="2089"/>
                </a:lnTo>
                <a:lnTo>
                  <a:pt x="1394" y="2054"/>
                </a:lnTo>
                <a:lnTo>
                  <a:pt x="1389" y="2018"/>
                </a:lnTo>
                <a:lnTo>
                  <a:pt x="1383" y="1983"/>
                </a:lnTo>
                <a:lnTo>
                  <a:pt x="1378" y="1948"/>
                </a:lnTo>
                <a:lnTo>
                  <a:pt x="1375" y="1912"/>
                </a:lnTo>
                <a:lnTo>
                  <a:pt x="1372" y="1876"/>
                </a:lnTo>
                <a:lnTo>
                  <a:pt x="1368" y="1840"/>
                </a:lnTo>
                <a:lnTo>
                  <a:pt x="1367" y="1804"/>
                </a:lnTo>
                <a:lnTo>
                  <a:pt x="1366" y="1767"/>
                </a:lnTo>
                <a:lnTo>
                  <a:pt x="1365" y="1729"/>
                </a:lnTo>
                <a:lnTo>
                  <a:pt x="1366" y="1686"/>
                </a:lnTo>
                <a:lnTo>
                  <a:pt x="1367" y="1641"/>
                </a:lnTo>
                <a:lnTo>
                  <a:pt x="1370" y="1598"/>
                </a:lnTo>
                <a:lnTo>
                  <a:pt x="1374" y="1555"/>
                </a:lnTo>
                <a:lnTo>
                  <a:pt x="1378" y="1511"/>
                </a:lnTo>
                <a:lnTo>
                  <a:pt x="1383" y="1469"/>
                </a:lnTo>
                <a:lnTo>
                  <a:pt x="1390" y="1427"/>
                </a:lnTo>
                <a:lnTo>
                  <a:pt x="1397" y="1386"/>
                </a:lnTo>
                <a:lnTo>
                  <a:pt x="1405" y="1345"/>
                </a:lnTo>
                <a:lnTo>
                  <a:pt x="1415" y="1304"/>
                </a:lnTo>
                <a:lnTo>
                  <a:pt x="1426" y="1264"/>
                </a:lnTo>
                <a:lnTo>
                  <a:pt x="1437" y="1223"/>
                </a:lnTo>
                <a:lnTo>
                  <a:pt x="1449" y="1184"/>
                </a:lnTo>
                <a:lnTo>
                  <a:pt x="1463" y="1145"/>
                </a:lnTo>
                <a:lnTo>
                  <a:pt x="1477" y="1106"/>
                </a:lnTo>
                <a:lnTo>
                  <a:pt x="1493" y="1068"/>
                </a:lnTo>
                <a:lnTo>
                  <a:pt x="1508" y="1030"/>
                </a:lnTo>
                <a:lnTo>
                  <a:pt x="1527" y="993"/>
                </a:lnTo>
                <a:lnTo>
                  <a:pt x="1545" y="955"/>
                </a:lnTo>
                <a:lnTo>
                  <a:pt x="1564" y="919"/>
                </a:lnTo>
                <a:lnTo>
                  <a:pt x="1585" y="883"/>
                </a:lnTo>
                <a:lnTo>
                  <a:pt x="1606" y="847"/>
                </a:lnTo>
                <a:lnTo>
                  <a:pt x="1628" y="811"/>
                </a:lnTo>
                <a:lnTo>
                  <a:pt x="1652" y="776"/>
                </a:lnTo>
                <a:lnTo>
                  <a:pt x="1676" y="742"/>
                </a:lnTo>
                <a:lnTo>
                  <a:pt x="1702" y="708"/>
                </a:lnTo>
                <a:lnTo>
                  <a:pt x="1728" y="674"/>
                </a:lnTo>
                <a:lnTo>
                  <a:pt x="1756" y="640"/>
                </a:lnTo>
                <a:lnTo>
                  <a:pt x="1783" y="607"/>
                </a:lnTo>
                <a:lnTo>
                  <a:pt x="1813" y="574"/>
                </a:lnTo>
                <a:lnTo>
                  <a:pt x="1844" y="542"/>
                </a:lnTo>
                <a:lnTo>
                  <a:pt x="1875" y="510"/>
                </a:lnTo>
                <a:lnTo>
                  <a:pt x="1907" y="478"/>
                </a:lnTo>
                <a:lnTo>
                  <a:pt x="1940" y="448"/>
                </a:lnTo>
                <a:lnTo>
                  <a:pt x="1971" y="419"/>
                </a:lnTo>
                <a:lnTo>
                  <a:pt x="2005" y="390"/>
                </a:lnTo>
                <a:lnTo>
                  <a:pt x="2038" y="362"/>
                </a:lnTo>
                <a:lnTo>
                  <a:pt x="2072" y="336"/>
                </a:lnTo>
                <a:lnTo>
                  <a:pt x="2106" y="311"/>
                </a:lnTo>
                <a:lnTo>
                  <a:pt x="2141" y="287"/>
                </a:lnTo>
                <a:lnTo>
                  <a:pt x="2176" y="263"/>
                </a:lnTo>
                <a:lnTo>
                  <a:pt x="2211" y="240"/>
                </a:lnTo>
                <a:lnTo>
                  <a:pt x="2247" y="219"/>
                </a:lnTo>
                <a:lnTo>
                  <a:pt x="2284" y="199"/>
                </a:lnTo>
                <a:lnTo>
                  <a:pt x="2320" y="179"/>
                </a:lnTo>
                <a:lnTo>
                  <a:pt x="2357" y="160"/>
                </a:lnTo>
                <a:lnTo>
                  <a:pt x="2395" y="143"/>
                </a:lnTo>
                <a:lnTo>
                  <a:pt x="2432" y="127"/>
                </a:lnTo>
                <a:lnTo>
                  <a:pt x="2470" y="111"/>
                </a:lnTo>
                <a:lnTo>
                  <a:pt x="2510" y="98"/>
                </a:lnTo>
                <a:lnTo>
                  <a:pt x="2549" y="84"/>
                </a:lnTo>
                <a:lnTo>
                  <a:pt x="2588" y="71"/>
                </a:lnTo>
                <a:lnTo>
                  <a:pt x="2628" y="60"/>
                </a:lnTo>
                <a:lnTo>
                  <a:pt x="2668" y="50"/>
                </a:lnTo>
                <a:lnTo>
                  <a:pt x="2709" y="40"/>
                </a:lnTo>
                <a:lnTo>
                  <a:pt x="2750" y="32"/>
                </a:lnTo>
                <a:lnTo>
                  <a:pt x="2791" y="24"/>
                </a:lnTo>
                <a:lnTo>
                  <a:pt x="2833" y="18"/>
                </a:lnTo>
                <a:lnTo>
                  <a:pt x="2876" y="13"/>
                </a:lnTo>
                <a:lnTo>
                  <a:pt x="2918" y="7"/>
                </a:lnTo>
                <a:lnTo>
                  <a:pt x="2962" y="4"/>
                </a:lnTo>
                <a:lnTo>
                  <a:pt x="3005" y="2"/>
                </a:lnTo>
                <a:lnTo>
                  <a:pt x="3049" y="1"/>
                </a:lnTo>
                <a:lnTo>
                  <a:pt x="3094" y="0"/>
                </a:lnTo>
                <a:lnTo>
                  <a:pt x="3138" y="1"/>
                </a:lnTo>
                <a:lnTo>
                  <a:pt x="3183" y="2"/>
                </a:lnTo>
                <a:lnTo>
                  <a:pt x="3226" y="4"/>
                </a:lnTo>
                <a:lnTo>
                  <a:pt x="3270" y="7"/>
                </a:lnTo>
                <a:lnTo>
                  <a:pt x="3312" y="13"/>
                </a:lnTo>
                <a:lnTo>
                  <a:pt x="3356" y="18"/>
                </a:lnTo>
                <a:lnTo>
                  <a:pt x="3397" y="24"/>
                </a:lnTo>
                <a:lnTo>
                  <a:pt x="3440" y="32"/>
                </a:lnTo>
                <a:lnTo>
                  <a:pt x="3481" y="40"/>
                </a:lnTo>
                <a:lnTo>
                  <a:pt x="3521" y="50"/>
                </a:lnTo>
                <a:lnTo>
                  <a:pt x="3563" y="60"/>
                </a:lnTo>
                <a:lnTo>
                  <a:pt x="3602" y="71"/>
                </a:lnTo>
                <a:lnTo>
                  <a:pt x="3643" y="84"/>
                </a:lnTo>
                <a:lnTo>
                  <a:pt x="3682" y="98"/>
                </a:lnTo>
                <a:lnTo>
                  <a:pt x="3721" y="111"/>
                </a:lnTo>
                <a:lnTo>
                  <a:pt x="3759" y="127"/>
                </a:lnTo>
                <a:lnTo>
                  <a:pt x="3798" y="143"/>
                </a:lnTo>
                <a:lnTo>
                  <a:pt x="3835" y="160"/>
                </a:lnTo>
                <a:lnTo>
                  <a:pt x="3873" y="179"/>
                </a:lnTo>
                <a:lnTo>
                  <a:pt x="3909" y="199"/>
                </a:lnTo>
                <a:lnTo>
                  <a:pt x="3946" y="219"/>
                </a:lnTo>
                <a:lnTo>
                  <a:pt x="3982" y="240"/>
                </a:lnTo>
                <a:lnTo>
                  <a:pt x="4017" y="263"/>
                </a:lnTo>
                <a:lnTo>
                  <a:pt x="4053" y="287"/>
                </a:lnTo>
                <a:lnTo>
                  <a:pt x="4088" y="311"/>
                </a:lnTo>
                <a:lnTo>
                  <a:pt x="4122" y="336"/>
                </a:lnTo>
                <a:lnTo>
                  <a:pt x="4156" y="362"/>
                </a:lnTo>
                <a:lnTo>
                  <a:pt x="4190" y="390"/>
                </a:lnTo>
                <a:lnTo>
                  <a:pt x="4223" y="419"/>
                </a:lnTo>
                <a:lnTo>
                  <a:pt x="4256" y="448"/>
                </a:lnTo>
                <a:lnTo>
                  <a:pt x="4289" y="478"/>
                </a:lnTo>
                <a:lnTo>
                  <a:pt x="4321" y="510"/>
                </a:lnTo>
                <a:lnTo>
                  <a:pt x="4353" y="542"/>
                </a:lnTo>
                <a:lnTo>
                  <a:pt x="4383" y="574"/>
                </a:lnTo>
                <a:lnTo>
                  <a:pt x="4412" y="607"/>
                </a:lnTo>
                <a:lnTo>
                  <a:pt x="4440" y="640"/>
                </a:lnTo>
                <a:lnTo>
                  <a:pt x="4467" y="674"/>
                </a:lnTo>
                <a:lnTo>
                  <a:pt x="4493" y="708"/>
                </a:lnTo>
                <a:lnTo>
                  <a:pt x="4518" y="742"/>
                </a:lnTo>
                <a:lnTo>
                  <a:pt x="4543" y="776"/>
                </a:lnTo>
                <a:lnTo>
                  <a:pt x="4566" y="811"/>
                </a:lnTo>
                <a:lnTo>
                  <a:pt x="4588" y="847"/>
                </a:lnTo>
                <a:lnTo>
                  <a:pt x="4610" y="883"/>
                </a:lnTo>
                <a:lnTo>
                  <a:pt x="4630" y="919"/>
                </a:lnTo>
                <a:lnTo>
                  <a:pt x="4649" y="955"/>
                </a:lnTo>
                <a:lnTo>
                  <a:pt x="4667" y="993"/>
                </a:lnTo>
                <a:lnTo>
                  <a:pt x="4685" y="1030"/>
                </a:lnTo>
                <a:lnTo>
                  <a:pt x="4701" y="1068"/>
                </a:lnTo>
                <a:lnTo>
                  <a:pt x="4716" y="1106"/>
                </a:lnTo>
                <a:lnTo>
                  <a:pt x="4731" y="1145"/>
                </a:lnTo>
                <a:lnTo>
                  <a:pt x="4745" y="1184"/>
                </a:lnTo>
                <a:lnTo>
                  <a:pt x="4756" y="1223"/>
                </a:lnTo>
                <a:lnTo>
                  <a:pt x="4768" y="1264"/>
                </a:lnTo>
                <a:lnTo>
                  <a:pt x="4779" y="1304"/>
                </a:lnTo>
                <a:lnTo>
                  <a:pt x="4788" y="1345"/>
                </a:lnTo>
                <a:lnTo>
                  <a:pt x="4797" y="1386"/>
                </a:lnTo>
                <a:lnTo>
                  <a:pt x="4803" y="1427"/>
                </a:lnTo>
                <a:lnTo>
                  <a:pt x="4810" y="1469"/>
                </a:lnTo>
                <a:lnTo>
                  <a:pt x="4816" y="1511"/>
                </a:lnTo>
                <a:lnTo>
                  <a:pt x="4820" y="1555"/>
                </a:lnTo>
                <a:lnTo>
                  <a:pt x="4823" y="1598"/>
                </a:lnTo>
                <a:lnTo>
                  <a:pt x="4825" y="1641"/>
                </a:lnTo>
                <a:lnTo>
                  <a:pt x="4827" y="1686"/>
                </a:lnTo>
                <a:lnTo>
                  <a:pt x="4827" y="1729"/>
                </a:lnTo>
                <a:lnTo>
                  <a:pt x="4827" y="1768"/>
                </a:lnTo>
                <a:lnTo>
                  <a:pt x="4826" y="1806"/>
                </a:lnTo>
                <a:lnTo>
                  <a:pt x="4824" y="1843"/>
                </a:lnTo>
                <a:lnTo>
                  <a:pt x="4822" y="1880"/>
                </a:lnTo>
                <a:lnTo>
                  <a:pt x="4818" y="1917"/>
                </a:lnTo>
                <a:lnTo>
                  <a:pt x="4814" y="1954"/>
                </a:lnTo>
                <a:lnTo>
                  <a:pt x="4808" y="1990"/>
                </a:lnTo>
                <a:lnTo>
                  <a:pt x="4803" y="2027"/>
                </a:lnTo>
                <a:lnTo>
                  <a:pt x="4797" y="2062"/>
                </a:lnTo>
                <a:lnTo>
                  <a:pt x="4789" y="2098"/>
                </a:lnTo>
                <a:lnTo>
                  <a:pt x="4781" y="2134"/>
                </a:lnTo>
                <a:lnTo>
                  <a:pt x="4772" y="2169"/>
                </a:lnTo>
                <a:lnTo>
                  <a:pt x="4763" y="2204"/>
                </a:lnTo>
                <a:lnTo>
                  <a:pt x="4752" y="2240"/>
                </a:lnTo>
                <a:lnTo>
                  <a:pt x="4740" y="2274"/>
                </a:lnTo>
                <a:lnTo>
                  <a:pt x="4729" y="2308"/>
                </a:lnTo>
                <a:lnTo>
                  <a:pt x="4716" y="2342"/>
                </a:lnTo>
                <a:lnTo>
                  <a:pt x="4702" y="2376"/>
                </a:lnTo>
                <a:lnTo>
                  <a:pt x="4688" y="2410"/>
                </a:lnTo>
                <a:lnTo>
                  <a:pt x="4673" y="2443"/>
                </a:lnTo>
                <a:lnTo>
                  <a:pt x="4657" y="2476"/>
                </a:lnTo>
                <a:lnTo>
                  <a:pt x="4641" y="2508"/>
                </a:lnTo>
                <a:lnTo>
                  <a:pt x="4624" y="2541"/>
                </a:lnTo>
                <a:lnTo>
                  <a:pt x="4605" y="2573"/>
                </a:lnTo>
                <a:lnTo>
                  <a:pt x="4586" y="2606"/>
                </a:lnTo>
                <a:lnTo>
                  <a:pt x="4566" y="2638"/>
                </a:lnTo>
                <a:lnTo>
                  <a:pt x="4546" y="2669"/>
                </a:lnTo>
                <a:lnTo>
                  <a:pt x="4525" y="2701"/>
                </a:lnTo>
                <a:lnTo>
                  <a:pt x="4502" y="2732"/>
                </a:lnTo>
                <a:lnTo>
                  <a:pt x="4480" y="2763"/>
                </a:lnTo>
                <a:lnTo>
                  <a:pt x="4456" y="2793"/>
                </a:lnTo>
                <a:lnTo>
                  <a:pt x="4431" y="2824"/>
                </a:lnTo>
                <a:lnTo>
                  <a:pt x="4407" y="2853"/>
                </a:lnTo>
                <a:lnTo>
                  <a:pt x="4381" y="2883"/>
                </a:lnTo>
                <a:lnTo>
                  <a:pt x="4356" y="2910"/>
                </a:lnTo>
                <a:lnTo>
                  <a:pt x="4329" y="2938"/>
                </a:lnTo>
                <a:lnTo>
                  <a:pt x="4303" y="2965"/>
                </a:lnTo>
                <a:lnTo>
                  <a:pt x="4276" y="2991"/>
                </a:lnTo>
                <a:lnTo>
                  <a:pt x="4249" y="3017"/>
                </a:lnTo>
                <a:lnTo>
                  <a:pt x="4220" y="3041"/>
                </a:lnTo>
                <a:lnTo>
                  <a:pt x="4192" y="3066"/>
                </a:lnTo>
                <a:lnTo>
                  <a:pt x="4164" y="3089"/>
                </a:lnTo>
                <a:lnTo>
                  <a:pt x="4134" y="3112"/>
                </a:lnTo>
                <a:lnTo>
                  <a:pt x="4105" y="3134"/>
                </a:lnTo>
                <a:lnTo>
                  <a:pt x="4075" y="3155"/>
                </a:lnTo>
                <a:lnTo>
                  <a:pt x="4045" y="3176"/>
                </a:lnTo>
                <a:lnTo>
                  <a:pt x="4014" y="3196"/>
                </a:lnTo>
                <a:lnTo>
                  <a:pt x="3982" y="3215"/>
                </a:lnTo>
                <a:lnTo>
                  <a:pt x="3950" y="3233"/>
                </a:lnTo>
                <a:lnTo>
                  <a:pt x="3919" y="3252"/>
                </a:lnTo>
                <a:lnTo>
                  <a:pt x="3887" y="3269"/>
                </a:lnTo>
                <a:lnTo>
                  <a:pt x="3854" y="3286"/>
                </a:lnTo>
                <a:lnTo>
                  <a:pt x="3820" y="3301"/>
                </a:lnTo>
                <a:lnTo>
                  <a:pt x="3786" y="3316"/>
                </a:lnTo>
                <a:lnTo>
                  <a:pt x="3752" y="3331"/>
                </a:lnTo>
                <a:lnTo>
                  <a:pt x="3718" y="3344"/>
                </a:lnTo>
                <a:lnTo>
                  <a:pt x="3683" y="3358"/>
                </a:lnTo>
                <a:lnTo>
                  <a:pt x="3647" y="3370"/>
                </a:lnTo>
                <a:lnTo>
                  <a:pt x="3611" y="3381"/>
                </a:lnTo>
                <a:lnTo>
                  <a:pt x="3575" y="3393"/>
                </a:lnTo>
                <a:lnTo>
                  <a:pt x="3538" y="3402"/>
                </a:lnTo>
                <a:lnTo>
                  <a:pt x="3500" y="3412"/>
                </a:lnTo>
                <a:lnTo>
                  <a:pt x="3463" y="3421"/>
                </a:lnTo>
                <a:lnTo>
                  <a:pt x="3425" y="3429"/>
                </a:lnTo>
                <a:lnTo>
                  <a:pt x="3438" y="3443"/>
                </a:lnTo>
                <a:lnTo>
                  <a:pt x="3449" y="3456"/>
                </a:lnTo>
                <a:lnTo>
                  <a:pt x="3459" y="3468"/>
                </a:lnTo>
                <a:lnTo>
                  <a:pt x="3466" y="3480"/>
                </a:lnTo>
                <a:lnTo>
                  <a:pt x="3473" y="3491"/>
                </a:lnTo>
                <a:lnTo>
                  <a:pt x="3477" y="3501"/>
                </a:lnTo>
                <a:lnTo>
                  <a:pt x="3479" y="3512"/>
                </a:lnTo>
                <a:lnTo>
                  <a:pt x="3480" y="3522"/>
                </a:lnTo>
                <a:close/>
              </a:path>
            </a:pathLst>
          </a:custGeom>
          <a:solidFill>
            <a:schemeClr val="accent1"/>
          </a:solidFill>
          <a:ln w="9525">
            <a:noFill/>
            <a:round/>
            <a:headEnd/>
            <a:tailEnd/>
          </a:ln>
        </p:spPr>
        <p:txBody>
          <a:bodyPr/>
          <a:lstStyle>
            <a:defPPr>
              <a:defRPr lang="en-US"/>
            </a:defPPr>
            <a:lvl1pPr marL="0" algn="l" defTabSz="1018824" rtl="0" eaLnBrk="1" latinLnBrk="0" hangingPunct="1">
              <a:defRPr sz="2000" kern="1200">
                <a:solidFill>
                  <a:schemeClr val="tx1"/>
                </a:solidFill>
                <a:latin typeface="+mn-lt"/>
                <a:ea typeface="+mn-ea"/>
                <a:cs typeface="+mn-cs"/>
              </a:defRPr>
            </a:lvl1pPr>
            <a:lvl2pPr marL="509412" algn="l" defTabSz="1018824" rtl="0" eaLnBrk="1" latinLnBrk="0" hangingPunct="1">
              <a:defRPr sz="2000" kern="1200">
                <a:solidFill>
                  <a:schemeClr val="tx1"/>
                </a:solidFill>
                <a:latin typeface="+mn-lt"/>
                <a:ea typeface="+mn-ea"/>
                <a:cs typeface="+mn-cs"/>
              </a:defRPr>
            </a:lvl2pPr>
            <a:lvl3pPr marL="1018824" algn="l" defTabSz="1018824" rtl="0" eaLnBrk="1" latinLnBrk="0" hangingPunct="1">
              <a:defRPr sz="2000" kern="1200">
                <a:solidFill>
                  <a:schemeClr val="tx1"/>
                </a:solidFill>
                <a:latin typeface="+mn-lt"/>
                <a:ea typeface="+mn-ea"/>
                <a:cs typeface="+mn-cs"/>
              </a:defRPr>
            </a:lvl3pPr>
            <a:lvl4pPr marL="1528237" algn="l" defTabSz="1018824" rtl="0" eaLnBrk="1" latinLnBrk="0" hangingPunct="1">
              <a:defRPr sz="2000" kern="1200">
                <a:solidFill>
                  <a:schemeClr val="tx1"/>
                </a:solidFill>
                <a:latin typeface="+mn-lt"/>
                <a:ea typeface="+mn-ea"/>
                <a:cs typeface="+mn-cs"/>
              </a:defRPr>
            </a:lvl4pPr>
            <a:lvl5pPr marL="2037649" algn="l" defTabSz="1018824" rtl="0" eaLnBrk="1" latinLnBrk="0" hangingPunct="1">
              <a:defRPr sz="2000" kern="1200">
                <a:solidFill>
                  <a:schemeClr val="tx1"/>
                </a:solidFill>
                <a:latin typeface="+mn-lt"/>
                <a:ea typeface="+mn-ea"/>
                <a:cs typeface="+mn-cs"/>
              </a:defRPr>
            </a:lvl5pPr>
            <a:lvl6pPr marL="2547061" algn="l" defTabSz="1018824" rtl="0" eaLnBrk="1" latinLnBrk="0" hangingPunct="1">
              <a:defRPr sz="2000" kern="1200">
                <a:solidFill>
                  <a:schemeClr val="tx1"/>
                </a:solidFill>
                <a:latin typeface="+mn-lt"/>
                <a:ea typeface="+mn-ea"/>
                <a:cs typeface="+mn-cs"/>
              </a:defRPr>
            </a:lvl6pPr>
            <a:lvl7pPr marL="3056473" algn="l" defTabSz="1018824" rtl="0" eaLnBrk="1" latinLnBrk="0" hangingPunct="1">
              <a:defRPr sz="2000" kern="1200">
                <a:solidFill>
                  <a:schemeClr val="tx1"/>
                </a:solidFill>
                <a:latin typeface="+mn-lt"/>
                <a:ea typeface="+mn-ea"/>
                <a:cs typeface="+mn-cs"/>
              </a:defRPr>
            </a:lvl7pPr>
            <a:lvl8pPr marL="3565886" algn="l" defTabSz="1018824" rtl="0" eaLnBrk="1" latinLnBrk="0" hangingPunct="1">
              <a:defRPr sz="2000" kern="1200">
                <a:solidFill>
                  <a:schemeClr val="tx1"/>
                </a:solidFill>
                <a:latin typeface="+mn-lt"/>
                <a:ea typeface="+mn-ea"/>
                <a:cs typeface="+mn-cs"/>
              </a:defRPr>
            </a:lvl8pPr>
            <a:lvl9pPr marL="4075298" algn="l" defTabSz="1018824" rtl="0" eaLnBrk="1" latinLnBrk="0" hangingPunct="1">
              <a:defRPr sz="2000" kern="1200">
                <a:solidFill>
                  <a:schemeClr val="tx1"/>
                </a:solidFill>
                <a:latin typeface="+mn-lt"/>
                <a:ea typeface="+mn-ea"/>
                <a:cs typeface="+mn-cs"/>
              </a:defRPr>
            </a:lvl9pPr>
          </a:lstStyle>
          <a:p>
            <a:pPr marL="0" marR="0" lvl="0" indent="0" algn="l" defTabSz="1018824" rtl="0" eaLnBrk="1" fontAlgn="auto" latinLnBrk="0" hangingPunct="1">
              <a:lnSpc>
                <a:spcPct val="100000"/>
              </a:lnSpc>
              <a:spcBef>
                <a:spcPts val="0"/>
              </a:spcBef>
              <a:spcAft>
                <a:spcPts val="0"/>
              </a:spcAft>
              <a:buClrTx/>
              <a:buSzTx/>
              <a:buFontTx/>
              <a:buNone/>
              <a:tabLst/>
              <a:defRPr/>
            </a:pPr>
            <a:endParaRPr kumimoji="0" lang="en-GB" sz="1589"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 name="TextBox 1">
            <a:extLst>
              <a:ext uri="{FF2B5EF4-FFF2-40B4-BE49-F238E27FC236}">
                <a16:creationId xmlns:a16="http://schemas.microsoft.com/office/drawing/2014/main" id="{EBE3A574-88E8-400A-9688-F666FD5C634B}"/>
              </a:ext>
            </a:extLst>
          </p:cNvPr>
          <p:cNvSpPr txBox="1"/>
          <p:nvPr/>
        </p:nvSpPr>
        <p:spPr>
          <a:xfrm>
            <a:off x="4450044" y="3010645"/>
            <a:ext cx="2611722"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4472C4"/>
                </a:solidFill>
                <a:effectLst/>
                <a:uLnTx/>
                <a:uFillTx/>
                <a:latin typeface="Calibri" panose="020F0502020204030204"/>
                <a:ea typeface="+mn-ea"/>
                <a:cs typeface="+mn-cs"/>
              </a:rPr>
              <a:t>&gt;7 of them will hav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4472C4"/>
                </a:solidFill>
                <a:effectLst/>
                <a:uLnTx/>
                <a:uFillTx/>
                <a:latin typeface="Calibri" panose="020F0502020204030204"/>
                <a:ea typeface="+mn-ea"/>
                <a:cs typeface="+mn-cs"/>
              </a:rPr>
              <a:t>some form of SDB</a:t>
            </a:r>
          </a:p>
        </p:txBody>
      </p:sp>
      <p:sp>
        <p:nvSpPr>
          <p:cNvPr id="50" name="Freeform 18">
            <a:extLst>
              <a:ext uri="{FF2B5EF4-FFF2-40B4-BE49-F238E27FC236}">
                <a16:creationId xmlns:a16="http://schemas.microsoft.com/office/drawing/2014/main" id="{80C317A5-E1B7-4EA8-8C96-6ED92D3B24CA}"/>
              </a:ext>
            </a:extLst>
          </p:cNvPr>
          <p:cNvSpPr>
            <a:spLocks/>
          </p:cNvSpPr>
          <p:nvPr/>
        </p:nvSpPr>
        <p:spPr bwMode="auto">
          <a:xfrm>
            <a:off x="2294791" y="4302966"/>
            <a:ext cx="197037" cy="470851"/>
          </a:xfrm>
          <a:custGeom>
            <a:avLst/>
            <a:gdLst>
              <a:gd name="T0" fmla="*/ 13344091 w 6132"/>
              <a:gd name="T1" fmla="*/ 10441401 h 16980"/>
              <a:gd name="T2" fmla="*/ 14439013 w 6132"/>
              <a:gd name="T3" fmla="*/ 10808942 h 16980"/>
              <a:gd name="T4" fmla="*/ 15478309 w 6132"/>
              <a:gd name="T5" fmla="*/ 11467619 h 16980"/>
              <a:gd name="T6" fmla="*/ 16450295 w 6132"/>
              <a:gd name="T7" fmla="*/ 12408541 h 16980"/>
              <a:gd name="T8" fmla="*/ 17214401 w 6132"/>
              <a:gd name="T9" fmla="*/ 13481773 h 16980"/>
              <a:gd name="T10" fmla="*/ 17709159 w 6132"/>
              <a:gd name="T11" fmla="*/ 14605004 h 16980"/>
              <a:gd name="T12" fmla="*/ 17937493 w 6132"/>
              <a:gd name="T13" fmla="*/ 15789994 h 16980"/>
              <a:gd name="T14" fmla="*/ 17922884 w 6132"/>
              <a:gd name="T15" fmla="*/ 28795453 h 16980"/>
              <a:gd name="T16" fmla="*/ 17720901 w 6132"/>
              <a:gd name="T17" fmla="*/ 29724608 h 16980"/>
              <a:gd name="T18" fmla="*/ 17322724 w 6132"/>
              <a:gd name="T19" fmla="*/ 30571448 h 16980"/>
              <a:gd name="T20" fmla="*/ 16731329 w 6132"/>
              <a:gd name="T21" fmla="*/ 31344758 h 16980"/>
              <a:gd name="T22" fmla="*/ 15970146 w 6132"/>
              <a:gd name="T23" fmla="*/ 32000508 h 16980"/>
              <a:gd name="T24" fmla="*/ 15062602 w 6132"/>
              <a:gd name="T25" fmla="*/ 32509198 h 16980"/>
              <a:gd name="T26" fmla="*/ 14014483 w 6132"/>
              <a:gd name="T27" fmla="*/ 32867899 h 16980"/>
              <a:gd name="T28" fmla="*/ 4168927 w 6132"/>
              <a:gd name="T29" fmla="*/ 32935519 h 16980"/>
              <a:gd name="T30" fmla="*/ 3003722 w 6132"/>
              <a:gd name="T31" fmla="*/ 32515054 h 16980"/>
              <a:gd name="T32" fmla="*/ 2104943 w 6132"/>
              <a:gd name="T33" fmla="*/ 32053432 h 16980"/>
              <a:gd name="T34" fmla="*/ 1334994 w 6132"/>
              <a:gd name="T35" fmla="*/ 31503585 h 16980"/>
              <a:gd name="T36" fmla="*/ 723146 w 6132"/>
              <a:gd name="T37" fmla="*/ 30883136 h 16980"/>
              <a:gd name="T38" fmla="*/ 295697 w 6132"/>
              <a:gd name="T39" fmla="*/ 30230369 h 16980"/>
              <a:gd name="T40" fmla="*/ 55622 w 6132"/>
              <a:gd name="T41" fmla="*/ 29542302 h 16980"/>
              <a:gd name="T42" fmla="*/ 2922 w 6132"/>
              <a:gd name="T43" fmla="*/ 16034064 h 16980"/>
              <a:gd name="T44" fmla="*/ 166867 w 6132"/>
              <a:gd name="T45" fmla="*/ 14637376 h 16980"/>
              <a:gd name="T46" fmla="*/ 608925 w 6132"/>
              <a:gd name="T47" fmla="*/ 13408297 h 16980"/>
              <a:gd name="T48" fmla="*/ 1326228 w 6132"/>
              <a:gd name="T49" fmla="*/ 12352689 h 16980"/>
              <a:gd name="T50" fmla="*/ 2309902 w 6132"/>
              <a:gd name="T51" fmla="*/ 11479386 h 16980"/>
              <a:gd name="T52" fmla="*/ 3495559 w 6132"/>
              <a:gd name="T53" fmla="*/ 10853081 h 16980"/>
              <a:gd name="T54" fmla="*/ 4889097 w 6132"/>
              <a:gd name="T55" fmla="*/ 10479630 h 16980"/>
              <a:gd name="T56" fmla="*/ 6475906 w 6132"/>
              <a:gd name="T57" fmla="*/ 10356104 h 16980"/>
              <a:gd name="T58" fmla="*/ 6768627 w 6132"/>
              <a:gd name="T59" fmla="*/ 10332625 h 16980"/>
              <a:gd name="T60" fmla="*/ 7661564 w 6132"/>
              <a:gd name="T61" fmla="*/ 10323786 h 16980"/>
              <a:gd name="T62" fmla="*/ 7863602 w 6132"/>
              <a:gd name="T63" fmla="*/ 10085627 h 16980"/>
              <a:gd name="T64" fmla="*/ 7032131 w 6132"/>
              <a:gd name="T65" fmla="*/ 9768029 h 16980"/>
              <a:gd name="T66" fmla="*/ 6197794 w 6132"/>
              <a:gd name="T67" fmla="*/ 9285801 h 16980"/>
              <a:gd name="T68" fmla="*/ 5471726 w 6132"/>
              <a:gd name="T69" fmla="*/ 8674191 h 16980"/>
              <a:gd name="T70" fmla="*/ 4859825 w 6132"/>
              <a:gd name="T71" fmla="*/ 7936181 h 16980"/>
              <a:gd name="T72" fmla="*/ 4409002 w 6132"/>
              <a:gd name="T73" fmla="*/ 7115803 h 16980"/>
              <a:gd name="T74" fmla="*/ 4122070 w 6132"/>
              <a:gd name="T75" fmla="*/ 6242499 h 16980"/>
              <a:gd name="T76" fmla="*/ 4002059 w 6132"/>
              <a:gd name="T77" fmla="*/ 5304506 h 16980"/>
              <a:gd name="T78" fmla="*/ 4069369 w 6132"/>
              <a:gd name="T79" fmla="*/ 4195974 h 16980"/>
              <a:gd name="T80" fmla="*/ 4370910 w 6132"/>
              <a:gd name="T81" fmla="*/ 3140364 h 16980"/>
              <a:gd name="T82" fmla="*/ 4906682 w 6132"/>
              <a:gd name="T83" fmla="*/ 2181765 h 16980"/>
              <a:gd name="T84" fmla="*/ 5679553 w 6132"/>
              <a:gd name="T85" fmla="*/ 1317301 h 16980"/>
              <a:gd name="T86" fmla="*/ 6578332 w 6132"/>
              <a:gd name="T87" fmla="*/ 643928 h 16980"/>
              <a:gd name="T88" fmla="*/ 7576670 w 6132"/>
              <a:gd name="T89" fmla="*/ 208768 h 16980"/>
              <a:gd name="T90" fmla="*/ 8671588 w 6132"/>
              <a:gd name="T91" fmla="*/ 11767 h 16980"/>
              <a:gd name="T92" fmla="*/ 9825105 w 6132"/>
              <a:gd name="T93" fmla="*/ 52924 h 16980"/>
              <a:gd name="T94" fmla="*/ 10893673 w 6132"/>
              <a:gd name="T95" fmla="*/ 326384 h 16980"/>
              <a:gd name="T96" fmla="*/ 11865659 w 6132"/>
              <a:gd name="T97" fmla="*/ 843912 h 16980"/>
              <a:gd name="T98" fmla="*/ 12743931 w 6132"/>
              <a:gd name="T99" fmla="*/ 1593689 h 16980"/>
              <a:gd name="T100" fmla="*/ 13431908 w 6132"/>
              <a:gd name="T101" fmla="*/ 2490525 h 16980"/>
              <a:gd name="T102" fmla="*/ 13891551 w 6132"/>
              <a:gd name="T103" fmla="*/ 3481443 h 16980"/>
              <a:gd name="T104" fmla="*/ 14111119 w 6132"/>
              <a:gd name="T105" fmla="*/ 4572353 h 16980"/>
              <a:gd name="T106" fmla="*/ 14105275 w 6132"/>
              <a:gd name="T107" fmla="*/ 5636746 h 16980"/>
              <a:gd name="T108" fmla="*/ 13912057 w 6132"/>
              <a:gd name="T109" fmla="*/ 6586506 h 16980"/>
              <a:gd name="T110" fmla="*/ 13537309 w 6132"/>
              <a:gd name="T111" fmla="*/ 7471577 h 16980"/>
              <a:gd name="T112" fmla="*/ 12972265 w 6132"/>
              <a:gd name="T113" fmla="*/ 8303722 h 16980"/>
              <a:gd name="T114" fmla="*/ 12272601 w 6132"/>
              <a:gd name="T115" fmla="*/ 9015324 h 16980"/>
              <a:gd name="T116" fmla="*/ 11473326 w 6132"/>
              <a:gd name="T117" fmla="*/ 9562188 h 16980"/>
              <a:gd name="T118" fmla="*/ 10571626 w 6132"/>
              <a:gd name="T119" fmla="*/ 9941550 h 16980"/>
              <a:gd name="T120" fmla="*/ 10147098 w 6132"/>
              <a:gd name="T121" fmla="*/ 10232633 h 1698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6132"/>
              <a:gd name="T184" fmla="*/ 0 h 16980"/>
              <a:gd name="T185" fmla="*/ 6132 w 6132"/>
              <a:gd name="T186" fmla="*/ 16980 h 16980"/>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6132" h="16980">
                <a:moveTo>
                  <a:pt x="3480" y="3522"/>
                </a:moveTo>
                <a:lnTo>
                  <a:pt x="4254" y="3522"/>
                </a:lnTo>
                <a:lnTo>
                  <a:pt x="4298" y="3522"/>
                </a:lnTo>
                <a:lnTo>
                  <a:pt x="4342" y="3524"/>
                </a:lnTo>
                <a:lnTo>
                  <a:pt x="4386" y="3527"/>
                </a:lnTo>
                <a:lnTo>
                  <a:pt x="4429" y="3531"/>
                </a:lnTo>
                <a:lnTo>
                  <a:pt x="4473" y="3536"/>
                </a:lnTo>
                <a:lnTo>
                  <a:pt x="4515" y="3543"/>
                </a:lnTo>
                <a:lnTo>
                  <a:pt x="4558" y="3551"/>
                </a:lnTo>
                <a:lnTo>
                  <a:pt x="4601" y="3560"/>
                </a:lnTo>
                <a:lnTo>
                  <a:pt x="4643" y="3570"/>
                </a:lnTo>
                <a:lnTo>
                  <a:pt x="4685" y="3582"/>
                </a:lnTo>
                <a:lnTo>
                  <a:pt x="4727" y="3595"/>
                </a:lnTo>
                <a:lnTo>
                  <a:pt x="4769" y="3609"/>
                </a:lnTo>
                <a:lnTo>
                  <a:pt x="4809" y="3624"/>
                </a:lnTo>
                <a:lnTo>
                  <a:pt x="4851" y="3640"/>
                </a:lnTo>
                <a:lnTo>
                  <a:pt x="4892" y="3658"/>
                </a:lnTo>
                <a:lnTo>
                  <a:pt x="4932" y="3676"/>
                </a:lnTo>
                <a:lnTo>
                  <a:pt x="4973" y="3696"/>
                </a:lnTo>
                <a:lnTo>
                  <a:pt x="5013" y="3717"/>
                </a:lnTo>
                <a:lnTo>
                  <a:pt x="5052" y="3739"/>
                </a:lnTo>
                <a:lnTo>
                  <a:pt x="5093" y="3763"/>
                </a:lnTo>
                <a:lnTo>
                  <a:pt x="5132" y="3788"/>
                </a:lnTo>
                <a:lnTo>
                  <a:pt x="5171" y="3814"/>
                </a:lnTo>
                <a:lnTo>
                  <a:pt x="5210" y="3842"/>
                </a:lnTo>
                <a:lnTo>
                  <a:pt x="5249" y="3870"/>
                </a:lnTo>
                <a:lnTo>
                  <a:pt x="5287" y="3900"/>
                </a:lnTo>
                <a:lnTo>
                  <a:pt x="5325" y="3931"/>
                </a:lnTo>
                <a:lnTo>
                  <a:pt x="5364" y="3963"/>
                </a:lnTo>
                <a:lnTo>
                  <a:pt x="5401" y="3997"/>
                </a:lnTo>
                <a:lnTo>
                  <a:pt x="5438" y="4031"/>
                </a:lnTo>
                <a:lnTo>
                  <a:pt x="5475" y="4067"/>
                </a:lnTo>
                <a:lnTo>
                  <a:pt x="5512" y="4104"/>
                </a:lnTo>
                <a:lnTo>
                  <a:pt x="5549" y="4142"/>
                </a:lnTo>
                <a:lnTo>
                  <a:pt x="5584" y="4181"/>
                </a:lnTo>
                <a:lnTo>
                  <a:pt x="5619" y="4220"/>
                </a:lnTo>
                <a:lnTo>
                  <a:pt x="5652" y="4260"/>
                </a:lnTo>
                <a:lnTo>
                  <a:pt x="5685" y="4300"/>
                </a:lnTo>
                <a:lnTo>
                  <a:pt x="5716" y="4339"/>
                </a:lnTo>
                <a:lnTo>
                  <a:pt x="5747" y="4379"/>
                </a:lnTo>
                <a:lnTo>
                  <a:pt x="5775" y="4420"/>
                </a:lnTo>
                <a:lnTo>
                  <a:pt x="5803" y="4460"/>
                </a:lnTo>
                <a:lnTo>
                  <a:pt x="5830" y="4502"/>
                </a:lnTo>
                <a:lnTo>
                  <a:pt x="5855" y="4543"/>
                </a:lnTo>
                <a:lnTo>
                  <a:pt x="5880" y="4585"/>
                </a:lnTo>
                <a:lnTo>
                  <a:pt x="5904" y="4626"/>
                </a:lnTo>
                <a:lnTo>
                  <a:pt x="5925" y="4667"/>
                </a:lnTo>
                <a:lnTo>
                  <a:pt x="5946" y="4710"/>
                </a:lnTo>
                <a:lnTo>
                  <a:pt x="5967" y="4752"/>
                </a:lnTo>
                <a:lnTo>
                  <a:pt x="5986" y="4795"/>
                </a:lnTo>
                <a:lnTo>
                  <a:pt x="6004" y="4838"/>
                </a:lnTo>
                <a:lnTo>
                  <a:pt x="6020" y="4880"/>
                </a:lnTo>
                <a:lnTo>
                  <a:pt x="6036" y="4924"/>
                </a:lnTo>
                <a:lnTo>
                  <a:pt x="6049" y="4967"/>
                </a:lnTo>
                <a:lnTo>
                  <a:pt x="6063" y="5011"/>
                </a:lnTo>
                <a:lnTo>
                  <a:pt x="6075" y="5055"/>
                </a:lnTo>
                <a:lnTo>
                  <a:pt x="6085" y="5100"/>
                </a:lnTo>
                <a:lnTo>
                  <a:pt x="6095" y="5144"/>
                </a:lnTo>
                <a:lnTo>
                  <a:pt x="6104" y="5189"/>
                </a:lnTo>
                <a:lnTo>
                  <a:pt x="6111" y="5234"/>
                </a:lnTo>
                <a:lnTo>
                  <a:pt x="6117" y="5280"/>
                </a:lnTo>
                <a:lnTo>
                  <a:pt x="6123" y="5324"/>
                </a:lnTo>
                <a:lnTo>
                  <a:pt x="6127" y="5370"/>
                </a:lnTo>
                <a:lnTo>
                  <a:pt x="6130" y="5417"/>
                </a:lnTo>
                <a:lnTo>
                  <a:pt x="6131" y="5463"/>
                </a:lnTo>
                <a:lnTo>
                  <a:pt x="6132" y="5509"/>
                </a:lnTo>
                <a:lnTo>
                  <a:pt x="6132" y="9605"/>
                </a:lnTo>
                <a:lnTo>
                  <a:pt x="6132" y="9643"/>
                </a:lnTo>
                <a:lnTo>
                  <a:pt x="6130" y="9682"/>
                </a:lnTo>
                <a:lnTo>
                  <a:pt x="6129" y="9719"/>
                </a:lnTo>
                <a:lnTo>
                  <a:pt x="6126" y="9756"/>
                </a:lnTo>
                <a:lnTo>
                  <a:pt x="6122" y="9793"/>
                </a:lnTo>
                <a:lnTo>
                  <a:pt x="6117" y="9829"/>
                </a:lnTo>
                <a:lnTo>
                  <a:pt x="6112" y="9866"/>
                </a:lnTo>
                <a:lnTo>
                  <a:pt x="6107" y="9901"/>
                </a:lnTo>
                <a:lnTo>
                  <a:pt x="6099" y="9937"/>
                </a:lnTo>
                <a:lnTo>
                  <a:pt x="6092" y="9972"/>
                </a:lnTo>
                <a:lnTo>
                  <a:pt x="6083" y="10007"/>
                </a:lnTo>
                <a:lnTo>
                  <a:pt x="6074" y="10041"/>
                </a:lnTo>
                <a:lnTo>
                  <a:pt x="6063" y="10075"/>
                </a:lnTo>
                <a:lnTo>
                  <a:pt x="6053" y="10109"/>
                </a:lnTo>
                <a:lnTo>
                  <a:pt x="6041" y="10142"/>
                </a:lnTo>
                <a:lnTo>
                  <a:pt x="6028" y="10175"/>
                </a:lnTo>
                <a:lnTo>
                  <a:pt x="6014" y="10208"/>
                </a:lnTo>
                <a:lnTo>
                  <a:pt x="6001" y="10241"/>
                </a:lnTo>
                <a:lnTo>
                  <a:pt x="5986" y="10273"/>
                </a:lnTo>
                <a:lnTo>
                  <a:pt x="5970" y="10305"/>
                </a:lnTo>
                <a:lnTo>
                  <a:pt x="5953" y="10335"/>
                </a:lnTo>
                <a:lnTo>
                  <a:pt x="5935" y="10366"/>
                </a:lnTo>
                <a:lnTo>
                  <a:pt x="5917" y="10397"/>
                </a:lnTo>
                <a:lnTo>
                  <a:pt x="5898" y="10428"/>
                </a:lnTo>
                <a:lnTo>
                  <a:pt x="5877" y="10458"/>
                </a:lnTo>
                <a:lnTo>
                  <a:pt x="5857" y="10487"/>
                </a:lnTo>
                <a:lnTo>
                  <a:pt x="5835" y="10517"/>
                </a:lnTo>
                <a:lnTo>
                  <a:pt x="5813" y="10546"/>
                </a:lnTo>
                <a:lnTo>
                  <a:pt x="5789" y="10575"/>
                </a:lnTo>
                <a:lnTo>
                  <a:pt x="5766" y="10603"/>
                </a:lnTo>
                <a:lnTo>
                  <a:pt x="5740" y="10632"/>
                </a:lnTo>
                <a:lnTo>
                  <a:pt x="5715" y="10660"/>
                </a:lnTo>
                <a:lnTo>
                  <a:pt x="5688" y="10687"/>
                </a:lnTo>
                <a:lnTo>
                  <a:pt x="5661" y="10714"/>
                </a:lnTo>
                <a:lnTo>
                  <a:pt x="5633" y="10739"/>
                </a:lnTo>
                <a:lnTo>
                  <a:pt x="5606" y="10765"/>
                </a:lnTo>
                <a:lnTo>
                  <a:pt x="5576" y="10790"/>
                </a:lnTo>
                <a:lnTo>
                  <a:pt x="5546" y="10814"/>
                </a:lnTo>
                <a:lnTo>
                  <a:pt x="5516" y="10838"/>
                </a:lnTo>
                <a:lnTo>
                  <a:pt x="5486" y="10860"/>
                </a:lnTo>
                <a:lnTo>
                  <a:pt x="5455" y="10883"/>
                </a:lnTo>
                <a:lnTo>
                  <a:pt x="5422" y="10905"/>
                </a:lnTo>
                <a:lnTo>
                  <a:pt x="5390" y="10925"/>
                </a:lnTo>
                <a:lnTo>
                  <a:pt x="5357" y="10947"/>
                </a:lnTo>
                <a:lnTo>
                  <a:pt x="5323" y="10966"/>
                </a:lnTo>
                <a:lnTo>
                  <a:pt x="5288" y="10985"/>
                </a:lnTo>
                <a:lnTo>
                  <a:pt x="5253" y="11004"/>
                </a:lnTo>
                <a:lnTo>
                  <a:pt x="5218" y="11022"/>
                </a:lnTo>
                <a:lnTo>
                  <a:pt x="5182" y="11039"/>
                </a:lnTo>
                <a:lnTo>
                  <a:pt x="5145" y="11056"/>
                </a:lnTo>
                <a:lnTo>
                  <a:pt x="5108" y="11072"/>
                </a:lnTo>
                <a:lnTo>
                  <a:pt x="5069" y="11087"/>
                </a:lnTo>
                <a:lnTo>
                  <a:pt x="5031" y="11102"/>
                </a:lnTo>
                <a:lnTo>
                  <a:pt x="4992" y="11117"/>
                </a:lnTo>
                <a:lnTo>
                  <a:pt x="4952" y="11130"/>
                </a:lnTo>
                <a:lnTo>
                  <a:pt x="4911" y="11143"/>
                </a:lnTo>
                <a:lnTo>
                  <a:pt x="4871" y="11155"/>
                </a:lnTo>
                <a:lnTo>
                  <a:pt x="4828" y="11167"/>
                </a:lnTo>
                <a:lnTo>
                  <a:pt x="4787" y="11178"/>
                </a:lnTo>
                <a:lnTo>
                  <a:pt x="4743" y="11189"/>
                </a:lnTo>
                <a:lnTo>
                  <a:pt x="4701" y="11199"/>
                </a:lnTo>
                <a:lnTo>
                  <a:pt x="4656" y="11208"/>
                </a:lnTo>
                <a:lnTo>
                  <a:pt x="4612" y="11217"/>
                </a:lnTo>
                <a:lnTo>
                  <a:pt x="4567" y="11225"/>
                </a:lnTo>
                <a:lnTo>
                  <a:pt x="4567" y="16980"/>
                </a:lnTo>
                <a:lnTo>
                  <a:pt x="1510" y="16980"/>
                </a:lnTo>
                <a:lnTo>
                  <a:pt x="1510" y="11225"/>
                </a:lnTo>
                <a:lnTo>
                  <a:pt x="1424" y="11201"/>
                </a:lnTo>
                <a:lnTo>
                  <a:pt x="1340" y="11175"/>
                </a:lnTo>
                <a:lnTo>
                  <a:pt x="1298" y="11161"/>
                </a:lnTo>
                <a:lnTo>
                  <a:pt x="1258" y="11148"/>
                </a:lnTo>
                <a:lnTo>
                  <a:pt x="1218" y="11134"/>
                </a:lnTo>
                <a:lnTo>
                  <a:pt x="1178" y="11120"/>
                </a:lnTo>
                <a:lnTo>
                  <a:pt x="1139" y="11105"/>
                </a:lnTo>
                <a:lnTo>
                  <a:pt x="1101" y="11089"/>
                </a:lnTo>
                <a:lnTo>
                  <a:pt x="1064" y="11074"/>
                </a:lnTo>
                <a:lnTo>
                  <a:pt x="1026" y="11058"/>
                </a:lnTo>
                <a:lnTo>
                  <a:pt x="990" y="11042"/>
                </a:lnTo>
                <a:lnTo>
                  <a:pt x="954" y="11025"/>
                </a:lnTo>
                <a:lnTo>
                  <a:pt x="918" y="11009"/>
                </a:lnTo>
                <a:lnTo>
                  <a:pt x="884" y="10991"/>
                </a:lnTo>
                <a:lnTo>
                  <a:pt x="849" y="10974"/>
                </a:lnTo>
                <a:lnTo>
                  <a:pt x="816" y="10956"/>
                </a:lnTo>
                <a:lnTo>
                  <a:pt x="782" y="10938"/>
                </a:lnTo>
                <a:lnTo>
                  <a:pt x="750" y="10920"/>
                </a:lnTo>
                <a:lnTo>
                  <a:pt x="719" y="10901"/>
                </a:lnTo>
                <a:lnTo>
                  <a:pt x="687" y="10882"/>
                </a:lnTo>
                <a:lnTo>
                  <a:pt x="656" y="10862"/>
                </a:lnTo>
                <a:lnTo>
                  <a:pt x="626" y="10841"/>
                </a:lnTo>
                <a:lnTo>
                  <a:pt x="596" y="10821"/>
                </a:lnTo>
                <a:lnTo>
                  <a:pt x="567" y="10801"/>
                </a:lnTo>
                <a:lnTo>
                  <a:pt x="539" y="10780"/>
                </a:lnTo>
                <a:lnTo>
                  <a:pt x="510" y="10758"/>
                </a:lnTo>
                <a:lnTo>
                  <a:pt x="484" y="10736"/>
                </a:lnTo>
                <a:lnTo>
                  <a:pt x="456" y="10714"/>
                </a:lnTo>
                <a:lnTo>
                  <a:pt x="431" y="10691"/>
                </a:lnTo>
                <a:lnTo>
                  <a:pt x="405" y="10668"/>
                </a:lnTo>
                <a:lnTo>
                  <a:pt x="380" y="10646"/>
                </a:lnTo>
                <a:lnTo>
                  <a:pt x="355" y="10622"/>
                </a:lnTo>
                <a:lnTo>
                  <a:pt x="332" y="10599"/>
                </a:lnTo>
                <a:lnTo>
                  <a:pt x="310" y="10576"/>
                </a:lnTo>
                <a:lnTo>
                  <a:pt x="289" y="10551"/>
                </a:lnTo>
                <a:lnTo>
                  <a:pt x="267" y="10528"/>
                </a:lnTo>
                <a:lnTo>
                  <a:pt x="247" y="10503"/>
                </a:lnTo>
                <a:lnTo>
                  <a:pt x="228" y="10480"/>
                </a:lnTo>
                <a:lnTo>
                  <a:pt x="209" y="10455"/>
                </a:lnTo>
                <a:lnTo>
                  <a:pt x="191" y="10431"/>
                </a:lnTo>
                <a:lnTo>
                  <a:pt x="174" y="10407"/>
                </a:lnTo>
                <a:lnTo>
                  <a:pt x="158" y="10382"/>
                </a:lnTo>
                <a:lnTo>
                  <a:pt x="142" y="10357"/>
                </a:lnTo>
                <a:lnTo>
                  <a:pt x="128" y="10332"/>
                </a:lnTo>
                <a:lnTo>
                  <a:pt x="114" y="10307"/>
                </a:lnTo>
                <a:lnTo>
                  <a:pt x="101" y="10281"/>
                </a:lnTo>
                <a:lnTo>
                  <a:pt x="89" y="10256"/>
                </a:lnTo>
                <a:lnTo>
                  <a:pt x="77" y="10230"/>
                </a:lnTo>
                <a:lnTo>
                  <a:pt x="67" y="10205"/>
                </a:lnTo>
                <a:lnTo>
                  <a:pt x="57" y="10179"/>
                </a:lnTo>
                <a:lnTo>
                  <a:pt x="48" y="10153"/>
                </a:lnTo>
                <a:lnTo>
                  <a:pt x="39" y="10127"/>
                </a:lnTo>
                <a:lnTo>
                  <a:pt x="32" y="10100"/>
                </a:lnTo>
                <a:lnTo>
                  <a:pt x="25" y="10074"/>
                </a:lnTo>
                <a:lnTo>
                  <a:pt x="19" y="10047"/>
                </a:lnTo>
                <a:lnTo>
                  <a:pt x="14" y="10021"/>
                </a:lnTo>
                <a:lnTo>
                  <a:pt x="9" y="9994"/>
                </a:lnTo>
                <a:lnTo>
                  <a:pt x="6" y="9967"/>
                </a:lnTo>
                <a:lnTo>
                  <a:pt x="3" y="9940"/>
                </a:lnTo>
                <a:lnTo>
                  <a:pt x="1" y="9912"/>
                </a:lnTo>
                <a:lnTo>
                  <a:pt x="0" y="9885"/>
                </a:lnTo>
                <a:lnTo>
                  <a:pt x="0" y="9857"/>
                </a:lnTo>
                <a:lnTo>
                  <a:pt x="0" y="5509"/>
                </a:lnTo>
                <a:lnTo>
                  <a:pt x="1" y="5453"/>
                </a:lnTo>
                <a:lnTo>
                  <a:pt x="2" y="5398"/>
                </a:lnTo>
                <a:lnTo>
                  <a:pt x="5" y="5342"/>
                </a:lnTo>
                <a:lnTo>
                  <a:pt x="9" y="5288"/>
                </a:lnTo>
                <a:lnTo>
                  <a:pt x="15" y="5235"/>
                </a:lnTo>
                <a:lnTo>
                  <a:pt x="21" y="5182"/>
                </a:lnTo>
                <a:lnTo>
                  <a:pt x="28" y="5130"/>
                </a:lnTo>
                <a:lnTo>
                  <a:pt x="37" y="5079"/>
                </a:lnTo>
                <a:lnTo>
                  <a:pt x="47" y="5028"/>
                </a:lnTo>
                <a:lnTo>
                  <a:pt x="57" y="4978"/>
                </a:lnTo>
                <a:lnTo>
                  <a:pt x="70" y="4929"/>
                </a:lnTo>
                <a:lnTo>
                  <a:pt x="83" y="4880"/>
                </a:lnTo>
                <a:lnTo>
                  <a:pt x="97" y="4832"/>
                </a:lnTo>
                <a:lnTo>
                  <a:pt x="112" y="4785"/>
                </a:lnTo>
                <a:lnTo>
                  <a:pt x="129" y="4739"/>
                </a:lnTo>
                <a:lnTo>
                  <a:pt x="147" y="4693"/>
                </a:lnTo>
                <a:lnTo>
                  <a:pt x="166" y="4648"/>
                </a:lnTo>
                <a:lnTo>
                  <a:pt x="187" y="4604"/>
                </a:lnTo>
                <a:lnTo>
                  <a:pt x="208" y="4560"/>
                </a:lnTo>
                <a:lnTo>
                  <a:pt x="230" y="4518"/>
                </a:lnTo>
                <a:lnTo>
                  <a:pt x="255" y="4476"/>
                </a:lnTo>
                <a:lnTo>
                  <a:pt x="279" y="4435"/>
                </a:lnTo>
                <a:lnTo>
                  <a:pt x="306" y="4393"/>
                </a:lnTo>
                <a:lnTo>
                  <a:pt x="332" y="4354"/>
                </a:lnTo>
                <a:lnTo>
                  <a:pt x="361" y="4315"/>
                </a:lnTo>
                <a:lnTo>
                  <a:pt x="391" y="4275"/>
                </a:lnTo>
                <a:lnTo>
                  <a:pt x="421" y="4238"/>
                </a:lnTo>
                <a:lnTo>
                  <a:pt x="453" y="4201"/>
                </a:lnTo>
                <a:lnTo>
                  <a:pt x="486" y="4165"/>
                </a:lnTo>
                <a:lnTo>
                  <a:pt x="520" y="4129"/>
                </a:lnTo>
                <a:lnTo>
                  <a:pt x="556" y="4093"/>
                </a:lnTo>
                <a:lnTo>
                  <a:pt x="592" y="4059"/>
                </a:lnTo>
                <a:lnTo>
                  <a:pt x="629" y="4025"/>
                </a:lnTo>
                <a:lnTo>
                  <a:pt x="668" y="3994"/>
                </a:lnTo>
                <a:lnTo>
                  <a:pt x="707" y="3963"/>
                </a:lnTo>
                <a:lnTo>
                  <a:pt x="747" y="3933"/>
                </a:lnTo>
                <a:lnTo>
                  <a:pt x="789" y="3904"/>
                </a:lnTo>
                <a:lnTo>
                  <a:pt x="830" y="3876"/>
                </a:lnTo>
                <a:lnTo>
                  <a:pt x="873" y="3849"/>
                </a:lnTo>
                <a:lnTo>
                  <a:pt x="916" y="3823"/>
                </a:lnTo>
                <a:lnTo>
                  <a:pt x="961" y="3799"/>
                </a:lnTo>
                <a:lnTo>
                  <a:pt x="1005" y="3775"/>
                </a:lnTo>
                <a:lnTo>
                  <a:pt x="1052" y="3752"/>
                </a:lnTo>
                <a:lnTo>
                  <a:pt x="1099" y="3731"/>
                </a:lnTo>
                <a:lnTo>
                  <a:pt x="1146" y="3711"/>
                </a:lnTo>
                <a:lnTo>
                  <a:pt x="1194" y="3691"/>
                </a:lnTo>
                <a:lnTo>
                  <a:pt x="1244" y="3672"/>
                </a:lnTo>
                <a:lnTo>
                  <a:pt x="1294" y="3655"/>
                </a:lnTo>
                <a:lnTo>
                  <a:pt x="1345" y="3640"/>
                </a:lnTo>
                <a:lnTo>
                  <a:pt x="1397" y="3624"/>
                </a:lnTo>
                <a:lnTo>
                  <a:pt x="1450" y="3610"/>
                </a:lnTo>
                <a:lnTo>
                  <a:pt x="1503" y="3597"/>
                </a:lnTo>
                <a:lnTo>
                  <a:pt x="1558" y="3584"/>
                </a:lnTo>
                <a:lnTo>
                  <a:pt x="1614" y="3574"/>
                </a:lnTo>
                <a:lnTo>
                  <a:pt x="1670" y="3564"/>
                </a:lnTo>
                <a:lnTo>
                  <a:pt x="1726" y="3554"/>
                </a:lnTo>
                <a:lnTo>
                  <a:pt x="1785" y="3547"/>
                </a:lnTo>
                <a:lnTo>
                  <a:pt x="1843" y="3540"/>
                </a:lnTo>
                <a:lnTo>
                  <a:pt x="1902" y="3534"/>
                </a:lnTo>
                <a:lnTo>
                  <a:pt x="1963" y="3530"/>
                </a:lnTo>
                <a:lnTo>
                  <a:pt x="2024" y="3526"/>
                </a:lnTo>
                <a:lnTo>
                  <a:pt x="2086" y="3524"/>
                </a:lnTo>
                <a:lnTo>
                  <a:pt x="2149" y="3522"/>
                </a:lnTo>
                <a:lnTo>
                  <a:pt x="2212" y="3522"/>
                </a:lnTo>
                <a:lnTo>
                  <a:pt x="2218" y="3517"/>
                </a:lnTo>
                <a:lnTo>
                  <a:pt x="2224" y="3514"/>
                </a:lnTo>
                <a:lnTo>
                  <a:pt x="2230" y="3513"/>
                </a:lnTo>
                <a:lnTo>
                  <a:pt x="2237" y="3512"/>
                </a:lnTo>
                <a:lnTo>
                  <a:pt x="2243" y="3512"/>
                </a:lnTo>
                <a:lnTo>
                  <a:pt x="2251" y="3512"/>
                </a:lnTo>
                <a:lnTo>
                  <a:pt x="2261" y="3512"/>
                </a:lnTo>
                <a:lnTo>
                  <a:pt x="2274" y="3512"/>
                </a:lnTo>
                <a:lnTo>
                  <a:pt x="2312" y="3514"/>
                </a:lnTo>
                <a:lnTo>
                  <a:pt x="2353" y="3516"/>
                </a:lnTo>
                <a:lnTo>
                  <a:pt x="2393" y="3517"/>
                </a:lnTo>
                <a:lnTo>
                  <a:pt x="2435" y="3519"/>
                </a:lnTo>
                <a:lnTo>
                  <a:pt x="2479" y="3520"/>
                </a:lnTo>
                <a:lnTo>
                  <a:pt x="2522" y="3520"/>
                </a:lnTo>
                <a:lnTo>
                  <a:pt x="2568" y="3522"/>
                </a:lnTo>
                <a:lnTo>
                  <a:pt x="2615" y="3522"/>
                </a:lnTo>
                <a:lnTo>
                  <a:pt x="2616" y="3516"/>
                </a:lnTo>
                <a:lnTo>
                  <a:pt x="2617" y="3511"/>
                </a:lnTo>
                <a:lnTo>
                  <a:pt x="2620" y="3505"/>
                </a:lnTo>
                <a:lnTo>
                  <a:pt x="2623" y="3498"/>
                </a:lnTo>
                <a:lnTo>
                  <a:pt x="2634" y="3483"/>
                </a:lnTo>
                <a:lnTo>
                  <a:pt x="2649" y="3466"/>
                </a:lnTo>
                <a:lnTo>
                  <a:pt x="2663" y="3450"/>
                </a:lnTo>
                <a:lnTo>
                  <a:pt x="2674" y="3439"/>
                </a:lnTo>
                <a:lnTo>
                  <a:pt x="2678" y="3434"/>
                </a:lnTo>
                <a:lnTo>
                  <a:pt x="2683" y="3431"/>
                </a:lnTo>
                <a:lnTo>
                  <a:pt x="2686" y="3430"/>
                </a:lnTo>
                <a:lnTo>
                  <a:pt x="2688" y="3429"/>
                </a:lnTo>
                <a:lnTo>
                  <a:pt x="2651" y="3417"/>
                </a:lnTo>
                <a:lnTo>
                  <a:pt x="2614" y="3406"/>
                </a:lnTo>
                <a:lnTo>
                  <a:pt x="2578" y="3393"/>
                </a:lnTo>
                <a:lnTo>
                  <a:pt x="2542" y="3380"/>
                </a:lnTo>
                <a:lnTo>
                  <a:pt x="2506" y="3366"/>
                </a:lnTo>
                <a:lnTo>
                  <a:pt x="2471" y="3351"/>
                </a:lnTo>
                <a:lnTo>
                  <a:pt x="2436" y="3337"/>
                </a:lnTo>
                <a:lnTo>
                  <a:pt x="2402" y="3322"/>
                </a:lnTo>
                <a:lnTo>
                  <a:pt x="2368" y="3306"/>
                </a:lnTo>
                <a:lnTo>
                  <a:pt x="2336" y="3289"/>
                </a:lnTo>
                <a:lnTo>
                  <a:pt x="2303" y="3272"/>
                </a:lnTo>
                <a:lnTo>
                  <a:pt x="2271" y="3255"/>
                </a:lnTo>
                <a:lnTo>
                  <a:pt x="2239" y="3237"/>
                </a:lnTo>
                <a:lnTo>
                  <a:pt x="2208" y="3218"/>
                </a:lnTo>
                <a:lnTo>
                  <a:pt x="2177" y="3198"/>
                </a:lnTo>
                <a:lnTo>
                  <a:pt x="2147" y="3178"/>
                </a:lnTo>
                <a:lnTo>
                  <a:pt x="2117" y="3158"/>
                </a:lnTo>
                <a:lnTo>
                  <a:pt x="2087" y="3137"/>
                </a:lnTo>
                <a:lnTo>
                  <a:pt x="2058" y="3115"/>
                </a:lnTo>
                <a:lnTo>
                  <a:pt x="2030" y="3093"/>
                </a:lnTo>
                <a:lnTo>
                  <a:pt x="2002" y="3071"/>
                </a:lnTo>
                <a:lnTo>
                  <a:pt x="1975" y="3047"/>
                </a:lnTo>
                <a:lnTo>
                  <a:pt x="1948" y="3024"/>
                </a:lnTo>
                <a:lnTo>
                  <a:pt x="1921" y="3000"/>
                </a:lnTo>
                <a:lnTo>
                  <a:pt x="1895" y="2975"/>
                </a:lnTo>
                <a:lnTo>
                  <a:pt x="1869" y="2950"/>
                </a:lnTo>
                <a:lnTo>
                  <a:pt x="1844" y="2924"/>
                </a:lnTo>
                <a:lnTo>
                  <a:pt x="1820" y="2898"/>
                </a:lnTo>
                <a:lnTo>
                  <a:pt x="1795" y="2871"/>
                </a:lnTo>
                <a:lnTo>
                  <a:pt x="1771" y="2843"/>
                </a:lnTo>
                <a:lnTo>
                  <a:pt x="1747" y="2816"/>
                </a:lnTo>
                <a:lnTo>
                  <a:pt x="1725" y="2787"/>
                </a:lnTo>
                <a:lnTo>
                  <a:pt x="1703" y="2757"/>
                </a:lnTo>
                <a:lnTo>
                  <a:pt x="1682" y="2729"/>
                </a:lnTo>
                <a:lnTo>
                  <a:pt x="1660" y="2699"/>
                </a:lnTo>
                <a:lnTo>
                  <a:pt x="1640" y="2669"/>
                </a:lnTo>
                <a:lnTo>
                  <a:pt x="1621" y="2638"/>
                </a:lnTo>
                <a:lnTo>
                  <a:pt x="1603" y="2608"/>
                </a:lnTo>
                <a:lnTo>
                  <a:pt x="1585" y="2578"/>
                </a:lnTo>
                <a:lnTo>
                  <a:pt x="1568" y="2547"/>
                </a:lnTo>
                <a:lnTo>
                  <a:pt x="1551" y="2516"/>
                </a:lnTo>
                <a:lnTo>
                  <a:pt x="1535" y="2484"/>
                </a:lnTo>
                <a:lnTo>
                  <a:pt x="1520" y="2452"/>
                </a:lnTo>
                <a:lnTo>
                  <a:pt x="1506" y="2420"/>
                </a:lnTo>
                <a:lnTo>
                  <a:pt x="1493" y="2388"/>
                </a:lnTo>
                <a:lnTo>
                  <a:pt x="1479" y="2356"/>
                </a:lnTo>
                <a:lnTo>
                  <a:pt x="1467" y="2324"/>
                </a:lnTo>
                <a:lnTo>
                  <a:pt x="1455" y="2291"/>
                </a:lnTo>
                <a:lnTo>
                  <a:pt x="1445" y="2258"/>
                </a:lnTo>
                <a:lnTo>
                  <a:pt x="1434" y="2225"/>
                </a:lnTo>
                <a:lnTo>
                  <a:pt x="1425" y="2191"/>
                </a:lnTo>
                <a:lnTo>
                  <a:pt x="1416" y="2157"/>
                </a:lnTo>
                <a:lnTo>
                  <a:pt x="1408" y="2123"/>
                </a:lnTo>
                <a:lnTo>
                  <a:pt x="1400" y="2089"/>
                </a:lnTo>
                <a:lnTo>
                  <a:pt x="1394" y="2054"/>
                </a:lnTo>
                <a:lnTo>
                  <a:pt x="1389" y="2018"/>
                </a:lnTo>
                <a:lnTo>
                  <a:pt x="1383" y="1983"/>
                </a:lnTo>
                <a:lnTo>
                  <a:pt x="1378" y="1948"/>
                </a:lnTo>
                <a:lnTo>
                  <a:pt x="1375" y="1912"/>
                </a:lnTo>
                <a:lnTo>
                  <a:pt x="1372" y="1876"/>
                </a:lnTo>
                <a:lnTo>
                  <a:pt x="1368" y="1840"/>
                </a:lnTo>
                <a:lnTo>
                  <a:pt x="1367" y="1804"/>
                </a:lnTo>
                <a:lnTo>
                  <a:pt x="1366" y="1767"/>
                </a:lnTo>
                <a:lnTo>
                  <a:pt x="1365" y="1729"/>
                </a:lnTo>
                <a:lnTo>
                  <a:pt x="1366" y="1686"/>
                </a:lnTo>
                <a:lnTo>
                  <a:pt x="1367" y="1641"/>
                </a:lnTo>
                <a:lnTo>
                  <a:pt x="1370" y="1598"/>
                </a:lnTo>
                <a:lnTo>
                  <a:pt x="1374" y="1555"/>
                </a:lnTo>
                <a:lnTo>
                  <a:pt x="1378" y="1511"/>
                </a:lnTo>
                <a:lnTo>
                  <a:pt x="1383" y="1469"/>
                </a:lnTo>
                <a:lnTo>
                  <a:pt x="1390" y="1427"/>
                </a:lnTo>
                <a:lnTo>
                  <a:pt x="1397" y="1386"/>
                </a:lnTo>
                <a:lnTo>
                  <a:pt x="1405" y="1345"/>
                </a:lnTo>
                <a:lnTo>
                  <a:pt x="1415" y="1304"/>
                </a:lnTo>
                <a:lnTo>
                  <a:pt x="1426" y="1264"/>
                </a:lnTo>
                <a:lnTo>
                  <a:pt x="1437" y="1223"/>
                </a:lnTo>
                <a:lnTo>
                  <a:pt x="1449" y="1184"/>
                </a:lnTo>
                <a:lnTo>
                  <a:pt x="1463" y="1145"/>
                </a:lnTo>
                <a:lnTo>
                  <a:pt x="1477" y="1106"/>
                </a:lnTo>
                <a:lnTo>
                  <a:pt x="1493" y="1068"/>
                </a:lnTo>
                <a:lnTo>
                  <a:pt x="1508" y="1030"/>
                </a:lnTo>
                <a:lnTo>
                  <a:pt x="1527" y="993"/>
                </a:lnTo>
                <a:lnTo>
                  <a:pt x="1545" y="955"/>
                </a:lnTo>
                <a:lnTo>
                  <a:pt x="1564" y="919"/>
                </a:lnTo>
                <a:lnTo>
                  <a:pt x="1585" y="883"/>
                </a:lnTo>
                <a:lnTo>
                  <a:pt x="1606" y="847"/>
                </a:lnTo>
                <a:lnTo>
                  <a:pt x="1628" y="811"/>
                </a:lnTo>
                <a:lnTo>
                  <a:pt x="1652" y="776"/>
                </a:lnTo>
                <a:lnTo>
                  <a:pt x="1676" y="742"/>
                </a:lnTo>
                <a:lnTo>
                  <a:pt x="1702" y="708"/>
                </a:lnTo>
                <a:lnTo>
                  <a:pt x="1728" y="674"/>
                </a:lnTo>
                <a:lnTo>
                  <a:pt x="1756" y="640"/>
                </a:lnTo>
                <a:lnTo>
                  <a:pt x="1783" y="607"/>
                </a:lnTo>
                <a:lnTo>
                  <a:pt x="1813" y="574"/>
                </a:lnTo>
                <a:lnTo>
                  <a:pt x="1844" y="542"/>
                </a:lnTo>
                <a:lnTo>
                  <a:pt x="1875" y="510"/>
                </a:lnTo>
                <a:lnTo>
                  <a:pt x="1907" y="478"/>
                </a:lnTo>
                <a:lnTo>
                  <a:pt x="1940" y="448"/>
                </a:lnTo>
                <a:lnTo>
                  <a:pt x="1971" y="419"/>
                </a:lnTo>
                <a:lnTo>
                  <a:pt x="2005" y="390"/>
                </a:lnTo>
                <a:lnTo>
                  <a:pt x="2038" y="362"/>
                </a:lnTo>
                <a:lnTo>
                  <a:pt x="2072" y="336"/>
                </a:lnTo>
                <a:lnTo>
                  <a:pt x="2106" y="311"/>
                </a:lnTo>
                <a:lnTo>
                  <a:pt x="2141" y="287"/>
                </a:lnTo>
                <a:lnTo>
                  <a:pt x="2176" y="263"/>
                </a:lnTo>
                <a:lnTo>
                  <a:pt x="2211" y="240"/>
                </a:lnTo>
                <a:lnTo>
                  <a:pt x="2247" y="219"/>
                </a:lnTo>
                <a:lnTo>
                  <a:pt x="2284" y="199"/>
                </a:lnTo>
                <a:lnTo>
                  <a:pt x="2320" y="179"/>
                </a:lnTo>
                <a:lnTo>
                  <a:pt x="2357" y="160"/>
                </a:lnTo>
                <a:lnTo>
                  <a:pt x="2395" y="143"/>
                </a:lnTo>
                <a:lnTo>
                  <a:pt x="2432" y="127"/>
                </a:lnTo>
                <a:lnTo>
                  <a:pt x="2470" y="111"/>
                </a:lnTo>
                <a:lnTo>
                  <a:pt x="2510" y="98"/>
                </a:lnTo>
                <a:lnTo>
                  <a:pt x="2549" y="84"/>
                </a:lnTo>
                <a:lnTo>
                  <a:pt x="2588" y="71"/>
                </a:lnTo>
                <a:lnTo>
                  <a:pt x="2628" y="60"/>
                </a:lnTo>
                <a:lnTo>
                  <a:pt x="2668" y="50"/>
                </a:lnTo>
                <a:lnTo>
                  <a:pt x="2709" y="40"/>
                </a:lnTo>
                <a:lnTo>
                  <a:pt x="2750" y="32"/>
                </a:lnTo>
                <a:lnTo>
                  <a:pt x="2791" y="24"/>
                </a:lnTo>
                <a:lnTo>
                  <a:pt x="2833" y="18"/>
                </a:lnTo>
                <a:lnTo>
                  <a:pt x="2876" y="13"/>
                </a:lnTo>
                <a:lnTo>
                  <a:pt x="2918" y="7"/>
                </a:lnTo>
                <a:lnTo>
                  <a:pt x="2962" y="4"/>
                </a:lnTo>
                <a:lnTo>
                  <a:pt x="3005" y="2"/>
                </a:lnTo>
                <a:lnTo>
                  <a:pt x="3049" y="1"/>
                </a:lnTo>
                <a:lnTo>
                  <a:pt x="3094" y="0"/>
                </a:lnTo>
                <a:lnTo>
                  <a:pt x="3138" y="1"/>
                </a:lnTo>
                <a:lnTo>
                  <a:pt x="3183" y="2"/>
                </a:lnTo>
                <a:lnTo>
                  <a:pt x="3226" y="4"/>
                </a:lnTo>
                <a:lnTo>
                  <a:pt x="3270" y="7"/>
                </a:lnTo>
                <a:lnTo>
                  <a:pt x="3312" y="13"/>
                </a:lnTo>
                <a:lnTo>
                  <a:pt x="3356" y="18"/>
                </a:lnTo>
                <a:lnTo>
                  <a:pt x="3397" y="24"/>
                </a:lnTo>
                <a:lnTo>
                  <a:pt x="3440" y="32"/>
                </a:lnTo>
                <a:lnTo>
                  <a:pt x="3481" y="40"/>
                </a:lnTo>
                <a:lnTo>
                  <a:pt x="3521" y="50"/>
                </a:lnTo>
                <a:lnTo>
                  <a:pt x="3563" y="60"/>
                </a:lnTo>
                <a:lnTo>
                  <a:pt x="3602" y="71"/>
                </a:lnTo>
                <a:lnTo>
                  <a:pt x="3643" y="84"/>
                </a:lnTo>
                <a:lnTo>
                  <a:pt x="3682" y="98"/>
                </a:lnTo>
                <a:lnTo>
                  <a:pt x="3721" y="111"/>
                </a:lnTo>
                <a:lnTo>
                  <a:pt x="3759" y="127"/>
                </a:lnTo>
                <a:lnTo>
                  <a:pt x="3798" y="143"/>
                </a:lnTo>
                <a:lnTo>
                  <a:pt x="3835" y="160"/>
                </a:lnTo>
                <a:lnTo>
                  <a:pt x="3873" y="179"/>
                </a:lnTo>
                <a:lnTo>
                  <a:pt x="3909" y="199"/>
                </a:lnTo>
                <a:lnTo>
                  <a:pt x="3946" y="219"/>
                </a:lnTo>
                <a:lnTo>
                  <a:pt x="3982" y="240"/>
                </a:lnTo>
                <a:lnTo>
                  <a:pt x="4017" y="263"/>
                </a:lnTo>
                <a:lnTo>
                  <a:pt x="4053" y="287"/>
                </a:lnTo>
                <a:lnTo>
                  <a:pt x="4088" y="311"/>
                </a:lnTo>
                <a:lnTo>
                  <a:pt x="4122" y="336"/>
                </a:lnTo>
                <a:lnTo>
                  <a:pt x="4156" y="362"/>
                </a:lnTo>
                <a:lnTo>
                  <a:pt x="4190" y="390"/>
                </a:lnTo>
                <a:lnTo>
                  <a:pt x="4223" y="419"/>
                </a:lnTo>
                <a:lnTo>
                  <a:pt x="4256" y="448"/>
                </a:lnTo>
                <a:lnTo>
                  <a:pt x="4289" y="478"/>
                </a:lnTo>
                <a:lnTo>
                  <a:pt x="4321" y="510"/>
                </a:lnTo>
                <a:lnTo>
                  <a:pt x="4353" y="542"/>
                </a:lnTo>
                <a:lnTo>
                  <a:pt x="4383" y="574"/>
                </a:lnTo>
                <a:lnTo>
                  <a:pt x="4412" y="607"/>
                </a:lnTo>
                <a:lnTo>
                  <a:pt x="4440" y="640"/>
                </a:lnTo>
                <a:lnTo>
                  <a:pt x="4467" y="674"/>
                </a:lnTo>
                <a:lnTo>
                  <a:pt x="4493" y="708"/>
                </a:lnTo>
                <a:lnTo>
                  <a:pt x="4518" y="742"/>
                </a:lnTo>
                <a:lnTo>
                  <a:pt x="4543" y="776"/>
                </a:lnTo>
                <a:lnTo>
                  <a:pt x="4566" y="811"/>
                </a:lnTo>
                <a:lnTo>
                  <a:pt x="4588" y="847"/>
                </a:lnTo>
                <a:lnTo>
                  <a:pt x="4610" y="883"/>
                </a:lnTo>
                <a:lnTo>
                  <a:pt x="4630" y="919"/>
                </a:lnTo>
                <a:lnTo>
                  <a:pt x="4649" y="955"/>
                </a:lnTo>
                <a:lnTo>
                  <a:pt x="4667" y="993"/>
                </a:lnTo>
                <a:lnTo>
                  <a:pt x="4685" y="1030"/>
                </a:lnTo>
                <a:lnTo>
                  <a:pt x="4701" y="1068"/>
                </a:lnTo>
                <a:lnTo>
                  <a:pt x="4716" y="1106"/>
                </a:lnTo>
                <a:lnTo>
                  <a:pt x="4731" y="1145"/>
                </a:lnTo>
                <a:lnTo>
                  <a:pt x="4745" y="1184"/>
                </a:lnTo>
                <a:lnTo>
                  <a:pt x="4756" y="1223"/>
                </a:lnTo>
                <a:lnTo>
                  <a:pt x="4768" y="1264"/>
                </a:lnTo>
                <a:lnTo>
                  <a:pt x="4779" y="1304"/>
                </a:lnTo>
                <a:lnTo>
                  <a:pt x="4788" y="1345"/>
                </a:lnTo>
                <a:lnTo>
                  <a:pt x="4797" y="1386"/>
                </a:lnTo>
                <a:lnTo>
                  <a:pt x="4803" y="1427"/>
                </a:lnTo>
                <a:lnTo>
                  <a:pt x="4810" y="1469"/>
                </a:lnTo>
                <a:lnTo>
                  <a:pt x="4816" y="1511"/>
                </a:lnTo>
                <a:lnTo>
                  <a:pt x="4820" y="1555"/>
                </a:lnTo>
                <a:lnTo>
                  <a:pt x="4823" y="1598"/>
                </a:lnTo>
                <a:lnTo>
                  <a:pt x="4825" y="1641"/>
                </a:lnTo>
                <a:lnTo>
                  <a:pt x="4827" y="1686"/>
                </a:lnTo>
                <a:lnTo>
                  <a:pt x="4827" y="1729"/>
                </a:lnTo>
                <a:lnTo>
                  <a:pt x="4827" y="1768"/>
                </a:lnTo>
                <a:lnTo>
                  <a:pt x="4826" y="1806"/>
                </a:lnTo>
                <a:lnTo>
                  <a:pt x="4824" y="1843"/>
                </a:lnTo>
                <a:lnTo>
                  <a:pt x="4822" y="1880"/>
                </a:lnTo>
                <a:lnTo>
                  <a:pt x="4818" y="1917"/>
                </a:lnTo>
                <a:lnTo>
                  <a:pt x="4814" y="1954"/>
                </a:lnTo>
                <a:lnTo>
                  <a:pt x="4808" y="1990"/>
                </a:lnTo>
                <a:lnTo>
                  <a:pt x="4803" y="2027"/>
                </a:lnTo>
                <a:lnTo>
                  <a:pt x="4797" y="2062"/>
                </a:lnTo>
                <a:lnTo>
                  <a:pt x="4789" y="2098"/>
                </a:lnTo>
                <a:lnTo>
                  <a:pt x="4781" y="2134"/>
                </a:lnTo>
                <a:lnTo>
                  <a:pt x="4772" y="2169"/>
                </a:lnTo>
                <a:lnTo>
                  <a:pt x="4763" y="2204"/>
                </a:lnTo>
                <a:lnTo>
                  <a:pt x="4752" y="2240"/>
                </a:lnTo>
                <a:lnTo>
                  <a:pt x="4740" y="2274"/>
                </a:lnTo>
                <a:lnTo>
                  <a:pt x="4729" y="2308"/>
                </a:lnTo>
                <a:lnTo>
                  <a:pt x="4716" y="2342"/>
                </a:lnTo>
                <a:lnTo>
                  <a:pt x="4702" y="2376"/>
                </a:lnTo>
                <a:lnTo>
                  <a:pt x="4688" y="2410"/>
                </a:lnTo>
                <a:lnTo>
                  <a:pt x="4673" y="2443"/>
                </a:lnTo>
                <a:lnTo>
                  <a:pt x="4657" y="2476"/>
                </a:lnTo>
                <a:lnTo>
                  <a:pt x="4641" y="2508"/>
                </a:lnTo>
                <a:lnTo>
                  <a:pt x="4624" y="2541"/>
                </a:lnTo>
                <a:lnTo>
                  <a:pt x="4605" y="2573"/>
                </a:lnTo>
                <a:lnTo>
                  <a:pt x="4586" y="2606"/>
                </a:lnTo>
                <a:lnTo>
                  <a:pt x="4566" y="2638"/>
                </a:lnTo>
                <a:lnTo>
                  <a:pt x="4546" y="2669"/>
                </a:lnTo>
                <a:lnTo>
                  <a:pt x="4525" y="2701"/>
                </a:lnTo>
                <a:lnTo>
                  <a:pt x="4502" y="2732"/>
                </a:lnTo>
                <a:lnTo>
                  <a:pt x="4480" y="2763"/>
                </a:lnTo>
                <a:lnTo>
                  <a:pt x="4456" y="2793"/>
                </a:lnTo>
                <a:lnTo>
                  <a:pt x="4431" y="2824"/>
                </a:lnTo>
                <a:lnTo>
                  <a:pt x="4407" y="2853"/>
                </a:lnTo>
                <a:lnTo>
                  <a:pt x="4381" y="2883"/>
                </a:lnTo>
                <a:lnTo>
                  <a:pt x="4356" y="2910"/>
                </a:lnTo>
                <a:lnTo>
                  <a:pt x="4329" y="2938"/>
                </a:lnTo>
                <a:lnTo>
                  <a:pt x="4303" y="2965"/>
                </a:lnTo>
                <a:lnTo>
                  <a:pt x="4276" y="2991"/>
                </a:lnTo>
                <a:lnTo>
                  <a:pt x="4249" y="3017"/>
                </a:lnTo>
                <a:lnTo>
                  <a:pt x="4220" y="3041"/>
                </a:lnTo>
                <a:lnTo>
                  <a:pt x="4192" y="3066"/>
                </a:lnTo>
                <a:lnTo>
                  <a:pt x="4164" y="3089"/>
                </a:lnTo>
                <a:lnTo>
                  <a:pt x="4134" y="3112"/>
                </a:lnTo>
                <a:lnTo>
                  <a:pt x="4105" y="3134"/>
                </a:lnTo>
                <a:lnTo>
                  <a:pt x="4075" y="3155"/>
                </a:lnTo>
                <a:lnTo>
                  <a:pt x="4045" y="3176"/>
                </a:lnTo>
                <a:lnTo>
                  <a:pt x="4014" y="3196"/>
                </a:lnTo>
                <a:lnTo>
                  <a:pt x="3982" y="3215"/>
                </a:lnTo>
                <a:lnTo>
                  <a:pt x="3950" y="3233"/>
                </a:lnTo>
                <a:lnTo>
                  <a:pt x="3919" y="3252"/>
                </a:lnTo>
                <a:lnTo>
                  <a:pt x="3887" y="3269"/>
                </a:lnTo>
                <a:lnTo>
                  <a:pt x="3854" y="3286"/>
                </a:lnTo>
                <a:lnTo>
                  <a:pt x="3820" y="3301"/>
                </a:lnTo>
                <a:lnTo>
                  <a:pt x="3786" y="3316"/>
                </a:lnTo>
                <a:lnTo>
                  <a:pt x="3752" y="3331"/>
                </a:lnTo>
                <a:lnTo>
                  <a:pt x="3718" y="3344"/>
                </a:lnTo>
                <a:lnTo>
                  <a:pt x="3683" y="3358"/>
                </a:lnTo>
                <a:lnTo>
                  <a:pt x="3647" y="3370"/>
                </a:lnTo>
                <a:lnTo>
                  <a:pt x="3611" y="3381"/>
                </a:lnTo>
                <a:lnTo>
                  <a:pt x="3575" y="3393"/>
                </a:lnTo>
                <a:lnTo>
                  <a:pt x="3538" y="3402"/>
                </a:lnTo>
                <a:lnTo>
                  <a:pt x="3500" y="3412"/>
                </a:lnTo>
                <a:lnTo>
                  <a:pt x="3463" y="3421"/>
                </a:lnTo>
                <a:lnTo>
                  <a:pt x="3425" y="3429"/>
                </a:lnTo>
                <a:lnTo>
                  <a:pt x="3438" y="3443"/>
                </a:lnTo>
                <a:lnTo>
                  <a:pt x="3449" y="3456"/>
                </a:lnTo>
                <a:lnTo>
                  <a:pt x="3459" y="3468"/>
                </a:lnTo>
                <a:lnTo>
                  <a:pt x="3466" y="3480"/>
                </a:lnTo>
                <a:lnTo>
                  <a:pt x="3473" y="3491"/>
                </a:lnTo>
                <a:lnTo>
                  <a:pt x="3477" y="3501"/>
                </a:lnTo>
                <a:lnTo>
                  <a:pt x="3479" y="3512"/>
                </a:lnTo>
                <a:lnTo>
                  <a:pt x="3480" y="3522"/>
                </a:lnTo>
                <a:close/>
              </a:path>
            </a:pathLst>
          </a:custGeom>
          <a:solidFill>
            <a:schemeClr val="accent2"/>
          </a:solidFill>
          <a:ln w="9525">
            <a:noFill/>
            <a:round/>
            <a:headEnd/>
            <a:tailEnd/>
          </a:ln>
        </p:spPr>
        <p:txBody>
          <a:bodyPr/>
          <a:lstStyle/>
          <a:p>
            <a:pPr marL="0" marR="0" lvl="0" indent="0" algn="l" defTabSz="674255" rtl="0" eaLnBrk="1" fontAlgn="auto" latinLnBrk="0" hangingPunct="1">
              <a:lnSpc>
                <a:spcPct val="100000"/>
              </a:lnSpc>
              <a:spcBef>
                <a:spcPts val="0"/>
              </a:spcBef>
              <a:spcAft>
                <a:spcPts val="0"/>
              </a:spcAft>
              <a:buClrTx/>
              <a:buSzTx/>
              <a:buFontTx/>
              <a:buNone/>
              <a:tabLst/>
              <a:defRPr/>
            </a:pPr>
            <a:endParaRPr kumimoji="0" lang="en-GB" sz="1589"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5" name="Rounded Rectangle 11">
            <a:extLst>
              <a:ext uri="{FF2B5EF4-FFF2-40B4-BE49-F238E27FC236}">
                <a16:creationId xmlns:a16="http://schemas.microsoft.com/office/drawing/2014/main" id="{7FFCE95C-4CBB-41FE-856D-92A569F973E8}"/>
              </a:ext>
            </a:extLst>
          </p:cNvPr>
          <p:cNvSpPr/>
          <p:nvPr/>
        </p:nvSpPr>
        <p:spPr>
          <a:xfrm>
            <a:off x="8060712" y="4063959"/>
            <a:ext cx="2397100" cy="1569093"/>
          </a:xfrm>
          <a:prstGeom prst="roundRect">
            <a:avLst>
              <a:gd name="adj" fmla="val 5780"/>
            </a:avLst>
          </a:prstGeom>
          <a:solidFill>
            <a:srgbClr val="FFFFFF">
              <a:alpha val="80000"/>
            </a:srgb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6" name="Freeform 13">
            <a:extLst>
              <a:ext uri="{FF2B5EF4-FFF2-40B4-BE49-F238E27FC236}">
                <a16:creationId xmlns:a16="http://schemas.microsoft.com/office/drawing/2014/main" id="{1AB40A15-8444-4863-AAEE-C5D16B6B9D73}"/>
              </a:ext>
            </a:extLst>
          </p:cNvPr>
          <p:cNvSpPr>
            <a:spLocks/>
          </p:cNvSpPr>
          <p:nvPr/>
        </p:nvSpPr>
        <p:spPr bwMode="auto">
          <a:xfrm>
            <a:off x="8894337" y="4857075"/>
            <a:ext cx="197037" cy="470851"/>
          </a:xfrm>
          <a:custGeom>
            <a:avLst/>
            <a:gdLst>
              <a:gd name="T0" fmla="*/ 13344091 w 6132"/>
              <a:gd name="T1" fmla="*/ 10441401 h 16980"/>
              <a:gd name="T2" fmla="*/ 14439013 w 6132"/>
              <a:gd name="T3" fmla="*/ 10808942 h 16980"/>
              <a:gd name="T4" fmla="*/ 15478309 w 6132"/>
              <a:gd name="T5" fmla="*/ 11467619 h 16980"/>
              <a:gd name="T6" fmla="*/ 16450295 w 6132"/>
              <a:gd name="T7" fmla="*/ 12408541 h 16980"/>
              <a:gd name="T8" fmla="*/ 17214401 w 6132"/>
              <a:gd name="T9" fmla="*/ 13481773 h 16980"/>
              <a:gd name="T10" fmla="*/ 17709159 w 6132"/>
              <a:gd name="T11" fmla="*/ 14605004 h 16980"/>
              <a:gd name="T12" fmla="*/ 17937493 w 6132"/>
              <a:gd name="T13" fmla="*/ 15789994 h 16980"/>
              <a:gd name="T14" fmla="*/ 17922884 w 6132"/>
              <a:gd name="T15" fmla="*/ 28795453 h 16980"/>
              <a:gd name="T16" fmla="*/ 17720901 w 6132"/>
              <a:gd name="T17" fmla="*/ 29724608 h 16980"/>
              <a:gd name="T18" fmla="*/ 17322724 w 6132"/>
              <a:gd name="T19" fmla="*/ 30571448 h 16980"/>
              <a:gd name="T20" fmla="*/ 16731329 w 6132"/>
              <a:gd name="T21" fmla="*/ 31344758 h 16980"/>
              <a:gd name="T22" fmla="*/ 15970146 w 6132"/>
              <a:gd name="T23" fmla="*/ 32000508 h 16980"/>
              <a:gd name="T24" fmla="*/ 15062602 w 6132"/>
              <a:gd name="T25" fmla="*/ 32509198 h 16980"/>
              <a:gd name="T26" fmla="*/ 14014483 w 6132"/>
              <a:gd name="T27" fmla="*/ 32867899 h 16980"/>
              <a:gd name="T28" fmla="*/ 4168927 w 6132"/>
              <a:gd name="T29" fmla="*/ 32935519 h 16980"/>
              <a:gd name="T30" fmla="*/ 3003722 w 6132"/>
              <a:gd name="T31" fmla="*/ 32515054 h 16980"/>
              <a:gd name="T32" fmla="*/ 2104943 w 6132"/>
              <a:gd name="T33" fmla="*/ 32053432 h 16980"/>
              <a:gd name="T34" fmla="*/ 1334994 w 6132"/>
              <a:gd name="T35" fmla="*/ 31503585 h 16980"/>
              <a:gd name="T36" fmla="*/ 723146 w 6132"/>
              <a:gd name="T37" fmla="*/ 30883136 h 16980"/>
              <a:gd name="T38" fmla="*/ 295697 w 6132"/>
              <a:gd name="T39" fmla="*/ 30230369 h 16980"/>
              <a:gd name="T40" fmla="*/ 55622 w 6132"/>
              <a:gd name="T41" fmla="*/ 29542302 h 16980"/>
              <a:gd name="T42" fmla="*/ 2922 w 6132"/>
              <a:gd name="T43" fmla="*/ 16034064 h 16980"/>
              <a:gd name="T44" fmla="*/ 166867 w 6132"/>
              <a:gd name="T45" fmla="*/ 14637376 h 16980"/>
              <a:gd name="T46" fmla="*/ 608925 w 6132"/>
              <a:gd name="T47" fmla="*/ 13408297 h 16980"/>
              <a:gd name="T48" fmla="*/ 1326228 w 6132"/>
              <a:gd name="T49" fmla="*/ 12352689 h 16980"/>
              <a:gd name="T50" fmla="*/ 2309902 w 6132"/>
              <a:gd name="T51" fmla="*/ 11479386 h 16980"/>
              <a:gd name="T52" fmla="*/ 3495559 w 6132"/>
              <a:gd name="T53" fmla="*/ 10853081 h 16980"/>
              <a:gd name="T54" fmla="*/ 4889097 w 6132"/>
              <a:gd name="T55" fmla="*/ 10479630 h 16980"/>
              <a:gd name="T56" fmla="*/ 6475906 w 6132"/>
              <a:gd name="T57" fmla="*/ 10356104 h 16980"/>
              <a:gd name="T58" fmla="*/ 6768627 w 6132"/>
              <a:gd name="T59" fmla="*/ 10332625 h 16980"/>
              <a:gd name="T60" fmla="*/ 7661564 w 6132"/>
              <a:gd name="T61" fmla="*/ 10323786 h 16980"/>
              <a:gd name="T62" fmla="*/ 7863602 w 6132"/>
              <a:gd name="T63" fmla="*/ 10085627 h 16980"/>
              <a:gd name="T64" fmla="*/ 7032131 w 6132"/>
              <a:gd name="T65" fmla="*/ 9768029 h 16980"/>
              <a:gd name="T66" fmla="*/ 6197794 w 6132"/>
              <a:gd name="T67" fmla="*/ 9285801 h 16980"/>
              <a:gd name="T68" fmla="*/ 5471726 w 6132"/>
              <a:gd name="T69" fmla="*/ 8674191 h 16980"/>
              <a:gd name="T70" fmla="*/ 4859825 w 6132"/>
              <a:gd name="T71" fmla="*/ 7936181 h 16980"/>
              <a:gd name="T72" fmla="*/ 4409002 w 6132"/>
              <a:gd name="T73" fmla="*/ 7115803 h 16980"/>
              <a:gd name="T74" fmla="*/ 4122070 w 6132"/>
              <a:gd name="T75" fmla="*/ 6242499 h 16980"/>
              <a:gd name="T76" fmla="*/ 4002059 w 6132"/>
              <a:gd name="T77" fmla="*/ 5304506 h 16980"/>
              <a:gd name="T78" fmla="*/ 4069369 w 6132"/>
              <a:gd name="T79" fmla="*/ 4195974 h 16980"/>
              <a:gd name="T80" fmla="*/ 4370910 w 6132"/>
              <a:gd name="T81" fmla="*/ 3140364 h 16980"/>
              <a:gd name="T82" fmla="*/ 4906682 w 6132"/>
              <a:gd name="T83" fmla="*/ 2181765 h 16980"/>
              <a:gd name="T84" fmla="*/ 5679553 w 6132"/>
              <a:gd name="T85" fmla="*/ 1317301 h 16980"/>
              <a:gd name="T86" fmla="*/ 6578332 w 6132"/>
              <a:gd name="T87" fmla="*/ 643928 h 16980"/>
              <a:gd name="T88" fmla="*/ 7576670 w 6132"/>
              <a:gd name="T89" fmla="*/ 208768 h 16980"/>
              <a:gd name="T90" fmla="*/ 8671588 w 6132"/>
              <a:gd name="T91" fmla="*/ 11767 h 16980"/>
              <a:gd name="T92" fmla="*/ 9825105 w 6132"/>
              <a:gd name="T93" fmla="*/ 52924 h 16980"/>
              <a:gd name="T94" fmla="*/ 10893673 w 6132"/>
              <a:gd name="T95" fmla="*/ 326384 h 16980"/>
              <a:gd name="T96" fmla="*/ 11865659 w 6132"/>
              <a:gd name="T97" fmla="*/ 843912 h 16980"/>
              <a:gd name="T98" fmla="*/ 12743931 w 6132"/>
              <a:gd name="T99" fmla="*/ 1593689 h 16980"/>
              <a:gd name="T100" fmla="*/ 13431908 w 6132"/>
              <a:gd name="T101" fmla="*/ 2490525 h 16980"/>
              <a:gd name="T102" fmla="*/ 13891551 w 6132"/>
              <a:gd name="T103" fmla="*/ 3481443 h 16980"/>
              <a:gd name="T104" fmla="*/ 14111119 w 6132"/>
              <a:gd name="T105" fmla="*/ 4572353 h 16980"/>
              <a:gd name="T106" fmla="*/ 14105275 w 6132"/>
              <a:gd name="T107" fmla="*/ 5636746 h 16980"/>
              <a:gd name="T108" fmla="*/ 13912057 w 6132"/>
              <a:gd name="T109" fmla="*/ 6586506 h 16980"/>
              <a:gd name="T110" fmla="*/ 13537309 w 6132"/>
              <a:gd name="T111" fmla="*/ 7471577 h 16980"/>
              <a:gd name="T112" fmla="*/ 12972265 w 6132"/>
              <a:gd name="T113" fmla="*/ 8303722 h 16980"/>
              <a:gd name="T114" fmla="*/ 12272601 w 6132"/>
              <a:gd name="T115" fmla="*/ 9015324 h 16980"/>
              <a:gd name="T116" fmla="*/ 11473326 w 6132"/>
              <a:gd name="T117" fmla="*/ 9562188 h 16980"/>
              <a:gd name="T118" fmla="*/ 10571626 w 6132"/>
              <a:gd name="T119" fmla="*/ 9941550 h 16980"/>
              <a:gd name="T120" fmla="*/ 10147098 w 6132"/>
              <a:gd name="T121" fmla="*/ 10232633 h 1698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6132"/>
              <a:gd name="T184" fmla="*/ 0 h 16980"/>
              <a:gd name="T185" fmla="*/ 6132 w 6132"/>
              <a:gd name="T186" fmla="*/ 16980 h 16980"/>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6132" h="16980">
                <a:moveTo>
                  <a:pt x="3480" y="3522"/>
                </a:moveTo>
                <a:lnTo>
                  <a:pt x="4254" y="3522"/>
                </a:lnTo>
                <a:lnTo>
                  <a:pt x="4298" y="3522"/>
                </a:lnTo>
                <a:lnTo>
                  <a:pt x="4342" y="3524"/>
                </a:lnTo>
                <a:lnTo>
                  <a:pt x="4386" y="3527"/>
                </a:lnTo>
                <a:lnTo>
                  <a:pt x="4429" y="3531"/>
                </a:lnTo>
                <a:lnTo>
                  <a:pt x="4473" y="3536"/>
                </a:lnTo>
                <a:lnTo>
                  <a:pt x="4515" y="3543"/>
                </a:lnTo>
                <a:lnTo>
                  <a:pt x="4558" y="3551"/>
                </a:lnTo>
                <a:lnTo>
                  <a:pt x="4601" y="3560"/>
                </a:lnTo>
                <a:lnTo>
                  <a:pt x="4643" y="3570"/>
                </a:lnTo>
                <a:lnTo>
                  <a:pt x="4685" y="3582"/>
                </a:lnTo>
                <a:lnTo>
                  <a:pt x="4727" y="3595"/>
                </a:lnTo>
                <a:lnTo>
                  <a:pt x="4769" y="3609"/>
                </a:lnTo>
                <a:lnTo>
                  <a:pt x="4809" y="3624"/>
                </a:lnTo>
                <a:lnTo>
                  <a:pt x="4851" y="3640"/>
                </a:lnTo>
                <a:lnTo>
                  <a:pt x="4892" y="3658"/>
                </a:lnTo>
                <a:lnTo>
                  <a:pt x="4932" y="3676"/>
                </a:lnTo>
                <a:lnTo>
                  <a:pt x="4973" y="3696"/>
                </a:lnTo>
                <a:lnTo>
                  <a:pt x="5013" y="3717"/>
                </a:lnTo>
                <a:lnTo>
                  <a:pt x="5052" y="3739"/>
                </a:lnTo>
                <a:lnTo>
                  <a:pt x="5093" y="3763"/>
                </a:lnTo>
                <a:lnTo>
                  <a:pt x="5132" y="3788"/>
                </a:lnTo>
                <a:lnTo>
                  <a:pt x="5171" y="3814"/>
                </a:lnTo>
                <a:lnTo>
                  <a:pt x="5210" y="3842"/>
                </a:lnTo>
                <a:lnTo>
                  <a:pt x="5249" y="3870"/>
                </a:lnTo>
                <a:lnTo>
                  <a:pt x="5287" y="3900"/>
                </a:lnTo>
                <a:lnTo>
                  <a:pt x="5325" y="3931"/>
                </a:lnTo>
                <a:lnTo>
                  <a:pt x="5364" y="3963"/>
                </a:lnTo>
                <a:lnTo>
                  <a:pt x="5401" y="3997"/>
                </a:lnTo>
                <a:lnTo>
                  <a:pt x="5438" y="4031"/>
                </a:lnTo>
                <a:lnTo>
                  <a:pt x="5475" y="4067"/>
                </a:lnTo>
                <a:lnTo>
                  <a:pt x="5512" y="4104"/>
                </a:lnTo>
                <a:lnTo>
                  <a:pt x="5549" y="4142"/>
                </a:lnTo>
                <a:lnTo>
                  <a:pt x="5584" y="4181"/>
                </a:lnTo>
                <a:lnTo>
                  <a:pt x="5619" y="4220"/>
                </a:lnTo>
                <a:lnTo>
                  <a:pt x="5652" y="4260"/>
                </a:lnTo>
                <a:lnTo>
                  <a:pt x="5685" y="4300"/>
                </a:lnTo>
                <a:lnTo>
                  <a:pt x="5716" y="4339"/>
                </a:lnTo>
                <a:lnTo>
                  <a:pt x="5747" y="4379"/>
                </a:lnTo>
                <a:lnTo>
                  <a:pt x="5775" y="4420"/>
                </a:lnTo>
                <a:lnTo>
                  <a:pt x="5803" y="4460"/>
                </a:lnTo>
                <a:lnTo>
                  <a:pt x="5830" y="4502"/>
                </a:lnTo>
                <a:lnTo>
                  <a:pt x="5855" y="4543"/>
                </a:lnTo>
                <a:lnTo>
                  <a:pt x="5880" y="4585"/>
                </a:lnTo>
                <a:lnTo>
                  <a:pt x="5904" y="4626"/>
                </a:lnTo>
                <a:lnTo>
                  <a:pt x="5925" y="4667"/>
                </a:lnTo>
                <a:lnTo>
                  <a:pt x="5946" y="4710"/>
                </a:lnTo>
                <a:lnTo>
                  <a:pt x="5967" y="4752"/>
                </a:lnTo>
                <a:lnTo>
                  <a:pt x="5986" y="4795"/>
                </a:lnTo>
                <a:lnTo>
                  <a:pt x="6004" y="4838"/>
                </a:lnTo>
                <a:lnTo>
                  <a:pt x="6020" y="4880"/>
                </a:lnTo>
                <a:lnTo>
                  <a:pt x="6036" y="4924"/>
                </a:lnTo>
                <a:lnTo>
                  <a:pt x="6049" y="4967"/>
                </a:lnTo>
                <a:lnTo>
                  <a:pt x="6063" y="5011"/>
                </a:lnTo>
                <a:lnTo>
                  <a:pt x="6075" y="5055"/>
                </a:lnTo>
                <a:lnTo>
                  <a:pt x="6085" y="5100"/>
                </a:lnTo>
                <a:lnTo>
                  <a:pt x="6095" y="5144"/>
                </a:lnTo>
                <a:lnTo>
                  <a:pt x="6104" y="5189"/>
                </a:lnTo>
                <a:lnTo>
                  <a:pt x="6111" y="5234"/>
                </a:lnTo>
                <a:lnTo>
                  <a:pt x="6117" y="5280"/>
                </a:lnTo>
                <a:lnTo>
                  <a:pt x="6123" y="5324"/>
                </a:lnTo>
                <a:lnTo>
                  <a:pt x="6127" y="5370"/>
                </a:lnTo>
                <a:lnTo>
                  <a:pt x="6130" y="5417"/>
                </a:lnTo>
                <a:lnTo>
                  <a:pt x="6131" y="5463"/>
                </a:lnTo>
                <a:lnTo>
                  <a:pt x="6132" y="5509"/>
                </a:lnTo>
                <a:lnTo>
                  <a:pt x="6132" y="9605"/>
                </a:lnTo>
                <a:lnTo>
                  <a:pt x="6132" y="9643"/>
                </a:lnTo>
                <a:lnTo>
                  <a:pt x="6130" y="9682"/>
                </a:lnTo>
                <a:lnTo>
                  <a:pt x="6129" y="9719"/>
                </a:lnTo>
                <a:lnTo>
                  <a:pt x="6126" y="9756"/>
                </a:lnTo>
                <a:lnTo>
                  <a:pt x="6122" y="9793"/>
                </a:lnTo>
                <a:lnTo>
                  <a:pt x="6117" y="9829"/>
                </a:lnTo>
                <a:lnTo>
                  <a:pt x="6112" y="9866"/>
                </a:lnTo>
                <a:lnTo>
                  <a:pt x="6107" y="9901"/>
                </a:lnTo>
                <a:lnTo>
                  <a:pt x="6099" y="9937"/>
                </a:lnTo>
                <a:lnTo>
                  <a:pt x="6092" y="9972"/>
                </a:lnTo>
                <a:lnTo>
                  <a:pt x="6083" y="10007"/>
                </a:lnTo>
                <a:lnTo>
                  <a:pt x="6074" y="10041"/>
                </a:lnTo>
                <a:lnTo>
                  <a:pt x="6063" y="10075"/>
                </a:lnTo>
                <a:lnTo>
                  <a:pt x="6053" y="10109"/>
                </a:lnTo>
                <a:lnTo>
                  <a:pt x="6041" y="10142"/>
                </a:lnTo>
                <a:lnTo>
                  <a:pt x="6028" y="10175"/>
                </a:lnTo>
                <a:lnTo>
                  <a:pt x="6014" y="10208"/>
                </a:lnTo>
                <a:lnTo>
                  <a:pt x="6001" y="10241"/>
                </a:lnTo>
                <a:lnTo>
                  <a:pt x="5986" y="10273"/>
                </a:lnTo>
                <a:lnTo>
                  <a:pt x="5970" y="10305"/>
                </a:lnTo>
                <a:lnTo>
                  <a:pt x="5953" y="10335"/>
                </a:lnTo>
                <a:lnTo>
                  <a:pt x="5935" y="10366"/>
                </a:lnTo>
                <a:lnTo>
                  <a:pt x="5917" y="10397"/>
                </a:lnTo>
                <a:lnTo>
                  <a:pt x="5898" y="10428"/>
                </a:lnTo>
                <a:lnTo>
                  <a:pt x="5877" y="10458"/>
                </a:lnTo>
                <a:lnTo>
                  <a:pt x="5857" y="10487"/>
                </a:lnTo>
                <a:lnTo>
                  <a:pt x="5835" y="10517"/>
                </a:lnTo>
                <a:lnTo>
                  <a:pt x="5813" y="10546"/>
                </a:lnTo>
                <a:lnTo>
                  <a:pt x="5789" y="10575"/>
                </a:lnTo>
                <a:lnTo>
                  <a:pt x="5766" y="10603"/>
                </a:lnTo>
                <a:lnTo>
                  <a:pt x="5740" y="10632"/>
                </a:lnTo>
                <a:lnTo>
                  <a:pt x="5715" y="10660"/>
                </a:lnTo>
                <a:lnTo>
                  <a:pt x="5688" y="10687"/>
                </a:lnTo>
                <a:lnTo>
                  <a:pt x="5661" y="10714"/>
                </a:lnTo>
                <a:lnTo>
                  <a:pt x="5633" y="10739"/>
                </a:lnTo>
                <a:lnTo>
                  <a:pt x="5606" y="10765"/>
                </a:lnTo>
                <a:lnTo>
                  <a:pt x="5576" y="10790"/>
                </a:lnTo>
                <a:lnTo>
                  <a:pt x="5546" y="10814"/>
                </a:lnTo>
                <a:lnTo>
                  <a:pt x="5516" y="10838"/>
                </a:lnTo>
                <a:lnTo>
                  <a:pt x="5486" y="10860"/>
                </a:lnTo>
                <a:lnTo>
                  <a:pt x="5455" y="10883"/>
                </a:lnTo>
                <a:lnTo>
                  <a:pt x="5422" y="10905"/>
                </a:lnTo>
                <a:lnTo>
                  <a:pt x="5390" y="10925"/>
                </a:lnTo>
                <a:lnTo>
                  <a:pt x="5357" y="10947"/>
                </a:lnTo>
                <a:lnTo>
                  <a:pt x="5323" y="10966"/>
                </a:lnTo>
                <a:lnTo>
                  <a:pt x="5288" y="10985"/>
                </a:lnTo>
                <a:lnTo>
                  <a:pt x="5253" y="11004"/>
                </a:lnTo>
                <a:lnTo>
                  <a:pt x="5218" y="11022"/>
                </a:lnTo>
                <a:lnTo>
                  <a:pt x="5182" y="11039"/>
                </a:lnTo>
                <a:lnTo>
                  <a:pt x="5145" y="11056"/>
                </a:lnTo>
                <a:lnTo>
                  <a:pt x="5108" y="11072"/>
                </a:lnTo>
                <a:lnTo>
                  <a:pt x="5069" y="11087"/>
                </a:lnTo>
                <a:lnTo>
                  <a:pt x="5031" y="11102"/>
                </a:lnTo>
                <a:lnTo>
                  <a:pt x="4992" y="11117"/>
                </a:lnTo>
                <a:lnTo>
                  <a:pt x="4952" y="11130"/>
                </a:lnTo>
                <a:lnTo>
                  <a:pt x="4911" y="11143"/>
                </a:lnTo>
                <a:lnTo>
                  <a:pt x="4871" y="11155"/>
                </a:lnTo>
                <a:lnTo>
                  <a:pt x="4828" y="11167"/>
                </a:lnTo>
                <a:lnTo>
                  <a:pt x="4787" y="11178"/>
                </a:lnTo>
                <a:lnTo>
                  <a:pt x="4743" y="11189"/>
                </a:lnTo>
                <a:lnTo>
                  <a:pt x="4701" y="11199"/>
                </a:lnTo>
                <a:lnTo>
                  <a:pt x="4656" y="11208"/>
                </a:lnTo>
                <a:lnTo>
                  <a:pt x="4612" y="11217"/>
                </a:lnTo>
                <a:lnTo>
                  <a:pt x="4567" y="11225"/>
                </a:lnTo>
                <a:lnTo>
                  <a:pt x="4567" y="16980"/>
                </a:lnTo>
                <a:lnTo>
                  <a:pt x="1510" y="16980"/>
                </a:lnTo>
                <a:lnTo>
                  <a:pt x="1510" y="11225"/>
                </a:lnTo>
                <a:lnTo>
                  <a:pt x="1424" y="11201"/>
                </a:lnTo>
                <a:lnTo>
                  <a:pt x="1340" y="11175"/>
                </a:lnTo>
                <a:lnTo>
                  <a:pt x="1298" y="11161"/>
                </a:lnTo>
                <a:lnTo>
                  <a:pt x="1258" y="11148"/>
                </a:lnTo>
                <a:lnTo>
                  <a:pt x="1218" y="11134"/>
                </a:lnTo>
                <a:lnTo>
                  <a:pt x="1178" y="11120"/>
                </a:lnTo>
                <a:lnTo>
                  <a:pt x="1139" y="11105"/>
                </a:lnTo>
                <a:lnTo>
                  <a:pt x="1101" y="11089"/>
                </a:lnTo>
                <a:lnTo>
                  <a:pt x="1064" y="11074"/>
                </a:lnTo>
                <a:lnTo>
                  <a:pt x="1026" y="11058"/>
                </a:lnTo>
                <a:lnTo>
                  <a:pt x="990" y="11042"/>
                </a:lnTo>
                <a:lnTo>
                  <a:pt x="954" y="11025"/>
                </a:lnTo>
                <a:lnTo>
                  <a:pt x="918" y="11009"/>
                </a:lnTo>
                <a:lnTo>
                  <a:pt x="884" y="10991"/>
                </a:lnTo>
                <a:lnTo>
                  <a:pt x="849" y="10974"/>
                </a:lnTo>
                <a:lnTo>
                  <a:pt x="816" y="10956"/>
                </a:lnTo>
                <a:lnTo>
                  <a:pt x="782" y="10938"/>
                </a:lnTo>
                <a:lnTo>
                  <a:pt x="750" y="10920"/>
                </a:lnTo>
                <a:lnTo>
                  <a:pt x="719" y="10901"/>
                </a:lnTo>
                <a:lnTo>
                  <a:pt x="687" y="10882"/>
                </a:lnTo>
                <a:lnTo>
                  <a:pt x="656" y="10862"/>
                </a:lnTo>
                <a:lnTo>
                  <a:pt x="626" y="10841"/>
                </a:lnTo>
                <a:lnTo>
                  <a:pt x="596" y="10821"/>
                </a:lnTo>
                <a:lnTo>
                  <a:pt x="567" y="10801"/>
                </a:lnTo>
                <a:lnTo>
                  <a:pt x="539" y="10780"/>
                </a:lnTo>
                <a:lnTo>
                  <a:pt x="510" y="10758"/>
                </a:lnTo>
                <a:lnTo>
                  <a:pt x="484" y="10736"/>
                </a:lnTo>
                <a:lnTo>
                  <a:pt x="456" y="10714"/>
                </a:lnTo>
                <a:lnTo>
                  <a:pt x="431" y="10691"/>
                </a:lnTo>
                <a:lnTo>
                  <a:pt x="405" y="10668"/>
                </a:lnTo>
                <a:lnTo>
                  <a:pt x="380" y="10646"/>
                </a:lnTo>
                <a:lnTo>
                  <a:pt x="355" y="10622"/>
                </a:lnTo>
                <a:lnTo>
                  <a:pt x="332" y="10599"/>
                </a:lnTo>
                <a:lnTo>
                  <a:pt x="310" y="10576"/>
                </a:lnTo>
                <a:lnTo>
                  <a:pt x="289" y="10551"/>
                </a:lnTo>
                <a:lnTo>
                  <a:pt x="267" y="10528"/>
                </a:lnTo>
                <a:lnTo>
                  <a:pt x="247" y="10503"/>
                </a:lnTo>
                <a:lnTo>
                  <a:pt x="228" y="10480"/>
                </a:lnTo>
                <a:lnTo>
                  <a:pt x="209" y="10455"/>
                </a:lnTo>
                <a:lnTo>
                  <a:pt x="191" y="10431"/>
                </a:lnTo>
                <a:lnTo>
                  <a:pt x="174" y="10407"/>
                </a:lnTo>
                <a:lnTo>
                  <a:pt x="158" y="10382"/>
                </a:lnTo>
                <a:lnTo>
                  <a:pt x="142" y="10357"/>
                </a:lnTo>
                <a:lnTo>
                  <a:pt x="128" y="10332"/>
                </a:lnTo>
                <a:lnTo>
                  <a:pt x="114" y="10307"/>
                </a:lnTo>
                <a:lnTo>
                  <a:pt x="101" y="10281"/>
                </a:lnTo>
                <a:lnTo>
                  <a:pt x="89" y="10256"/>
                </a:lnTo>
                <a:lnTo>
                  <a:pt x="77" y="10230"/>
                </a:lnTo>
                <a:lnTo>
                  <a:pt x="67" y="10205"/>
                </a:lnTo>
                <a:lnTo>
                  <a:pt x="57" y="10179"/>
                </a:lnTo>
                <a:lnTo>
                  <a:pt x="48" y="10153"/>
                </a:lnTo>
                <a:lnTo>
                  <a:pt x="39" y="10127"/>
                </a:lnTo>
                <a:lnTo>
                  <a:pt x="32" y="10100"/>
                </a:lnTo>
                <a:lnTo>
                  <a:pt x="25" y="10074"/>
                </a:lnTo>
                <a:lnTo>
                  <a:pt x="19" y="10047"/>
                </a:lnTo>
                <a:lnTo>
                  <a:pt x="14" y="10021"/>
                </a:lnTo>
                <a:lnTo>
                  <a:pt x="9" y="9994"/>
                </a:lnTo>
                <a:lnTo>
                  <a:pt x="6" y="9967"/>
                </a:lnTo>
                <a:lnTo>
                  <a:pt x="3" y="9940"/>
                </a:lnTo>
                <a:lnTo>
                  <a:pt x="1" y="9912"/>
                </a:lnTo>
                <a:lnTo>
                  <a:pt x="0" y="9885"/>
                </a:lnTo>
                <a:lnTo>
                  <a:pt x="0" y="9857"/>
                </a:lnTo>
                <a:lnTo>
                  <a:pt x="0" y="5509"/>
                </a:lnTo>
                <a:lnTo>
                  <a:pt x="1" y="5453"/>
                </a:lnTo>
                <a:lnTo>
                  <a:pt x="2" y="5398"/>
                </a:lnTo>
                <a:lnTo>
                  <a:pt x="5" y="5342"/>
                </a:lnTo>
                <a:lnTo>
                  <a:pt x="9" y="5288"/>
                </a:lnTo>
                <a:lnTo>
                  <a:pt x="15" y="5235"/>
                </a:lnTo>
                <a:lnTo>
                  <a:pt x="21" y="5182"/>
                </a:lnTo>
                <a:lnTo>
                  <a:pt x="28" y="5130"/>
                </a:lnTo>
                <a:lnTo>
                  <a:pt x="37" y="5079"/>
                </a:lnTo>
                <a:lnTo>
                  <a:pt x="47" y="5028"/>
                </a:lnTo>
                <a:lnTo>
                  <a:pt x="57" y="4978"/>
                </a:lnTo>
                <a:lnTo>
                  <a:pt x="70" y="4929"/>
                </a:lnTo>
                <a:lnTo>
                  <a:pt x="83" y="4880"/>
                </a:lnTo>
                <a:lnTo>
                  <a:pt x="97" y="4832"/>
                </a:lnTo>
                <a:lnTo>
                  <a:pt x="112" y="4785"/>
                </a:lnTo>
                <a:lnTo>
                  <a:pt x="129" y="4739"/>
                </a:lnTo>
                <a:lnTo>
                  <a:pt x="147" y="4693"/>
                </a:lnTo>
                <a:lnTo>
                  <a:pt x="166" y="4648"/>
                </a:lnTo>
                <a:lnTo>
                  <a:pt x="187" y="4604"/>
                </a:lnTo>
                <a:lnTo>
                  <a:pt x="208" y="4560"/>
                </a:lnTo>
                <a:lnTo>
                  <a:pt x="230" y="4518"/>
                </a:lnTo>
                <a:lnTo>
                  <a:pt x="255" y="4476"/>
                </a:lnTo>
                <a:lnTo>
                  <a:pt x="279" y="4435"/>
                </a:lnTo>
                <a:lnTo>
                  <a:pt x="306" y="4393"/>
                </a:lnTo>
                <a:lnTo>
                  <a:pt x="332" y="4354"/>
                </a:lnTo>
                <a:lnTo>
                  <a:pt x="361" y="4315"/>
                </a:lnTo>
                <a:lnTo>
                  <a:pt x="391" y="4275"/>
                </a:lnTo>
                <a:lnTo>
                  <a:pt x="421" y="4238"/>
                </a:lnTo>
                <a:lnTo>
                  <a:pt x="453" y="4201"/>
                </a:lnTo>
                <a:lnTo>
                  <a:pt x="486" y="4165"/>
                </a:lnTo>
                <a:lnTo>
                  <a:pt x="520" y="4129"/>
                </a:lnTo>
                <a:lnTo>
                  <a:pt x="556" y="4093"/>
                </a:lnTo>
                <a:lnTo>
                  <a:pt x="592" y="4059"/>
                </a:lnTo>
                <a:lnTo>
                  <a:pt x="629" y="4025"/>
                </a:lnTo>
                <a:lnTo>
                  <a:pt x="668" y="3994"/>
                </a:lnTo>
                <a:lnTo>
                  <a:pt x="707" y="3963"/>
                </a:lnTo>
                <a:lnTo>
                  <a:pt x="747" y="3933"/>
                </a:lnTo>
                <a:lnTo>
                  <a:pt x="789" y="3904"/>
                </a:lnTo>
                <a:lnTo>
                  <a:pt x="830" y="3876"/>
                </a:lnTo>
                <a:lnTo>
                  <a:pt x="873" y="3849"/>
                </a:lnTo>
                <a:lnTo>
                  <a:pt x="916" y="3823"/>
                </a:lnTo>
                <a:lnTo>
                  <a:pt x="961" y="3799"/>
                </a:lnTo>
                <a:lnTo>
                  <a:pt x="1005" y="3775"/>
                </a:lnTo>
                <a:lnTo>
                  <a:pt x="1052" y="3752"/>
                </a:lnTo>
                <a:lnTo>
                  <a:pt x="1099" y="3731"/>
                </a:lnTo>
                <a:lnTo>
                  <a:pt x="1146" y="3711"/>
                </a:lnTo>
                <a:lnTo>
                  <a:pt x="1194" y="3691"/>
                </a:lnTo>
                <a:lnTo>
                  <a:pt x="1244" y="3672"/>
                </a:lnTo>
                <a:lnTo>
                  <a:pt x="1294" y="3655"/>
                </a:lnTo>
                <a:lnTo>
                  <a:pt x="1345" y="3640"/>
                </a:lnTo>
                <a:lnTo>
                  <a:pt x="1397" y="3624"/>
                </a:lnTo>
                <a:lnTo>
                  <a:pt x="1450" y="3610"/>
                </a:lnTo>
                <a:lnTo>
                  <a:pt x="1503" y="3597"/>
                </a:lnTo>
                <a:lnTo>
                  <a:pt x="1558" y="3584"/>
                </a:lnTo>
                <a:lnTo>
                  <a:pt x="1614" y="3574"/>
                </a:lnTo>
                <a:lnTo>
                  <a:pt x="1670" y="3564"/>
                </a:lnTo>
                <a:lnTo>
                  <a:pt x="1726" y="3554"/>
                </a:lnTo>
                <a:lnTo>
                  <a:pt x="1785" y="3547"/>
                </a:lnTo>
                <a:lnTo>
                  <a:pt x="1843" y="3540"/>
                </a:lnTo>
                <a:lnTo>
                  <a:pt x="1902" y="3534"/>
                </a:lnTo>
                <a:lnTo>
                  <a:pt x="1963" y="3530"/>
                </a:lnTo>
                <a:lnTo>
                  <a:pt x="2024" y="3526"/>
                </a:lnTo>
                <a:lnTo>
                  <a:pt x="2086" y="3524"/>
                </a:lnTo>
                <a:lnTo>
                  <a:pt x="2149" y="3522"/>
                </a:lnTo>
                <a:lnTo>
                  <a:pt x="2212" y="3522"/>
                </a:lnTo>
                <a:lnTo>
                  <a:pt x="2218" y="3517"/>
                </a:lnTo>
                <a:lnTo>
                  <a:pt x="2224" y="3514"/>
                </a:lnTo>
                <a:lnTo>
                  <a:pt x="2230" y="3513"/>
                </a:lnTo>
                <a:lnTo>
                  <a:pt x="2237" y="3512"/>
                </a:lnTo>
                <a:lnTo>
                  <a:pt x="2243" y="3512"/>
                </a:lnTo>
                <a:lnTo>
                  <a:pt x="2251" y="3512"/>
                </a:lnTo>
                <a:lnTo>
                  <a:pt x="2261" y="3512"/>
                </a:lnTo>
                <a:lnTo>
                  <a:pt x="2274" y="3512"/>
                </a:lnTo>
                <a:lnTo>
                  <a:pt x="2312" y="3514"/>
                </a:lnTo>
                <a:lnTo>
                  <a:pt x="2353" y="3516"/>
                </a:lnTo>
                <a:lnTo>
                  <a:pt x="2393" y="3517"/>
                </a:lnTo>
                <a:lnTo>
                  <a:pt x="2435" y="3519"/>
                </a:lnTo>
                <a:lnTo>
                  <a:pt x="2479" y="3520"/>
                </a:lnTo>
                <a:lnTo>
                  <a:pt x="2522" y="3520"/>
                </a:lnTo>
                <a:lnTo>
                  <a:pt x="2568" y="3522"/>
                </a:lnTo>
                <a:lnTo>
                  <a:pt x="2615" y="3522"/>
                </a:lnTo>
                <a:lnTo>
                  <a:pt x="2616" y="3516"/>
                </a:lnTo>
                <a:lnTo>
                  <a:pt x="2617" y="3511"/>
                </a:lnTo>
                <a:lnTo>
                  <a:pt x="2620" y="3505"/>
                </a:lnTo>
                <a:lnTo>
                  <a:pt x="2623" y="3498"/>
                </a:lnTo>
                <a:lnTo>
                  <a:pt x="2634" y="3483"/>
                </a:lnTo>
                <a:lnTo>
                  <a:pt x="2649" y="3466"/>
                </a:lnTo>
                <a:lnTo>
                  <a:pt x="2663" y="3450"/>
                </a:lnTo>
                <a:lnTo>
                  <a:pt x="2674" y="3439"/>
                </a:lnTo>
                <a:lnTo>
                  <a:pt x="2678" y="3434"/>
                </a:lnTo>
                <a:lnTo>
                  <a:pt x="2683" y="3431"/>
                </a:lnTo>
                <a:lnTo>
                  <a:pt x="2686" y="3430"/>
                </a:lnTo>
                <a:lnTo>
                  <a:pt x="2688" y="3429"/>
                </a:lnTo>
                <a:lnTo>
                  <a:pt x="2651" y="3417"/>
                </a:lnTo>
                <a:lnTo>
                  <a:pt x="2614" y="3406"/>
                </a:lnTo>
                <a:lnTo>
                  <a:pt x="2578" y="3393"/>
                </a:lnTo>
                <a:lnTo>
                  <a:pt x="2542" y="3380"/>
                </a:lnTo>
                <a:lnTo>
                  <a:pt x="2506" y="3366"/>
                </a:lnTo>
                <a:lnTo>
                  <a:pt x="2471" y="3351"/>
                </a:lnTo>
                <a:lnTo>
                  <a:pt x="2436" y="3337"/>
                </a:lnTo>
                <a:lnTo>
                  <a:pt x="2402" y="3322"/>
                </a:lnTo>
                <a:lnTo>
                  <a:pt x="2368" y="3306"/>
                </a:lnTo>
                <a:lnTo>
                  <a:pt x="2336" y="3289"/>
                </a:lnTo>
                <a:lnTo>
                  <a:pt x="2303" y="3272"/>
                </a:lnTo>
                <a:lnTo>
                  <a:pt x="2271" y="3255"/>
                </a:lnTo>
                <a:lnTo>
                  <a:pt x="2239" y="3237"/>
                </a:lnTo>
                <a:lnTo>
                  <a:pt x="2208" y="3218"/>
                </a:lnTo>
                <a:lnTo>
                  <a:pt x="2177" y="3198"/>
                </a:lnTo>
                <a:lnTo>
                  <a:pt x="2147" y="3178"/>
                </a:lnTo>
                <a:lnTo>
                  <a:pt x="2117" y="3158"/>
                </a:lnTo>
                <a:lnTo>
                  <a:pt x="2087" y="3137"/>
                </a:lnTo>
                <a:lnTo>
                  <a:pt x="2058" y="3115"/>
                </a:lnTo>
                <a:lnTo>
                  <a:pt x="2030" y="3093"/>
                </a:lnTo>
                <a:lnTo>
                  <a:pt x="2002" y="3071"/>
                </a:lnTo>
                <a:lnTo>
                  <a:pt x="1975" y="3047"/>
                </a:lnTo>
                <a:lnTo>
                  <a:pt x="1948" y="3024"/>
                </a:lnTo>
                <a:lnTo>
                  <a:pt x="1921" y="3000"/>
                </a:lnTo>
                <a:lnTo>
                  <a:pt x="1895" y="2975"/>
                </a:lnTo>
                <a:lnTo>
                  <a:pt x="1869" y="2950"/>
                </a:lnTo>
                <a:lnTo>
                  <a:pt x="1844" y="2924"/>
                </a:lnTo>
                <a:lnTo>
                  <a:pt x="1820" y="2898"/>
                </a:lnTo>
                <a:lnTo>
                  <a:pt x="1795" y="2871"/>
                </a:lnTo>
                <a:lnTo>
                  <a:pt x="1771" y="2843"/>
                </a:lnTo>
                <a:lnTo>
                  <a:pt x="1747" y="2816"/>
                </a:lnTo>
                <a:lnTo>
                  <a:pt x="1725" y="2787"/>
                </a:lnTo>
                <a:lnTo>
                  <a:pt x="1703" y="2757"/>
                </a:lnTo>
                <a:lnTo>
                  <a:pt x="1682" y="2729"/>
                </a:lnTo>
                <a:lnTo>
                  <a:pt x="1660" y="2699"/>
                </a:lnTo>
                <a:lnTo>
                  <a:pt x="1640" y="2669"/>
                </a:lnTo>
                <a:lnTo>
                  <a:pt x="1621" y="2638"/>
                </a:lnTo>
                <a:lnTo>
                  <a:pt x="1603" y="2608"/>
                </a:lnTo>
                <a:lnTo>
                  <a:pt x="1585" y="2578"/>
                </a:lnTo>
                <a:lnTo>
                  <a:pt x="1568" y="2547"/>
                </a:lnTo>
                <a:lnTo>
                  <a:pt x="1551" y="2516"/>
                </a:lnTo>
                <a:lnTo>
                  <a:pt x="1535" y="2484"/>
                </a:lnTo>
                <a:lnTo>
                  <a:pt x="1520" y="2452"/>
                </a:lnTo>
                <a:lnTo>
                  <a:pt x="1506" y="2420"/>
                </a:lnTo>
                <a:lnTo>
                  <a:pt x="1493" y="2388"/>
                </a:lnTo>
                <a:lnTo>
                  <a:pt x="1479" y="2356"/>
                </a:lnTo>
                <a:lnTo>
                  <a:pt x="1467" y="2324"/>
                </a:lnTo>
                <a:lnTo>
                  <a:pt x="1455" y="2291"/>
                </a:lnTo>
                <a:lnTo>
                  <a:pt x="1445" y="2258"/>
                </a:lnTo>
                <a:lnTo>
                  <a:pt x="1434" y="2225"/>
                </a:lnTo>
                <a:lnTo>
                  <a:pt x="1425" y="2191"/>
                </a:lnTo>
                <a:lnTo>
                  <a:pt x="1416" y="2157"/>
                </a:lnTo>
                <a:lnTo>
                  <a:pt x="1408" y="2123"/>
                </a:lnTo>
                <a:lnTo>
                  <a:pt x="1400" y="2089"/>
                </a:lnTo>
                <a:lnTo>
                  <a:pt x="1394" y="2054"/>
                </a:lnTo>
                <a:lnTo>
                  <a:pt x="1389" y="2018"/>
                </a:lnTo>
                <a:lnTo>
                  <a:pt x="1383" y="1983"/>
                </a:lnTo>
                <a:lnTo>
                  <a:pt x="1378" y="1948"/>
                </a:lnTo>
                <a:lnTo>
                  <a:pt x="1375" y="1912"/>
                </a:lnTo>
                <a:lnTo>
                  <a:pt x="1372" y="1876"/>
                </a:lnTo>
                <a:lnTo>
                  <a:pt x="1368" y="1840"/>
                </a:lnTo>
                <a:lnTo>
                  <a:pt x="1367" y="1804"/>
                </a:lnTo>
                <a:lnTo>
                  <a:pt x="1366" y="1767"/>
                </a:lnTo>
                <a:lnTo>
                  <a:pt x="1365" y="1729"/>
                </a:lnTo>
                <a:lnTo>
                  <a:pt x="1366" y="1686"/>
                </a:lnTo>
                <a:lnTo>
                  <a:pt x="1367" y="1641"/>
                </a:lnTo>
                <a:lnTo>
                  <a:pt x="1370" y="1598"/>
                </a:lnTo>
                <a:lnTo>
                  <a:pt x="1374" y="1555"/>
                </a:lnTo>
                <a:lnTo>
                  <a:pt x="1378" y="1511"/>
                </a:lnTo>
                <a:lnTo>
                  <a:pt x="1383" y="1469"/>
                </a:lnTo>
                <a:lnTo>
                  <a:pt x="1390" y="1427"/>
                </a:lnTo>
                <a:lnTo>
                  <a:pt x="1397" y="1386"/>
                </a:lnTo>
                <a:lnTo>
                  <a:pt x="1405" y="1345"/>
                </a:lnTo>
                <a:lnTo>
                  <a:pt x="1415" y="1304"/>
                </a:lnTo>
                <a:lnTo>
                  <a:pt x="1426" y="1264"/>
                </a:lnTo>
                <a:lnTo>
                  <a:pt x="1437" y="1223"/>
                </a:lnTo>
                <a:lnTo>
                  <a:pt x="1449" y="1184"/>
                </a:lnTo>
                <a:lnTo>
                  <a:pt x="1463" y="1145"/>
                </a:lnTo>
                <a:lnTo>
                  <a:pt x="1477" y="1106"/>
                </a:lnTo>
                <a:lnTo>
                  <a:pt x="1493" y="1068"/>
                </a:lnTo>
                <a:lnTo>
                  <a:pt x="1508" y="1030"/>
                </a:lnTo>
                <a:lnTo>
                  <a:pt x="1527" y="993"/>
                </a:lnTo>
                <a:lnTo>
                  <a:pt x="1545" y="955"/>
                </a:lnTo>
                <a:lnTo>
                  <a:pt x="1564" y="919"/>
                </a:lnTo>
                <a:lnTo>
                  <a:pt x="1585" y="883"/>
                </a:lnTo>
                <a:lnTo>
                  <a:pt x="1606" y="847"/>
                </a:lnTo>
                <a:lnTo>
                  <a:pt x="1628" y="811"/>
                </a:lnTo>
                <a:lnTo>
                  <a:pt x="1652" y="776"/>
                </a:lnTo>
                <a:lnTo>
                  <a:pt x="1676" y="742"/>
                </a:lnTo>
                <a:lnTo>
                  <a:pt x="1702" y="708"/>
                </a:lnTo>
                <a:lnTo>
                  <a:pt x="1728" y="674"/>
                </a:lnTo>
                <a:lnTo>
                  <a:pt x="1756" y="640"/>
                </a:lnTo>
                <a:lnTo>
                  <a:pt x="1783" y="607"/>
                </a:lnTo>
                <a:lnTo>
                  <a:pt x="1813" y="574"/>
                </a:lnTo>
                <a:lnTo>
                  <a:pt x="1844" y="542"/>
                </a:lnTo>
                <a:lnTo>
                  <a:pt x="1875" y="510"/>
                </a:lnTo>
                <a:lnTo>
                  <a:pt x="1907" y="478"/>
                </a:lnTo>
                <a:lnTo>
                  <a:pt x="1940" y="448"/>
                </a:lnTo>
                <a:lnTo>
                  <a:pt x="1971" y="419"/>
                </a:lnTo>
                <a:lnTo>
                  <a:pt x="2005" y="390"/>
                </a:lnTo>
                <a:lnTo>
                  <a:pt x="2038" y="362"/>
                </a:lnTo>
                <a:lnTo>
                  <a:pt x="2072" y="336"/>
                </a:lnTo>
                <a:lnTo>
                  <a:pt x="2106" y="311"/>
                </a:lnTo>
                <a:lnTo>
                  <a:pt x="2141" y="287"/>
                </a:lnTo>
                <a:lnTo>
                  <a:pt x="2176" y="263"/>
                </a:lnTo>
                <a:lnTo>
                  <a:pt x="2211" y="240"/>
                </a:lnTo>
                <a:lnTo>
                  <a:pt x="2247" y="219"/>
                </a:lnTo>
                <a:lnTo>
                  <a:pt x="2284" y="199"/>
                </a:lnTo>
                <a:lnTo>
                  <a:pt x="2320" y="179"/>
                </a:lnTo>
                <a:lnTo>
                  <a:pt x="2357" y="160"/>
                </a:lnTo>
                <a:lnTo>
                  <a:pt x="2395" y="143"/>
                </a:lnTo>
                <a:lnTo>
                  <a:pt x="2432" y="127"/>
                </a:lnTo>
                <a:lnTo>
                  <a:pt x="2470" y="111"/>
                </a:lnTo>
                <a:lnTo>
                  <a:pt x="2510" y="98"/>
                </a:lnTo>
                <a:lnTo>
                  <a:pt x="2549" y="84"/>
                </a:lnTo>
                <a:lnTo>
                  <a:pt x="2588" y="71"/>
                </a:lnTo>
                <a:lnTo>
                  <a:pt x="2628" y="60"/>
                </a:lnTo>
                <a:lnTo>
                  <a:pt x="2668" y="50"/>
                </a:lnTo>
                <a:lnTo>
                  <a:pt x="2709" y="40"/>
                </a:lnTo>
                <a:lnTo>
                  <a:pt x="2750" y="32"/>
                </a:lnTo>
                <a:lnTo>
                  <a:pt x="2791" y="24"/>
                </a:lnTo>
                <a:lnTo>
                  <a:pt x="2833" y="18"/>
                </a:lnTo>
                <a:lnTo>
                  <a:pt x="2876" y="13"/>
                </a:lnTo>
                <a:lnTo>
                  <a:pt x="2918" y="7"/>
                </a:lnTo>
                <a:lnTo>
                  <a:pt x="2962" y="4"/>
                </a:lnTo>
                <a:lnTo>
                  <a:pt x="3005" y="2"/>
                </a:lnTo>
                <a:lnTo>
                  <a:pt x="3049" y="1"/>
                </a:lnTo>
                <a:lnTo>
                  <a:pt x="3094" y="0"/>
                </a:lnTo>
                <a:lnTo>
                  <a:pt x="3138" y="1"/>
                </a:lnTo>
                <a:lnTo>
                  <a:pt x="3183" y="2"/>
                </a:lnTo>
                <a:lnTo>
                  <a:pt x="3226" y="4"/>
                </a:lnTo>
                <a:lnTo>
                  <a:pt x="3270" y="7"/>
                </a:lnTo>
                <a:lnTo>
                  <a:pt x="3312" y="13"/>
                </a:lnTo>
                <a:lnTo>
                  <a:pt x="3356" y="18"/>
                </a:lnTo>
                <a:lnTo>
                  <a:pt x="3397" y="24"/>
                </a:lnTo>
                <a:lnTo>
                  <a:pt x="3440" y="32"/>
                </a:lnTo>
                <a:lnTo>
                  <a:pt x="3481" y="40"/>
                </a:lnTo>
                <a:lnTo>
                  <a:pt x="3521" y="50"/>
                </a:lnTo>
                <a:lnTo>
                  <a:pt x="3563" y="60"/>
                </a:lnTo>
                <a:lnTo>
                  <a:pt x="3602" y="71"/>
                </a:lnTo>
                <a:lnTo>
                  <a:pt x="3643" y="84"/>
                </a:lnTo>
                <a:lnTo>
                  <a:pt x="3682" y="98"/>
                </a:lnTo>
                <a:lnTo>
                  <a:pt x="3721" y="111"/>
                </a:lnTo>
                <a:lnTo>
                  <a:pt x="3759" y="127"/>
                </a:lnTo>
                <a:lnTo>
                  <a:pt x="3798" y="143"/>
                </a:lnTo>
                <a:lnTo>
                  <a:pt x="3835" y="160"/>
                </a:lnTo>
                <a:lnTo>
                  <a:pt x="3873" y="179"/>
                </a:lnTo>
                <a:lnTo>
                  <a:pt x="3909" y="199"/>
                </a:lnTo>
                <a:lnTo>
                  <a:pt x="3946" y="219"/>
                </a:lnTo>
                <a:lnTo>
                  <a:pt x="3982" y="240"/>
                </a:lnTo>
                <a:lnTo>
                  <a:pt x="4017" y="263"/>
                </a:lnTo>
                <a:lnTo>
                  <a:pt x="4053" y="287"/>
                </a:lnTo>
                <a:lnTo>
                  <a:pt x="4088" y="311"/>
                </a:lnTo>
                <a:lnTo>
                  <a:pt x="4122" y="336"/>
                </a:lnTo>
                <a:lnTo>
                  <a:pt x="4156" y="362"/>
                </a:lnTo>
                <a:lnTo>
                  <a:pt x="4190" y="390"/>
                </a:lnTo>
                <a:lnTo>
                  <a:pt x="4223" y="419"/>
                </a:lnTo>
                <a:lnTo>
                  <a:pt x="4256" y="448"/>
                </a:lnTo>
                <a:lnTo>
                  <a:pt x="4289" y="478"/>
                </a:lnTo>
                <a:lnTo>
                  <a:pt x="4321" y="510"/>
                </a:lnTo>
                <a:lnTo>
                  <a:pt x="4353" y="542"/>
                </a:lnTo>
                <a:lnTo>
                  <a:pt x="4383" y="574"/>
                </a:lnTo>
                <a:lnTo>
                  <a:pt x="4412" y="607"/>
                </a:lnTo>
                <a:lnTo>
                  <a:pt x="4440" y="640"/>
                </a:lnTo>
                <a:lnTo>
                  <a:pt x="4467" y="674"/>
                </a:lnTo>
                <a:lnTo>
                  <a:pt x="4493" y="708"/>
                </a:lnTo>
                <a:lnTo>
                  <a:pt x="4518" y="742"/>
                </a:lnTo>
                <a:lnTo>
                  <a:pt x="4543" y="776"/>
                </a:lnTo>
                <a:lnTo>
                  <a:pt x="4566" y="811"/>
                </a:lnTo>
                <a:lnTo>
                  <a:pt x="4588" y="847"/>
                </a:lnTo>
                <a:lnTo>
                  <a:pt x="4610" y="883"/>
                </a:lnTo>
                <a:lnTo>
                  <a:pt x="4630" y="919"/>
                </a:lnTo>
                <a:lnTo>
                  <a:pt x="4649" y="955"/>
                </a:lnTo>
                <a:lnTo>
                  <a:pt x="4667" y="993"/>
                </a:lnTo>
                <a:lnTo>
                  <a:pt x="4685" y="1030"/>
                </a:lnTo>
                <a:lnTo>
                  <a:pt x="4701" y="1068"/>
                </a:lnTo>
                <a:lnTo>
                  <a:pt x="4716" y="1106"/>
                </a:lnTo>
                <a:lnTo>
                  <a:pt x="4731" y="1145"/>
                </a:lnTo>
                <a:lnTo>
                  <a:pt x="4745" y="1184"/>
                </a:lnTo>
                <a:lnTo>
                  <a:pt x="4756" y="1223"/>
                </a:lnTo>
                <a:lnTo>
                  <a:pt x="4768" y="1264"/>
                </a:lnTo>
                <a:lnTo>
                  <a:pt x="4779" y="1304"/>
                </a:lnTo>
                <a:lnTo>
                  <a:pt x="4788" y="1345"/>
                </a:lnTo>
                <a:lnTo>
                  <a:pt x="4797" y="1386"/>
                </a:lnTo>
                <a:lnTo>
                  <a:pt x="4803" y="1427"/>
                </a:lnTo>
                <a:lnTo>
                  <a:pt x="4810" y="1469"/>
                </a:lnTo>
                <a:lnTo>
                  <a:pt x="4816" y="1511"/>
                </a:lnTo>
                <a:lnTo>
                  <a:pt x="4820" y="1555"/>
                </a:lnTo>
                <a:lnTo>
                  <a:pt x="4823" y="1598"/>
                </a:lnTo>
                <a:lnTo>
                  <a:pt x="4825" y="1641"/>
                </a:lnTo>
                <a:lnTo>
                  <a:pt x="4827" y="1686"/>
                </a:lnTo>
                <a:lnTo>
                  <a:pt x="4827" y="1729"/>
                </a:lnTo>
                <a:lnTo>
                  <a:pt x="4827" y="1768"/>
                </a:lnTo>
                <a:lnTo>
                  <a:pt x="4826" y="1806"/>
                </a:lnTo>
                <a:lnTo>
                  <a:pt x="4824" y="1843"/>
                </a:lnTo>
                <a:lnTo>
                  <a:pt x="4822" y="1880"/>
                </a:lnTo>
                <a:lnTo>
                  <a:pt x="4818" y="1917"/>
                </a:lnTo>
                <a:lnTo>
                  <a:pt x="4814" y="1954"/>
                </a:lnTo>
                <a:lnTo>
                  <a:pt x="4808" y="1990"/>
                </a:lnTo>
                <a:lnTo>
                  <a:pt x="4803" y="2027"/>
                </a:lnTo>
                <a:lnTo>
                  <a:pt x="4797" y="2062"/>
                </a:lnTo>
                <a:lnTo>
                  <a:pt x="4789" y="2098"/>
                </a:lnTo>
                <a:lnTo>
                  <a:pt x="4781" y="2134"/>
                </a:lnTo>
                <a:lnTo>
                  <a:pt x="4772" y="2169"/>
                </a:lnTo>
                <a:lnTo>
                  <a:pt x="4763" y="2204"/>
                </a:lnTo>
                <a:lnTo>
                  <a:pt x="4752" y="2240"/>
                </a:lnTo>
                <a:lnTo>
                  <a:pt x="4740" y="2274"/>
                </a:lnTo>
                <a:lnTo>
                  <a:pt x="4729" y="2308"/>
                </a:lnTo>
                <a:lnTo>
                  <a:pt x="4716" y="2342"/>
                </a:lnTo>
                <a:lnTo>
                  <a:pt x="4702" y="2376"/>
                </a:lnTo>
                <a:lnTo>
                  <a:pt x="4688" y="2410"/>
                </a:lnTo>
                <a:lnTo>
                  <a:pt x="4673" y="2443"/>
                </a:lnTo>
                <a:lnTo>
                  <a:pt x="4657" y="2476"/>
                </a:lnTo>
                <a:lnTo>
                  <a:pt x="4641" y="2508"/>
                </a:lnTo>
                <a:lnTo>
                  <a:pt x="4624" y="2541"/>
                </a:lnTo>
                <a:lnTo>
                  <a:pt x="4605" y="2573"/>
                </a:lnTo>
                <a:lnTo>
                  <a:pt x="4586" y="2606"/>
                </a:lnTo>
                <a:lnTo>
                  <a:pt x="4566" y="2638"/>
                </a:lnTo>
                <a:lnTo>
                  <a:pt x="4546" y="2669"/>
                </a:lnTo>
                <a:lnTo>
                  <a:pt x="4525" y="2701"/>
                </a:lnTo>
                <a:lnTo>
                  <a:pt x="4502" y="2732"/>
                </a:lnTo>
                <a:lnTo>
                  <a:pt x="4480" y="2763"/>
                </a:lnTo>
                <a:lnTo>
                  <a:pt x="4456" y="2793"/>
                </a:lnTo>
                <a:lnTo>
                  <a:pt x="4431" y="2824"/>
                </a:lnTo>
                <a:lnTo>
                  <a:pt x="4407" y="2853"/>
                </a:lnTo>
                <a:lnTo>
                  <a:pt x="4381" y="2883"/>
                </a:lnTo>
                <a:lnTo>
                  <a:pt x="4356" y="2910"/>
                </a:lnTo>
                <a:lnTo>
                  <a:pt x="4329" y="2938"/>
                </a:lnTo>
                <a:lnTo>
                  <a:pt x="4303" y="2965"/>
                </a:lnTo>
                <a:lnTo>
                  <a:pt x="4276" y="2991"/>
                </a:lnTo>
                <a:lnTo>
                  <a:pt x="4249" y="3017"/>
                </a:lnTo>
                <a:lnTo>
                  <a:pt x="4220" y="3041"/>
                </a:lnTo>
                <a:lnTo>
                  <a:pt x="4192" y="3066"/>
                </a:lnTo>
                <a:lnTo>
                  <a:pt x="4164" y="3089"/>
                </a:lnTo>
                <a:lnTo>
                  <a:pt x="4134" y="3112"/>
                </a:lnTo>
                <a:lnTo>
                  <a:pt x="4105" y="3134"/>
                </a:lnTo>
                <a:lnTo>
                  <a:pt x="4075" y="3155"/>
                </a:lnTo>
                <a:lnTo>
                  <a:pt x="4045" y="3176"/>
                </a:lnTo>
                <a:lnTo>
                  <a:pt x="4014" y="3196"/>
                </a:lnTo>
                <a:lnTo>
                  <a:pt x="3982" y="3215"/>
                </a:lnTo>
                <a:lnTo>
                  <a:pt x="3950" y="3233"/>
                </a:lnTo>
                <a:lnTo>
                  <a:pt x="3919" y="3252"/>
                </a:lnTo>
                <a:lnTo>
                  <a:pt x="3887" y="3269"/>
                </a:lnTo>
                <a:lnTo>
                  <a:pt x="3854" y="3286"/>
                </a:lnTo>
                <a:lnTo>
                  <a:pt x="3820" y="3301"/>
                </a:lnTo>
                <a:lnTo>
                  <a:pt x="3786" y="3316"/>
                </a:lnTo>
                <a:lnTo>
                  <a:pt x="3752" y="3331"/>
                </a:lnTo>
                <a:lnTo>
                  <a:pt x="3718" y="3344"/>
                </a:lnTo>
                <a:lnTo>
                  <a:pt x="3683" y="3358"/>
                </a:lnTo>
                <a:lnTo>
                  <a:pt x="3647" y="3370"/>
                </a:lnTo>
                <a:lnTo>
                  <a:pt x="3611" y="3381"/>
                </a:lnTo>
                <a:lnTo>
                  <a:pt x="3575" y="3393"/>
                </a:lnTo>
                <a:lnTo>
                  <a:pt x="3538" y="3402"/>
                </a:lnTo>
                <a:lnTo>
                  <a:pt x="3500" y="3412"/>
                </a:lnTo>
                <a:lnTo>
                  <a:pt x="3463" y="3421"/>
                </a:lnTo>
                <a:lnTo>
                  <a:pt x="3425" y="3429"/>
                </a:lnTo>
                <a:lnTo>
                  <a:pt x="3438" y="3443"/>
                </a:lnTo>
                <a:lnTo>
                  <a:pt x="3449" y="3456"/>
                </a:lnTo>
                <a:lnTo>
                  <a:pt x="3459" y="3468"/>
                </a:lnTo>
                <a:lnTo>
                  <a:pt x="3466" y="3480"/>
                </a:lnTo>
                <a:lnTo>
                  <a:pt x="3473" y="3491"/>
                </a:lnTo>
                <a:lnTo>
                  <a:pt x="3477" y="3501"/>
                </a:lnTo>
                <a:lnTo>
                  <a:pt x="3479" y="3512"/>
                </a:lnTo>
                <a:lnTo>
                  <a:pt x="3480" y="3522"/>
                </a:lnTo>
                <a:close/>
              </a:path>
            </a:pathLst>
          </a:custGeom>
          <a:solidFill>
            <a:schemeClr val="bg1">
              <a:lumMod val="75000"/>
            </a:schemeClr>
          </a:solidFill>
          <a:ln w="9525">
            <a:noFill/>
            <a:round/>
            <a:headEnd/>
            <a:tailEnd/>
          </a:ln>
        </p:spPr>
        <p:txBody>
          <a:bodyPr/>
          <a:lstStyle>
            <a:defPPr>
              <a:defRPr lang="en-US"/>
            </a:defPPr>
            <a:lvl1pPr marL="0" algn="l" defTabSz="1018824" rtl="0" eaLnBrk="1" latinLnBrk="0" hangingPunct="1">
              <a:defRPr sz="2000" kern="1200">
                <a:solidFill>
                  <a:schemeClr val="tx1"/>
                </a:solidFill>
                <a:latin typeface="+mn-lt"/>
                <a:ea typeface="+mn-ea"/>
                <a:cs typeface="+mn-cs"/>
              </a:defRPr>
            </a:lvl1pPr>
            <a:lvl2pPr marL="509412" algn="l" defTabSz="1018824" rtl="0" eaLnBrk="1" latinLnBrk="0" hangingPunct="1">
              <a:defRPr sz="2000" kern="1200">
                <a:solidFill>
                  <a:schemeClr val="tx1"/>
                </a:solidFill>
                <a:latin typeface="+mn-lt"/>
                <a:ea typeface="+mn-ea"/>
                <a:cs typeface="+mn-cs"/>
              </a:defRPr>
            </a:lvl2pPr>
            <a:lvl3pPr marL="1018824" algn="l" defTabSz="1018824" rtl="0" eaLnBrk="1" latinLnBrk="0" hangingPunct="1">
              <a:defRPr sz="2000" kern="1200">
                <a:solidFill>
                  <a:schemeClr val="tx1"/>
                </a:solidFill>
                <a:latin typeface="+mn-lt"/>
                <a:ea typeface="+mn-ea"/>
                <a:cs typeface="+mn-cs"/>
              </a:defRPr>
            </a:lvl3pPr>
            <a:lvl4pPr marL="1528237" algn="l" defTabSz="1018824" rtl="0" eaLnBrk="1" latinLnBrk="0" hangingPunct="1">
              <a:defRPr sz="2000" kern="1200">
                <a:solidFill>
                  <a:schemeClr val="tx1"/>
                </a:solidFill>
                <a:latin typeface="+mn-lt"/>
                <a:ea typeface="+mn-ea"/>
                <a:cs typeface="+mn-cs"/>
              </a:defRPr>
            </a:lvl4pPr>
            <a:lvl5pPr marL="2037649" algn="l" defTabSz="1018824" rtl="0" eaLnBrk="1" latinLnBrk="0" hangingPunct="1">
              <a:defRPr sz="2000" kern="1200">
                <a:solidFill>
                  <a:schemeClr val="tx1"/>
                </a:solidFill>
                <a:latin typeface="+mn-lt"/>
                <a:ea typeface="+mn-ea"/>
                <a:cs typeface="+mn-cs"/>
              </a:defRPr>
            </a:lvl5pPr>
            <a:lvl6pPr marL="2547061" algn="l" defTabSz="1018824" rtl="0" eaLnBrk="1" latinLnBrk="0" hangingPunct="1">
              <a:defRPr sz="2000" kern="1200">
                <a:solidFill>
                  <a:schemeClr val="tx1"/>
                </a:solidFill>
                <a:latin typeface="+mn-lt"/>
                <a:ea typeface="+mn-ea"/>
                <a:cs typeface="+mn-cs"/>
              </a:defRPr>
            </a:lvl6pPr>
            <a:lvl7pPr marL="3056473" algn="l" defTabSz="1018824" rtl="0" eaLnBrk="1" latinLnBrk="0" hangingPunct="1">
              <a:defRPr sz="2000" kern="1200">
                <a:solidFill>
                  <a:schemeClr val="tx1"/>
                </a:solidFill>
                <a:latin typeface="+mn-lt"/>
                <a:ea typeface="+mn-ea"/>
                <a:cs typeface="+mn-cs"/>
              </a:defRPr>
            </a:lvl7pPr>
            <a:lvl8pPr marL="3565886" algn="l" defTabSz="1018824" rtl="0" eaLnBrk="1" latinLnBrk="0" hangingPunct="1">
              <a:defRPr sz="2000" kern="1200">
                <a:solidFill>
                  <a:schemeClr val="tx1"/>
                </a:solidFill>
                <a:latin typeface="+mn-lt"/>
                <a:ea typeface="+mn-ea"/>
                <a:cs typeface="+mn-cs"/>
              </a:defRPr>
            </a:lvl8pPr>
            <a:lvl9pPr marL="4075298" algn="l" defTabSz="1018824" rtl="0" eaLnBrk="1" latinLnBrk="0" hangingPunct="1">
              <a:defRPr sz="2000" kern="1200">
                <a:solidFill>
                  <a:schemeClr val="tx1"/>
                </a:solidFill>
                <a:latin typeface="+mn-lt"/>
                <a:ea typeface="+mn-ea"/>
                <a:cs typeface="+mn-cs"/>
              </a:defRPr>
            </a:lvl9pPr>
          </a:lstStyle>
          <a:p>
            <a:pPr marL="0" marR="0" lvl="0" indent="0" algn="l" defTabSz="1018824" rtl="0" eaLnBrk="1" fontAlgn="auto" latinLnBrk="0" hangingPunct="1">
              <a:lnSpc>
                <a:spcPct val="100000"/>
              </a:lnSpc>
              <a:spcBef>
                <a:spcPts val="0"/>
              </a:spcBef>
              <a:spcAft>
                <a:spcPts val="0"/>
              </a:spcAft>
              <a:buClrTx/>
              <a:buSzTx/>
              <a:buFontTx/>
              <a:buNone/>
              <a:tabLst/>
              <a:defRPr/>
            </a:pPr>
            <a:endParaRPr kumimoji="0" lang="en-GB" sz="1589"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7" name="Freeform 21">
            <a:extLst>
              <a:ext uri="{FF2B5EF4-FFF2-40B4-BE49-F238E27FC236}">
                <a16:creationId xmlns:a16="http://schemas.microsoft.com/office/drawing/2014/main" id="{02E51735-C076-4520-A3BE-D1D95D4394B6}"/>
              </a:ext>
            </a:extLst>
          </p:cNvPr>
          <p:cNvSpPr>
            <a:spLocks/>
          </p:cNvSpPr>
          <p:nvPr/>
        </p:nvSpPr>
        <p:spPr bwMode="auto">
          <a:xfrm>
            <a:off x="8643027" y="4319229"/>
            <a:ext cx="197037" cy="470851"/>
          </a:xfrm>
          <a:custGeom>
            <a:avLst/>
            <a:gdLst>
              <a:gd name="T0" fmla="*/ 13344091 w 6132"/>
              <a:gd name="T1" fmla="*/ 10441401 h 16980"/>
              <a:gd name="T2" fmla="*/ 14439013 w 6132"/>
              <a:gd name="T3" fmla="*/ 10808942 h 16980"/>
              <a:gd name="T4" fmla="*/ 15478309 w 6132"/>
              <a:gd name="T5" fmla="*/ 11467619 h 16980"/>
              <a:gd name="T6" fmla="*/ 16450295 w 6132"/>
              <a:gd name="T7" fmla="*/ 12408541 h 16980"/>
              <a:gd name="T8" fmla="*/ 17214401 w 6132"/>
              <a:gd name="T9" fmla="*/ 13481773 h 16980"/>
              <a:gd name="T10" fmla="*/ 17709159 w 6132"/>
              <a:gd name="T11" fmla="*/ 14605004 h 16980"/>
              <a:gd name="T12" fmla="*/ 17937493 w 6132"/>
              <a:gd name="T13" fmla="*/ 15789994 h 16980"/>
              <a:gd name="T14" fmla="*/ 17922884 w 6132"/>
              <a:gd name="T15" fmla="*/ 28795453 h 16980"/>
              <a:gd name="T16" fmla="*/ 17720901 w 6132"/>
              <a:gd name="T17" fmla="*/ 29724608 h 16980"/>
              <a:gd name="T18" fmla="*/ 17322724 w 6132"/>
              <a:gd name="T19" fmla="*/ 30571448 h 16980"/>
              <a:gd name="T20" fmla="*/ 16731329 w 6132"/>
              <a:gd name="T21" fmla="*/ 31344758 h 16980"/>
              <a:gd name="T22" fmla="*/ 15970146 w 6132"/>
              <a:gd name="T23" fmla="*/ 32000508 h 16980"/>
              <a:gd name="T24" fmla="*/ 15062602 w 6132"/>
              <a:gd name="T25" fmla="*/ 32509198 h 16980"/>
              <a:gd name="T26" fmla="*/ 14014483 w 6132"/>
              <a:gd name="T27" fmla="*/ 32867899 h 16980"/>
              <a:gd name="T28" fmla="*/ 4168927 w 6132"/>
              <a:gd name="T29" fmla="*/ 32935519 h 16980"/>
              <a:gd name="T30" fmla="*/ 3003722 w 6132"/>
              <a:gd name="T31" fmla="*/ 32515054 h 16980"/>
              <a:gd name="T32" fmla="*/ 2104943 w 6132"/>
              <a:gd name="T33" fmla="*/ 32053432 h 16980"/>
              <a:gd name="T34" fmla="*/ 1334994 w 6132"/>
              <a:gd name="T35" fmla="*/ 31503585 h 16980"/>
              <a:gd name="T36" fmla="*/ 723146 w 6132"/>
              <a:gd name="T37" fmla="*/ 30883136 h 16980"/>
              <a:gd name="T38" fmla="*/ 295697 w 6132"/>
              <a:gd name="T39" fmla="*/ 30230369 h 16980"/>
              <a:gd name="T40" fmla="*/ 55622 w 6132"/>
              <a:gd name="T41" fmla="*/ 29542302 h 16980"/>
              <a:gd name="T42" fmla="*/ 2922 w 6132"/>
              <a:gd name="T43" fmla="*/ 16034064 h 16980"/>
              <a:gd name="T44" fmla="*/ 166867 w 6132"/>
              <a:gd name="T45" fmla="*/ 14637376 h 16980"/>
              <a:gd name="T46" fmla="*/ 608925 w 6132"/>
              <a:gd name="T47" fmla="*/ 13408297 h 16980"/>
              <a:gd name="T48" fmla="*/ 1326228 w 6132"/>
              <a:gd name="T49" fmla="*/ 12352689 h 16980"/>
              <a:gd name="T50" fmla="*/ 2309902 w 6132"/>
              <a:gd name="T51" fmla="*/ 11479386 h 16980"/>
              <a:gd name="T52" fmla="*/ 3495559 w 6132"/>
              <a:gd name="T53" fmla="*/ 10853081 h 16980"/>
              <a:gd name="T54" fmla="*/ 4889097 w 6132"/>
              <a:gd name="T55" fmla="*/ 10479630 h 16980"/>
              <a:gd name="T56" fmla="*/ 6475906 w 6132"/>
              <a:gd name="T57" fmla="*/ 10356104 h 16980"/>
              <a:gd name="T58" fmla="*/ 6768627 w 6132"/>
              <a:gd name="T59" fmla="*/ 10332625 h 16980"/>
              <a:gd name="T60" fmla="*/ 7661564 w 6132"/>
              <a:gd name="T61" fmla="*/ 10323786 h 16980"/>
              <a:gd name="T62" fmla="*/ 7863602 w 6132"/>
              <a:gd name="T63" fmla="*/ 10085627 h 16980"/>
              <a:gd name="T64" fmla="*/ 7032131 w 6132"/>
              <a:gd name="T65" fmla="*/ 9768029 h 16980"/>
              <a:gd name="T66" fmla="*/ 6197794 w 6132"/>
              <a:gd name="T67" fmla="*/ 9285801 h 16980"/>
              <a:gd name="T68" fmla="*/ 5471726 w 6132"/>
              <a:gd name="T69" fmla="*/ 8674191 h 16980"/>
              <a:gd name="T70" fmla="*/ 4859825 w 6132"/>
              <a:gd name="T71" fmla="*/ 7936181 h 16980"/>
              <a:gd name="T72" fmla="*/ 4409002 w 6132"/>
              <a:gd name="T73" fmla="*/ 7115803 h 16980"/>
              <a:gd name="T74" fmla="*/ 4122070 w 6132"/>
              <a:gd name="T75" fmla="*/ 6242499 h 16980"/>
              <a:gd name="T76" fmla="*/ 4002059 w 6132"/>
              <a:gd name="T77" fmla="*/ 5304506 h 16980"/>
              <a:gd name="T78" fmla="*/ 4069369 w 6132"/>
              <a:gd name="T79" fmla="*/ 4195974 h 16980"/>
              <a:gd name="T80" fmla="*/ 4370910 w 6132"/>
              <a:gd name="T81" fmla="*/ 3140364 h 16980"/>
              <a:gd name="T82" fmla="*/ 4906682 w 6132"/>
              <a:gd name="T83" fmla="*/ 2181765 h 16980"/>
              <a:gd name="T84" fmla="*/ 5679553 w 6132"/>
              <a:gd name="T85" fmla="*/ 1317301 h 16980"/>
              <a:gd name="T86" fmla="*/ 6578332 w 6132"/>
              <a:gd name="T87" fmla="*/ 643928 h 16980"/>
              <a:gd name="T88" fmla="*/ 7576670 w 6132"/>
              <a:gd name="T89" fmla="*/ 208768 h 16980"/>
              <a:gd name="T90" fmla="*/ 8671588 w 6132"/>
              <a:gd name="T91" fmla="*/ 11767 h 16980"/>
              <a:gd name="T92" fmla="*/ 9825105 w 6132"/>
              <a:gd name="T93" fmla="*/ 52924 h 16980"/>
              <a:gd name="T94" fmla="*/ 10893673 w 6132"/>
              <a:gd name="T95" fmla="*/ 326384 h 16980"/>
              <a:gd name="T96" fmla="*/ 11865659 w 6132"/>
              <a:gd name="T97" fmla="*/ 843912 h 16980"/>
              <a:gd name="T98" fmla="*/ 12743931 w 6132"/>
              <a:gd name="T99" fmla="*/ 1593689 h 16980"/>
              <a:gd name="T100" fmla="*/ 13431908 w 6132"/>
              <a:gd name="T101" fmla="*/ 2490525 h 16980"/>
              <a:gd name="T102" fmla="*/ 13891551 w 6132"/>
              <a:gd name="T103" fmla="*/ 3481443 h 16980"/>
              <a:gd name="T104" fmla="*/ 14111119 w 6132"/>
              <a:gd name="T105" fmla="*/ 4572353 h 16980"/>
              <a:gd name="T106" fmla="*/ 14105275 w 6132"/>
              <a:gd name="T107" fmla="*/ 5636746 h 16980"/>
              <a:gd name="T108" fmla="*/ 13912057 w 6132"/>
              <a:gd name="T109" fmla="*/ 6586506 h 16980"/>
              <a:gd name="T110" fmla="*/ 13537309 w 6132"/>
              <a:gd name="T111" fmla="*/ 7471577 h 16980"/>
              <a:gd name="T112" fmla="*/ 12972265 w 6132"/>
              <a:gd name="T113" fmla="*/ 8303722 h 16980"/>
              <a:gd name="T114" fmla="*/ 12272601 w 6132"/>
              <a:gd name="T115" fmla="*/ 9015324 h 16980"/>
              <a:gd name="T116" fmla="*/ 11473326 w 6132"/>
              <a:gd name="T117" fmla="*/ 9562188 h 16980"/>
              <a:gd name="T118" fmla="*/ 10571626 w 6132"/>
              <a:gd name="T119" fmla="*/ 9941550 h 16980"/>
              <a:gd name="T120" fmla="*/ 10147098 w 6132"/>
              <a:gd name="T121" fmla="*/ 10232633 h 1698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6132"/>
              <a:gd name="T184" fmla="*/ 0 h 16980"/>
              <a:gd name="T185" fmla="*/ 6132 w 6132"/>
              <a:gd name="T186" fmla="*/ 16980 h 16980"/>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6132" h="16980">
                <a:moveTo>
                  <a:pt x="3480" y="3522"/>
                </a:moveTo>
                <a:lnTo>
                  <a:pt x="4254" y="3522"/>
                </a:lnTo>
                <a:lnTo>
                  <a:pt x="4298" y="3522"/>
                </a:lnTo>
                <a:lnTo>
                  <a:pt x="4342" y="3524"/>
                </a:lnTo>
                <a:lnTo>
                  <a:pt x="4386" y="3527"/>
                </a:lnTo>
                <a:lnTo>
                  <a:pt x="4429" y="3531"/>
                </a:lnTo>
                <a:lnTo>
                  <a:pt x="4473" y="3536"/>
                </a:lnTo>
                <a:lnTo>
                  <a:pt x="4515" y="3543"/>
                </a:lnTo>
                <a:lnTo>
                  <a:pt x="4558" y="3551"/>
                </a:lnTo>
                <a:lnTo>
                  <a:pt x="4601" y="3560"/>
                </a:lnTo>
                <a:lnTo>
                  <a:pt x="4643" y="3570"/>
                </a:lnTo>
                <a:lnTo>
                  <a:pt x="4685" y="3582"/>
                </a:lnTo>
                <a:lnTo>
                  <a:pt x="4727" y="3595"/>
                </a:lnTo>
                <a:lnTo>
                  <a:pt x="4769" y="3609"/>
                </a:lnTo>
                <a:lnTo>
                  <a:pt x="4809" y="3624"/>
                </a:lnTo>
                <a:lnTo>
                  <a:pt x="4851" y="3640"/>
                </a:lnTo>
                <a:lnTo>
                  <a:pt x="4892" y="3658"/>
                </a:lnTo>
                <a:lnTo>
                  <a:pt x="4932" y="3676"/>
                </a:lnTo>
                <a:lnTo>
                  <a:pt x="4973" y="3696"/>
                </a:lnTo>
                <a:lnTo>
                  <a:pt x="5013" y="3717"/>
                </a:lnTo>
                <a:lnTo>
                  <a:pt x="5052" y="3739"/>
                </a:lnTo>
                <a:lnTo>
                  <a:pt x="5093" y="3763"/>
                </a:lnTo>
                <a:lnTo>
                  <a:pt x="5132" y="3788"/>
                </a:lnTo>
                <a:lnTo>
                  <a:pt x="5171" y="3814"/>
                </a:lnTo>
                <a:lnTo>
                  <a:pt x="5210" y="3842"/>
                </a:lnTo>
                <a:lnTo>
                  <a:pt x="5249" y="3870"/>
                </a:lnTo>
                <a:lnTo>
                  <a:pt x="5287" y="3900"/>
                </a:lnTo>
                <a:lnTo>
                  <a:pt x="5325" y="3931"/>
                </a:lnTo>
                <a:lnTo>
                  <a:pt x="5364" y="3963"/>
                </a:lnTo>
                <a:lnTo>
                  <a:pt x="5401" y="3997"/>
                </a:lnTo>
                <a:lnTo>
                  <a:pt x="5438" y="4031"/>
                </a:lnTo>
                <a:lnTo>
                  <a:pt x="5475" y="4067"/>
                </a:lnTo>
                <a:lnTo>
                  <a:pt x="5512" y="4104"/>
                </a:lnTo>
                <a:lnTo>
                  <a:pt x="5549" y="4142"/>
                </a:lnTo>
                <a:lnTo>
                  <a:pt x="5584" y="4181"/>
                </a:lnTo>
                <a:lnTo>
                  <a:pt x="5619" y="4220"/>
                </a:lnTo>
                <a:lnTo>
                  <a:pt x="5652" y="4260"/>
                </a:lnTo>
                <a:lnTo>
                  <a:pt x="5685" y="4300"/>
                </a:lnTo>
                <a:lnTo>
                  <a:pt x="5716" y="4339"/>
                </a:lnTo>
                <a:lnTo>
                  <a:pt x="5747" y="4379"/>
                </a:lnTo>
                <a:lnTo>
                  <a:pt x="5775" y="4420"/>
                </a:lnTo>
                <a:lnTo>
                  <a:pt x="5803" y="4460"/>
                </a:lnTo>
                <a:lnTo>
                  <a:pt x="5830" y="4502"/>
                </a:lnTo>
                <a:lnTo>
                  <a:pt x="5855" y="4543"/>
                </a:lnTo>
                <a:lnTo>
                  <a:pt x="5880" y="4585"/>
                </a:lnTo>
                <a:lnTo>
                  <a:pt x="5904" y="4626"/>
                </a:lnTo>
                <a:lnTo>
                  <a:pt x="5925" y="4667"/>
                </a:lnTo>
                <a:lnTo>
                  <a:pt x="5946" y="4710"/>
                </a:lnTo>
                <a:lnTo>
                  <a:pt x="5967" y="4752"/>
                </a:lnTo>
                <a:lnTo>
                  <a:pt x="5986" y="4795"/>
                </a:lnTo>
                <a:lnTo>
                  <a:pt x="6004" y="4838"/>
                </a:lnTo>
                <a:lnTo>
                  <a:pt x="6020" y="4880"/>
                </a:lnTo>
                <a:lnTo>
                  <a:pt x="6036" y="4924"/>
                </a:lnTo>
                <a:lnTo>
                  <a:pt x="6049" y="4967"/>
                </a:lnTo>
                <a:lnTo>
                  <a:pt x="6063" y="5011"/>
                </a:lnTo>
                <a:lnTo>
                  <a:pt x="6075" y="5055"/>
                </a:lnTo>
                <a:lnTo>
                  <a:pt x="6085" y="5100"/>
                </a:lnTo>
                <a:lnTo>
                  <a:pt x="6095" y="5144"/>
                </a:lnTo>
                <a:lnTo>
                  <a:pt x="6104" y="5189"/>
                </a:lnTo>
                <a:lnTo>
                  <a:pt x="6111" y="5234"/>
                </a:lnTo>
                <a:lnTo>
                  <a:pt x="6117" y="5280"/>
                </a:lnTo>
                <a:lnTo>
                  <a:pt x="6123" y="5324"/>
                </a:lnTo>
                <a:lnTo>
                  <a:pt x="6127" y="5370"/>
                </a:lnTo>
                <a:lnTo>
                  <a:pt x="6130" y="5417"/>
                </a:lnTo>
                <a:lnTo>
                  <a:pt x="6131" y="5463"/>
                </a:lnTo>
                <a:lnTo>
                  <a:pt x="6132" y="5509"/>
                </a:lnTo>
                <a:lnTo>
                  <a:pt x="6132" y="9605"/>
                </a:lnTo>
                <a:lnTo>
                  <a:pt x="6132" y="9643"/>
                </a:lnTo>
                <a:lnTo>
                  <a:pt x="6130" y="9682"/>
                </a:lnTo>
                <a:lnTo>
                  <a:pt x="6129" y="9719"/>
                </a:lnTo>
                <a:lnTo>
                  <a:pt x="6126" y="9756"/>
                </a:lnTo>
                <a:lnTo>
                  <a:pt x="6122" y="9793"/>
                </a:lnTo>
                <a:lnTo>
                  <a:pt x="6117" y="9829"/>
                </a:lnTo>
                <a:lnTo>
                  <a:pt x="6112" y="9866"/>
                </a:lnTo>
                <a:lnTo>
                  <a:pt x="6107" y="9901"/>
                </a:lnTo>
                <a:lnTo>
                  <a:pt x="6099" y="9937"/>
                </a:lnTo>
                <a:lnTo>
                  <a:pt x="6092" y="9972"/>
                </a:lnTo>
                <a:lnTo>
                  <a:pt x="6083" y="10007"/>
                </a:lnTo>
                <a:lnTo>
                  <a:pt x="6074" y="10041"/>
                </a:lnTo>
                <a:lnTo>
                  <a:pt x="6063" y="10075"/>
                </a:lnTo>
                <a:lnTo>
                  <a:pt x="6053" y="10109"/>
                </a:lnTo>
                <a:lnTo>
                  <a:pt x="6041" y="10142"/>
                </a:lnTo>
                <a:lnTo>
                  <a:pt x="6028" y="10175"/>
                </a:lnTo>
                <a:lnTo>
                  <a:pt x="6014" y="10208"/>
                </a:lnTo>
                <a:lnTo>
                  <a:pt x="6001" y="10241"/>
                </a:lnTo>
                <a:lnTo>
                  <a:pt x="5986" y="10273"/>
                </a:lnTo>
                <a:lnTo>
                  <a:pt x="5970" y="10305"/>
                </a:lnTo>
                <a:lnTo>
                  <a:pt x="5953" y="10335"/>
                </a:lnTo>
                <a:lnTo>
                  <a:pt x="5935" y="10366"/>
                </a:lnTo>
                <a:lnTo>
                  <a:pt x="5917" y="10397"/>
                </a:lnTo>
                <a:lnTo>
                  <a:pt x="5898" y="10428"/>
                </a:lnTo>
                <a:lnTo>
                  <a:pt x="5877" y="10458"/>
                </a:lnTo>
                <a:lnTo>
                  <a:pt x="5857" y="10487"/>
                </a:lnTo>
                <a:lnTo>
                  <a:pt x="5835" y="10517"/>
                </a:lnTo>
                <a:lnTo>
                  <a:pt x="5813" y="10546"/>
                </a:lnTo>
                <a:lnTo>
                  <a:pt x="5789" y="10575"/>
                </a:lnTo>
                <a:lnTo>
                  <a:pt x="5766" y="10603"/>
                </a:lnTo>
                <a:lnTo>
                  <a:pt x="5740" y="10632"/>
                </a:lnTo>
                <a:lnTo>
                  <a:pt x="5715" y="10660"/>
                </a:lnTo>
                <a:lnTo>
                  <a:pt x="5688" y="10687"/>
                </a:lnTo>
                <a:lnTo>
                  <a:pt x="5661" y="10714"/>
                </a:lnTo>
                <a:lnTo>
                  <a:pt x="5633" y="10739"/>
                </a:lnTo>
                <a:lnTo>
                  <a:pt x="5606" y="10765"/>
                </a:lnTo>
                <a:lnTo>
                  <a:pt x="5576" y="10790"/>
                </a:lnTo>
                <a:lnTo>
                  <a:pt x="5546" y="10814"/>
                </a:lnTo>
                <a:lnTo>
                  <a:pt x="5516" y="10838"/>
                </a:lnTo>
                <a:lnTo>
                  <a:pt x="5486" y="10860"/>
                </a:lnTo>
                <a:lnTo>
                  <a:pt x="5455" y="10883"/>
                </a:lnTo>
                <a:lnTo>
                  <a:pt x="5422" y="10905"/>
                </a:lnTo>
                <a:lnTo>
                  <a:pt x="5390" y="10925"/>
                </a:lnTo>
                <a:lnTo>
                  <a:pt x="5357" y="10947"/>
                </a:lnTo>
                <a:lnTo>
                  <a:pt x="5323" y="10966"/>
                </a:lnTo>
                <a:lnTo>
                  <a:pt x="5288" y="10985"/>
                </a:lnTo>
                <a:lnTo>
                  <a:pt x="5253" y="11004"/>
                </a:lnTo>
                <a:lnTo>
                  <a:pt x="5218" y="11022"/>
                </a:lnTo>
                <a:lnTo>
                  <a:pt x="5182" y="11039"/>
                </a:lnTo>
                <a:lnTo>
                  <a:pt x="5145" y="11056"/>
                </a:lnTo>
                <a:lnTo>
                  <a:pt x="5108" y="11072"/>
                </a:lnTo>
                <a:lnTo>
                  <a:pt x="5069" y="11087"/>
                </a:lnTo>
                <a:lnTo>
                  <a:pt x="5031" y="11102"/>
                </a:lnTo>
                <a:lnTo>
                  <a:pt x="4992" y="11117"/>
                </a:lnTo>
                <a:lnTo>
                  <a:pt x="4952" y="11130"/>
                </a:lnTo>
                <a:lnTo>
                  <a:pt x="4911" y="11143"/>
                </a:lnTo>
                <a:lnTo>
                  <a:pt x="4871" y="11155"/>
                </a:lnTo>
                <a:lnTo>
                  <a:pt x="4828" y="11167"/>
                </a:lnTo>
                <a:lnTo>
                  <a:pt x="4787" y="11178"/>
                </a:lnTo>
                <a:lnTo>
                  <a:pt x="4743" y="11189"/>
                </a:lnTo>
                <a:lnTo>
                  <a:pt x="4701" y="11199"/>
                </a:lnTo>
                <a:lnTo>
                  <a:pt x="4656" y="11208"/>
                </a:lnTo>
                <a:lnTo>
                  <a:pt x="4612" y="11217"/>
                </a:lnTo>
                <a:lnTo>
                  <a:pt x="4567" y="11225"/>
                </a:lnTo>
                <a:lnTo>
                  <a:pt x="4567" y="16980"/>
                </a:lnTo>
                <a:lnTo>
                  <a:pt x="1510" y="16980"/>
                </a:lnTo>
                <a:lnTo>
                  <a:pt x="1510" y="11225"/>
                </a:lnTo>
                <a:lnTo>
                  <a:pt x="1424" y="11201"/>
                </a:lnTo>
                <a:lnTo>
                  <a:pt x="1340" y="11175"/>
                </a:lnTo>
                <a:lnTo>
                  <a:pt x="1298" y="11161"/>
                </a:lnTo>
                <a:lnTo>
                  <a:pt x="1258" y="11148"/>
                </a:lnTo>
                <a:lnTo>
                  <a:pt x="1218" y="11134"/>
                </a:lnTo>
                <a:lnTo>
                  <a:pt x="1178" y="11120"/>
                </a:lnTo>
                <a:lnTo>
                  <a:pt x="1139" y="11105"/>
                </a:lnTo>
                <a:lnTo>
                  <a:pt x="1101" y="11089"/>
                </a:lnTo>
                <a:lnTo>
                  <a:pt x="1064" y="11074"/>
                </a:lnTo>
                <a:lnTo>
                  <a:pt x="1026" y="11058"/>
                </a:lnTo>
                <a:lnTo>
                  <a:pt x="990" y="11042"/>
                </a:lnTo>
                <a:lnTo>
                  <a:pt x="954" y="11025"/>
                </a:lnTo>
                <a:lnTo>
                  <a:pt x="918" y="11009"/>
                </a:lnTo>
                <a:lnTo>
                  <a:pt x="884" y="10991"/>
                </a:lnTo>
                <a:lnTo>
                  <a:pt x="849" y="10974"/>
                </a:lnTo>
                <a:lnTo>
                  <a:pt x="816" y="10956"/>
                </a:lnTo>
                <a:lnTo>
                  <a:pt x="782" y="10938"/>
                </a:lnTo>
                <a:lnTo>
                  <a:pt x="750" y="10920"/>
                </a:lnTo>
                <a:lnTo>
                  <a:pt x="719" y="10901"/>
                </a:lnTo>
                <a:lnTo>
                  <a:pt x="687" y="10882"/>
                </a:lnTo>
                <a:lnTo>
                  <a:pt x="656" y="10862"/>
                </a:lnTo>
                <a:lnTo>
                  <a:pt x="626" y="10841"/>
                </a:lnTo>
                <a:lnTo>
                  <a:pt x="596" y="10821"/>
                </a:lnTo>
                <a:lnTo>
                  <a:pt x="567" y="10801"/>
                </a:lnTo>
                <a:lnTo>
                  <a:pt x="539" y="10780"/>
                </a:lnTo>
                <a:lnTo>
                  <a:pt x="510" y="10758"/>
                </a:lnTo>
                <a:lnTo>
                  <a:pt x="484" y="10736"/>
                </a:lnTo>
                <a:lnTo>
                  <a:pt x="456" y="10714"/>
                </a:lnTo>
                <a:lnTo>
                  <a:pt x="431" y="10691"/>
                </a:lnTo>
                <a:lnTo>
                  <a:pt x="405" y="10668"/>
                </a:lnTo>
                <a:lnTo>
                  <a:pt x="380" y="10646"/>
                </a:lnTo>
                <a:lnTo>
                  <a:pt x="355" y="10622"/>
                </a:lnTo>
                <a:lnTo>
                  <a:pt x="332" y="10599"/>
                </a:lnTo>
                <a:lnTo>
                  <a:pt x="310" y="10576"/>
                </a:lnTo>
                <a:lnTo>
                  <a:pt x="289" y="10551"/>
                </a:lnTo>
                <a:lnTo>
                  <a:pt x="267" y="10528"/>
                </a:lnTo>
                <a:lnTo>
                  <a:pt x="247" y="10503"/>
                </a:lnTo>
                <a:lnTo>
                  <a:pt x="228" y="10480"/>
                </a:lnTo>
                <a:lnTo>
                  <a:pt x="209" y="10455"/>
                </a:lnTo>
                <a:lnTo>
                  <a:pt x="191" y="10431"/>
                </a:lnTo>
                <a:lnTo>
                  <a:pt x="174" y="10407"/>
                </a:lnTo>
                <a:lnTo>
                  <a:pt x="158" y="10382"/>
                </a:lnTo>
                <a:lnTo>
                  <a:pt x="142" y="10357"/>
                </a:lnTo>
                <a:lnTo>
                  <a:pt x="128" y="10332"/>
                </a:lnTo>
                <a:lnTo>
                  <a:pt x="114" y="10307"/>
                </a:lnTo>
                <a:lnTo>
                  <a:pt x="101" y="10281"/>
                </a:lnTo>
                <a:lnTo>
                  <a:pt x="89" y="10256"/>
                </a:lnTo>
                <a:lnTo>
                  <a:pt x="77" y="10230"/>
                </a:lnTo>
                <a:lnTo>
                  <a:pt x="67" y="10205"/>
                </a:lnTo>
                <a:lnTo>
                  <a:pt x="57" y="10179"/>
                </a:lnTo>
                <a:lnTo>
                  <a:pt x="48" y="10153"/>
                </a:lnTo>
                <a:lnTo>
                  <a:pt x="39" y="10127"/>
                </a:lnTo>
                <a:lnTo>
                  <a:pt x="32" y="10100"/>
                </a:lnTo>
                <a:lnTo>
                  <a:pt x="25" y="10074"/>
                </a:lnTo>
                <a:lnTo>
                  <a:pt x="19" y="10047"/>
                </a:lnTo>
                <a:lnTo>
                  <a:pt x="14" y="10021"/>
                </a:lnTo>
                <a:lnTo>
                  <a:pt x="9" y="9994"/>
                </a:lnTo>
                <a:lnTo>
                  <a:pt x="6" y="9967"/>
                </a:lnTo>
                <a:lnTo>
                  <a:pt x="3" y="9940"/>
                </a:lnTo>
                <a:lnTo>
                  <a:pt x="1" y="9912"/>
                </a:lnTo>
                <a:lnTo>
                  <a:pt x="0" y="9885"/>
                </a:lnTo>
                <a:lnTo>
                  <a:pt x="0" y="9857"/>
                </a:lnTo>
                <a:lnTo>
                  <a:pt x="0" y="5509"/>
                </a:lnTo>
                <a:lnTo>
                  <a:pt x="1" y="5453"/>
                </a:lnTo>
                <a:lnTo>
                  <a:pt x="2" y="5398"/>
                </a:lnTo>
                <a:lnTo>
                  <a:pt x="5" y="5342"/>
                </a:lnTo>
                <a:lnTo>
                  <a:pt x="9" y="5288"/>
                </a:lnTo>
                <a:lnTo>
                  <a:pt x="15" y="5235"/>
                </a:lnTo>
                <a:lnTo>
                  <a:pt x="21" y="5182"/>
                </a:lnTo>
                <a:lnTo>
                  <a:pt x="28" y="5130"/>
                </a:lnTo>
                <a:lnTo>
                  <a:pt x="37" y="5079"/>
                </a:lnTo>
                <a:lnTo>
                  <a:pt x="47" y="5028"/>
                </a:lnTo>
                <a:lnTo>
                  <a:pt x="57" y="4978"/>
                </a:lnTo>
                <a:lnTo>
                  <a:pt x="70" y="4929"/>
                </a:lnTo>
                <a:lnTo>
                  <a:pt x="83" y="4880"/>
                </a:lnTo>
                <a:lnTo>
                  <a:pt x="97" y="4832"/>
                </a:lnTo>
                <a:lnTo>
                  <a:pt x="112" y="4785"/>
                </a:lnTo>
                <a:lnTo>
                  <a:pt x="129" y="4739"/>
                </a:lnTo>
                <a:lnTo>
                  <a:pt x="147" y="4693"/>
                </a:lnTo>
                <a:lnTo>
                  <a:pt x="166" y="4648"/>
                </a:lnTo>
                <a:lnTo>
                  <a:pt x="187" y="4604"/>
                </a:lnTo>
                <a:lnTo>
                  <a:pt x="208" y="4560"/>
                </a:lnTo>
                <a:lnTo>
                  <a:pt x="230" y="4518"/>
                </a:lnTo>
                <a:lnTo>
                  <a:pt x="255" y="4476"/>
                </a:lnTo>
                <a:lnTo>
                  <a:pt x="279" y="4435"/>
                </a:lnTo>
                <a:lnTo>
                  <a:pt x="306" y="4393"/>
                </a:lnTo>
                <a:lnTo>
                  <a:pt x="332" y="4354"/>
                </a:lnTo>
                <a:lnTo>
                  <a:pt x="361" y="4315"/>
                </a:lnTo>
                <a:lnTo>
                  <a:pt x="391" y="4275"/>
                </a:lnTo>
                <a:lnTo>
                  <a:pt x="421" y="4238"/>
                </a:lnTo>
                <a:lnTo>
                  <a:pt x="453" y="4201"/>
                </a:lnTo>
                <a:lnTo>
                  <a:pt x="486" y="4165"/>
                </a:lnTo>
                <a:lnTo>
                  <a:pt x="520" y="4129"/>
                </a:lnTo>
                <a:lnTo>
                  <a:pt x="556" y="4093"/>
                </a:lnTo>
                <a:lnTo>
                  <a:pt x="592" y="4059"/>
                </a:lnTo>
                <a:lnTo>
                  <a:pt x="629" y="4025"/>
                </a:lnTo>
                <a:lnTo>
                  <a:pt x="668" y="3994"/>
                </a:lnTo>
                <a:lnTo>
                  <a:pt x="707" y="3963"/>
                </a:lnTo>
                <a:lnTo>
                  <a:pt x="747" y="3933"/>
                </a:lnTo>
                <a:lnTo>
                  <a:pt x="789" y="3904"/>
                </a:lnTo>
                <a:lnTo>
                  <a:pt x="830" y="3876"/>
                </a:lnTo>
                <a:lnTo>
                  <a:pt x="873" y="3849"/>
                </a:lnTo>
                <a:lnTo>
                  <a:pt x="916" y="3823"/>
                </a:lnTo>
                <a:lnTo>
                  <a:pt x="961" y="3799"/>
                </a:lnTo>
                <a:lnTo>
                  <a:pt x="1005" y="3775"/>
                </a:lnTo>
                <a:lnTo>
                  <a:pt x="1052" y="3752"/>
                </a:lnTo>
                <a:lnTo>
                  <a:pt x="1099" y="3731"/>
                </a:lnTo>
                <a:lnTo>
                  <a:pt x="1146" y="3711"/>
                </a:lnTo>
                <a:lnTo>
                  <a:pt x="1194" y="3691"/>
                </a:lnTo>
                <a:lnTo>
                  <a:pt x="1244" y="3672"/>
                </a:lnTo>
                <a:lnTo>
                  <a:pt x="1294" y="3655"/>
                </a:lnTo>
                <a:lnTo>
                  <a:pt x="1345" y="3640"/>
                </a:lnTo>
                <a:lnTo>
                  <a:pt x="1397" y="3624"/>
                </a:lnTo>
                <a:lnTo>
                  <a:pt x="1450" y="3610"/>
                </a:lnTo>
                <a:lnTo>
                  <a:pt x="1503" y="3597"/>
                </a:lnTo>
                <a:lnTo>
                  <a:pt x="1558" y="3584"/>
                </a:lnTo>
                <a:lnTo>
                  <a:pt x="1614" y="3574"/>
                </a:lnTo>
                <a:lnTo>
                  <a:pt x="1670" y="3564"/>
                </a:lnTo>
                <a:lnTo>
                  <a:pt x="1726" y="3554"/>
                </a:lnTo>
                <a:lnTo>
                  <a:pt x="1785" y="3547"/>
                </a:lnTo>
                <a:lnTo>
                  <a:pt x="1843" y="3540"/>
                </a:lnTo>
                <a:lnTo>
                  <a:pt x="1902" y="3534"/>
                </a:lnTo>
                <a:lnTo>
                  <a:pt x="1963" y="3530"/>
                </a:lnTo>
                <a:lnTo>
                  <a:pt x="2024" y="3526"/>
                </a:lnTo>
                <a:lnTo>
                  <a:pt x="2086" y="3524"/>
                </a:lnTo>
                <a:lnTo>
                  <a:pt x="2149" y="3522"/>
                </a:lnTo>
                <a:lnTo>
                  <a:pt x="2212" y="3522"/>
                </a:lnTo>
                <a:lnTo>
                  <a:pt x="2218" y="3517"/>
                </a:lnTo>
                <a:lnTo>
                  <a:pt x="2224" y="3514"/>
                </a:lnTo>
                <a:lnTo>
                  <a:pt x="2230" y="3513"/>
                </a:lnTo>
                <a:lnTo>
                  <a:pt x="2237" y="3512"/>
                </a:lnTo>
                <a:lnTo>
                  <a:pt x="2243" y="3512"/>
                </a:lnTo>
                <a:lnTo>
                  <a:pt x="2251" y="3512"/>
                </a:lnTo>
                <a:lnTo>
                  <a:pt x="2261" y="3512"/>
                </a:lnTo>
                <a:lnTo>
                  <a:pt x="2274" y="3512"/>
                </a:lnTo>
                <a:lnTo>
                  <a:pt x="2312" y="3514"/>
                </a:lnTo>
                <a:lnTo>
                  <a:pt x="2353" y="3516"/>
                </a:lnTo>
                <a:lnTo>
                  <a:pt x="2393" y="3517"/>
                </a:lnTo>
                <a:lnTo>
                  <a:pt x="2435" y="3519"/>
                </a:lnTo>
                <a:lnTo>
                  <a:pt x="2479" y="3520"/>
                </a:lnTo>
                <a:lnTo>
                  <a:pt x="2522" y="3520"/>
                </a:lnTo>
                <a:lnTo>
                  <a:pt x="2568" y="3522"/>
                </a:lnTo>
                <a:lnTo>
                  <a:pt x="2615" y="3522"/>
                </a:lnTo>
                <a:lnTo>
                  <a:pt x="2616" y="3516"/>
                </a:lnTo>
                <a:lnTo>
                  <a:pt x="2617" y="3511"/>
                </a:lnTo>
                <a:lnTo>
                  <a:pt x="2620" y="3505"/>
                </a:lnTo>
                <a:lnTo>
                  <a:pt x="2623" y="3498"/>
                </a:lnTo>
                <a:lnTo>
                  <a:pt x="2634" y="3483"/>
                </a:lnTo>
                <a:lnTo>
                  <a:pt x="2649" y="3466"/>
                </a:lnTo>
                <a:lnTo>
                  <a:pt x="2663" y="3450"/>
                </a:lnTo>
                <a:lnTo>
                  <a:pt x="2674" y="3439"/>
                </a:lnTo>
                <a:lnTo>
                  <a:pt x="2678" y="3434"/>
                </a:lnTo>
                <a:lnTo>
                  <a:pt x="2683" y="3431"/>
                </a:lnTo>
                <a:lnTo>
                  <a:pt x="2686" y="3430"/>
                </a:lnTo>
                <a:lnTo>
                  <a:pt x="2688" y="3429"/>
                </a:lnTo>
                <a:lnTo>
                  <a:pt x="2651" y="3417"/>
                </a:lnTo>
                <a:lnTo>
                  <a:pt x="2614" y="3406"/>
                </a:lnTo>
                <a:lnTo>
                  <a:pt x="2578" y="3393"/>
                </a:lnTo>
                <a:lnTo>
                  <a:pt x="2542" y="3380"/>
                </a:lnTo>
                <a:lnTo>
                  <a:pt x="2506" y="3366"/>
                </a:lnTo>
                <a:lnTo>
                  <a:pt x="2471" y="3351"/>
                </a:lnTo>
                <a:lnTo>
                  <a:pt x="2436" y="3337"/>
                </a:lnTo>
                <a:lnTo>
                  <a:pt x="2402" y="3322"/>
                </a:lnTo>
                <a:lnTo>
                  <a:pt x="2368" y="3306"/>
                </a:lnTo>
                <a:lnTo>
                  <a:pt x="2336" y="3289"/>
                </a:lnTo>
                <a:lnTo>
                  <a:pt x="2303" y="3272"/>
                </a:lnTo>
                <a:lnTo>
                  <a:pt x="2271" y="3255"/>
                </a:lnTo>
                <a:lnTo>
                  <a:pt x="2239" y="3237"/>
                </a:lnTo>
                <a:lnTo>
                  <a:pt x="2208" y="3218"/>
                </a:lnTo>
                <a:lnTo>
                  <a:pt x="2177" y="3198"/>
                </a:lnTo>
                <a:lnTo>
                  <a:pt x="2147" y="3178"/>
                </a:lnTo>
                <a:lnTo>
                  <a:pt x="2117" y="3158"/>
                </a:lnTo>
                <a:lnTo>
                  <a:pt x="2087" y="3137"/>
                </a:lnTo>
                <a:lnTo>
                  <a:pt x="2058" y="3115"/>
                </a:lnTo>
                <a:lnTo>
                  <a:pt x="2030" y="3093"/>
                </a:lnTo>
                <a:lnTo>
                  <a:pt x="2002" y="3071"/>
                </a:lnTo>
                <a:lnTo>
                  <a:pt x="1975" y="3047"/>
                </a:lnTo>
                <a:lnTo>
                  <a:pt x="1948" y="3024"/>
                </a:lnTo>
                <a:lnTo>
                  <a:pt x="1921" y="3000"/>
                </a:lnTo>
                <a:lnTo>
                  <a:pt x="1895" y="2975"/>
                </a:lnTo>
                <a:lnTo>
                  <a:pt x="1869" y="2950"/>
                </a:lnTo>
                <a:lnTo>
                  <a:pt x="1844" y="2924"/>
                </a:lnTo>
                <a:lnTo>
                  <a:pt x="1820" y="2898"/>
                </a:lnTo>
                <a:lnTo>
                  <a:pt x="1795" y="2871"/>
                </a:lnTo>
                <a:lnTo>
                  <a:pt x="1771" y="2843"/>
                </a:lnTo>
                <a:lnTo>
                  <a:pt x="1747" y="2816"/>
                </a:lnTo>
                <a:lnTo>
                  <a:pt x="1725" y="2787"/>
                </a:lnTo>
                <a:lnTo>
                  <a:pt x="1703" y="2757"/>
                </a:lnTo>
                <a:lnTo>
                  <a:pt x="1682" y="2729"/>
                </a:lnTo>
                <a:lnTo>
                  <a:pt x="1660" y="2699"/>
                </a:lnTo>
                <a:lnTo>
                  <a:pt x="1640" y="2669"/>
                </a:lnTo>
                <a:lnTo>
                  <a:pt x="1621" y="2638"/>
                </a:lnTo>
                <a:lnTo>
                  <a:pt x="1603" y="2608"/>
                </a:lnTo>
                <a:lnTo>
                  <a:pt x="1585" y="2578"/>
                </a:lnTo>
                <a:lnTo>
                  <a:pt x="1568" y="2547"/>
                </a:lnTo>
                <a:lnTo>
                  <a:pt x="1551" y="2516"/>
                </a:lnTo>
                <a:lnTo>
                  <a:pt x="1535" y="2484"/>
                </a:lnTo>
                <a:lnTo>
                  <a:pt x="1520" y="2452"/>
                </a:lnTo>
                <a:lnTo>
                  <a:pt x="1506" y="2420"/>
                </a:lnTo>
                <a:lnTo>
                  <a:pt x="1493" y="2388"/>
                </a:lnTo>
                <a:lnTo>
                  <a:pt x="1479" y="2356"/>
                </a:lnTo>
                <a:lnTo>
                  <a:pt x="1467" y="2324"/>
                </a:lnTo>
                <a:lnTo>
                  <a:pt x="1455" y="2291"/>
                </a:lnTo>
                <a:lnTo>
                  <a:pt x="1445" y="2258"/>
                </a:lnTo>
                <a:lnTo>
                  <a:pt x="1434" y="2225"/>
                </a:lnTo>
                <a:lnTo>
                  <a:pt x="1425" y="2191"/>
                </a:lnTo>
                <a:lnTo>
                  <a:pt x="1416" y="2157"/>
                </a:lnTo>
                <a:lnTo>
                  <a:pt x="1408" y="2123"/>
                </a:lnTo>
                <a:lnTo>
                  <a:pt x="1400" y="2089"/>
                </a:lnTo>
                <a:lnTo>
                  <a:pt x="1394" y="2054"/>
                </a:lnTo>
                <a:lnTo>
                  <a:pt x="1389" y="2018"/>
                </a:lnTo>
                <a:lnTo>
                  <a:pt x="1383" y="1983"/>
                </a:lnTo>
                <a:lnTo>
                  <a:pt x="1378" y="1948"/>
                </a:lnTo>
                <a:lnTo>
                  <a:pt x="1375" y="1912"/>
                </a:lnTo>
                <a:lnTo>
                  <a:pt x="1372" y="1876"/>
                </a:lnTo>
                <a:lnTo>
                  <a:pt x="1368" y="1840"/>
                </a:lnTo>
                <a:lnTo>
                  <a:pt x="1367" y="1804"/>
                </a:lnTo>
                <a:lnTo>
                  <a:pt x="1366" y="1767"/>
                </a:lnTo>
                <a:lnTo>
                  <a:pt x="1365" y="1729"/>
                </a:lnTo>
                <a:lnTo>
                  <a:pt x="1366" y="1686"/>
                </a:lnTo>
                <a:lnTo>
                  <a:pt x="1367" y="1641"/>
                </a:lnTo>
                <a:lnTo>
                  <a:pt x="1370" y="1598"/>
                </a:lnTo>
                <a:lnTo>
                  <a:pt x="1374" y="1555"/>
                </a:lnTo>
                <a:lnTo>
                  <a:pt x="1378" y="1511"/>
                </a:lnTo>
                <a:lnTo>
                  <a:pt x="1383" y="1469"/>
                </a:lnTo>
                <a:lnTo>
                  <a:pt x="1390" y="1427"/>
                </a:lnTo>
                <a:lnTo>
                  <a:pt x="1397" y="1386"/>
                </a:lnTo>
                <a:lnTo>
                  <a:pt x="1405" y="1345"/>
                </a:lnTo>
                <a:lnTo>
                  <a:pt x="1415" y="1304"/>
                </a:lnTo>
                <a:lnTo>
                  <a:pt x="1426" y="1264"/>
                </a:lnTo>
                <a:lnTo>
                  <a:pt x="1437" y="1223"/>
                </a:lnTo>
                <a:lnTo>
                  <a:pt x="1449" y="1184"/>
                </a:lnTo>
                <a:lnTo>
                  <a:pt x="1463" y="1145"/>
                </a:lnTo>
                <a:lnTo>
                  <a:pt x="1477" y="1106"/>
                </a:lnTo>
                <a:lnTo>
                  <a:pt x="1493" y="1068"/>
                </a:lnTo>
                <a:lnTo>
                  <a:pt x="1508" y="1030"/>
                </a:lnTo>
                <a:lnTo>
                  <a:pt x="1527" y="993"/>
                </a:lnTo>
                <a:lnTo>
                  <a:pt x="1545" y="955"/>
                </a:lnTo>
                <a:lnTo>
                  <a:pt x="1564" y="919"/>
                </a:lnTo>
                <a:lnTo>
                  <a:pt x="1585" y="883"/>
                </a:lnTo>
                <a:lnTo>
                  <a:pt x="1606" y="847"/>
                </a:lnTo>
                <a:lnTo>
                  <a:pt x="1628" y="811"/>
                </a:lnTo>
                <a:lnTo>
                  <a:pt x="1652" y="776"/>
                </a:lnTo>
                <a:lnTo>
                  <a:pt x="1676" y="742"/>
                </a:lnTo>
                <a:lnTo>
                  <a:pt x="1702" y="708"/>
                </a:lnTo>
                <a:lnTo>
                  <a:pt x="1728" y="674"/>
                </a:lnTo>
                <a:lnTo>
                  <a:pt x="1756" y="640"/>
                </a:lnTo>
                <a:lnTo>
                  <a:pt x="1783" y="607"/>
                </a:lnTo>
                <a:lnTo>
                  <a:pt x="1813" y="574"/>
                </a:lnTo>
                <a:lnTo>
                  <a:pt x="1844" y="542"/>
                </a:lnTo>
                <a:lnTo>
                  <a:pt x="1875" y="510"/>
                </a:lnTo>
                <a:lnTo>
                  <a:pt x="1907" y="478"/>
                </a:lnTo>
                <a:lnTo>
                  <a:pt x="1940" y="448"/>
                </a:lnTo>
                <a:lnTo>
                  <a:pt x="1971" y="419"/>
                </a:lnTo>
                <a:lnTo>
                  <a:pt x="2005" y="390"/>
                </a:lnTo>
                <a:lnTo>
                  <a:pt x="2038" y="362"/>
                </a:lnTo>
                <a:lnTo>
                  <a:pt x="2072" y="336"/>
                </a:lnTo>
                <a:lnTo>
                  <a:pt x="2106" y="311"/>
                </a:lnTo>
                <a:lnTo>
                  <a:pt x="2141" y="287"/>
                </a:lnTo>
                <a:lnTo>
                  <a:pt x="2176" y="263"/>
                </a:lnTo>
                <a:lnTo>
                  <a:pt x="2211" y="240"/>
                </a:lnTo>
                <a:lnTo>
                  <a:pt x="2247" y="219"/>
                </a:lnTo>
                <a:lnTo>
                  <a:pt x="2284" y="199"/>
                </a:lnTo>
                <a:lnTo>
                  <a:pt x="2320" y="179"/>
                </a:lnTo>
                <a:lnTo>
                  <a:pt x="2357" y="160"/>
                </a:lnTo>
                <a:lnTo>
                  <a:pt x="2395" y="143"/>
                </a:lnTo>
                <a:lnTo>
                  <a:pt x="2432" y="127"/>
                </a:lnTo>
                <a:lnTo>
                  <a:pt x="2470" y="111"/>
                </a:lnTo>
                <a:lnTo>
                  <a:pt x="2510" y="98"/>
                </a:lnTo>
                <a:lnTo>
                  <a:pt x="2549" y="84"/>
                </a:lnTo>
                <a:lnTo>
                  <a:pt x="2588" y="71"/>
                </a:lnTo>
                <a:lnTo>
                  <a:pt x="2628" y="60"/>
                </a:lnTo>
                <a:lnTo>
                  <a:pt x="2668" y="50"/>
                </a:lnTo>
                <a:lnTo>
                  <a:pt x="2709" y="40"/>
                </a:lnTo>
                <a:lnTo>
                  <a:pt x="2750" y="32"/>
                </a:lnTo>
                <a:lnTo>
                  <a:pt x="2791" y="24"/>
                </a:lnTo>
                <a:lnTo>
                  <a:pt x="2833" y="18"/>
                </a:lnTo>
                <a:lnTo>
                  <a:pt x="2876" y="13"/>
                </a:lnTo>
                <a:lnTo>
                  <a:pt x="2918" y="7"/>
                </a:lnTo>
                <a:lnTo>
                  <a:pt x="2962" y="4"/>
                </a:lnTo>
                <a:lnTo>
                  <a:pt x="3005" y="2"/>
                </a:lnTo>
                <a:lnTo>
                  <a:pt x="3049" y="1"/>
                </a:lnTo>
                <a:lnTo>
                  <a:pt x="3094" y="0"/>
                </a:lnTo>
                <a:lnTo>
                  <a:pt x="3138" y="1"/>
                </a:lnTo>
                <a:lnTo>
                  <a:pt x="3183" y="2"/>
                </a:lnTo>
                <a:lnTo>
                  <a:pt x="3226" y="4"/>
                </a:lnTo>
                <a:lnTo>
                  <a:pt x="3270" y="7"/>
                </a:lnTo>
                <a:lnTo>
                  <a:pt x="3312" y="13"/>
                </a:lnTo>
                <a:lnTo>
                  <a:pt x="3356" y="18"/>
                </a:lnTo>
                <a:lnTo>
                  <a:pt x="3397" y="24"/>
                </a:lnTo>
                <a:lnTo>
                  <a:pt x="3440" y="32"/>
                </a:lnTo>
                <a:lnTo>
                  <a:pt x="3481" y="40"/>
                </a:lnTo>
                <a:lnTo>
                  <a:pt x="3521" y="50"/>
                </a:lnTo>
                <a:lnTo>
                  <a:pt x="3563" y="60"/>
                </a:lnTo>
                <a:lnTo>
                  <a:pt x="3602" y="71"/>
                </a:lnTo>
                <a:lnTo>
                  <a:pt x="3643" y="84"/>
                </a:lnTo>
                <a:lnTo>
                  <a:pt x="3682" y="98"/>
                </a:lnTo>
                <a:lnTo>
                  <a:pt x="3721" y="111"/>
                </a:lnTo>
                <a:lnTo>
                  <a:pt x="3759" y="127"/>
                </a:lnTo>
                <a:lnTo>
                  <a:pt x="3798" y="143"/>
                </a:lnTo>
                <a:lnTo>
                  <a:pt x="3835" y="160"/>
                </a:lnTo>
                <a:lnTo>
                  <a:pt x="3873" y="179"/>
                </a:lnTo>
                <a:lnTo>
                  <a:pt x="3909" y="199"/>
                </a:lnTo>
                <a:lnTo>
                  <a:pt x="3946" y="219"/>
                </a:lnTo>
                <a:lnTo>
                  <a:pt x="3982" y="240"/>
                </a:lnTo>
                <a:lnTo>
                  <a:pt x="4017" y="263"/>
                </a:lnTo>
                <a:lnTo>
                  <a:pt x="4053" y="287"/>
                </a:lnTo>
                <a:lnTo>
                  <a:pt x="4088" y="311"/>
                </a:lnTo>
                <a:lnTo>
                  <a:pt x="4122" y="336"/>
                </a:lnTo>
                <a:lnTo>
                  <a:pt x="4156" y="362"/>
                </a:lnTo>
                <a:lnTo>
                  <a:pt x="4190" y="390"/>
                </a:lnTo>
                <a:lnTo>
                  <a:pt x="4223" y="419"/>
                </a:lnTo>
                <a:lnTo>
                  <a:pt x="4256" y="448"/>
                </a:lnTo>
                <a:lnTo>
                  <a:pt x="4289" y="478"/>
                </a:lnTo>
                <a:lnTo>
                  <a:pt x="4321" y="510"/>
                </a:lnTo>
                <a:lnTo>
                  <a:pt x="4353" y="542"/>
                </a:lnTo>
                <a:lnTo>
                  <a:pt x="4383" y="574"/>
                </a:lnTo>
                <a:lnTo>
                  <a:pt x="4412" y="607"/>
                </a:lnTo>
                <a:lnTo>
                  <a:pt x="4440" y="640"/>
                </a:lnTo>
                <a:lnTo>
                  <a:pt x="4467" y="674"/>
                </a:lnTo>
                <a:lnTo>
                  <a:pt x="4493" y="708"/>
                </a:lnTo>
                <a:lnTo>
                  <a:pt x="4518" y="742"/>
                </a:lnTo>
                <a:lnTo>
                  <a:pt x="4543" y="776"/>
                </a:lnTo>
                <a:lnTo>
                  <a:pt x="4566" y="811"/>
                </a:lnTo>
                <a:lnTo>
                  <a:pt x="4588" y="847"/>
                </a:lnTo>
                <a:lnTo>
                  <a:pt x="4610" y="883"/>
                </a:lnTo>
                <a:lnTo>
                  <a:pt x="4630" y="919"/>
                </a:lnTo>
                <a:lnTo>
                  <a:pt x="4649" y="955"/>
                </a:lnTo>
                <a:lnTo>
                  <a:pt x="4667" y="993"/>
                </a:lnTo>
                <a:lnTo>
                  <a:pt x="4685" y="1030"/>
                </a:lnTo>
                <a:lnTo>
                  <a:pt x="4701" y="1068"/>
                </a:lnTo>
                <a:lnTo>
                  <a:pt x="4716" y="1106"/>
                </a:lnTo>
                <a:lnTo>
                  <a:pt x="4731" y="1145"/>
                </a:lnTo>
                <a:lnTo>
                  <a:pt x="4745" y="1184"/>
                </a:lnTo>
                <a:lnTo>
                  <a:pt x="4756" y="1223"/>
                </a:lnTo>
                <a:lnTo>
                  <a:pt x="4768" y="1264"/>
                </a:lnTo>
                <a:lnTo>
                  <a:pt x="4779" y="1304"/>
                </a:lnTo>
                <a:lnTo>
                  <a:pt x="4788" y="1345"/>
                </a:lnTo>
                <a:lnTo>
                  <a:pt x="4797" y="1386"/>
                </a:lnTo>
                <a:lnTo>
                  <a:pt x="4803" y="1427"/>
                </a:lnTo>
                <a:lnTo>
                  <a:pt x="4810" y="1469"/>
                </a:lnTo>
                <a:lnTo>
                  <a:pt x="4816" y="1511"/>
                </a:lnTo>
                <a:lnTo>
                  <a:pt x="4820" y="1555"/>
                </a:lnTo>
                <a:lnTo>
                  <a:pt x="4823" y="1598"/>
                </a:lnTo>
                <a:lnTo>
                  <a:pt x="4825" y="1641"/>
                </a:lnTo>
                <a:lnTo>
                  <a:pt x="4827" y="1686"/>
                </a:lnTo>
                <a:lnTo>
                  <a:pt x="4827" y="1729"/>
                </a:lnTo>
                <a:lnTo>
                  <a:pt x="4827" y="1768"/>
                </a:lnTo>
                <a:lnTo>
                  <a:pt x="4826" y="1806"/>
                </a:lnTo>
                <a:lnTo>
                  <a:pt x="4824" y="1843"/>
                </a:lnTo>
                <a:lnTo>
                  <a:pt x="4822" y="1880"/>
                </a:lnTo>
                <a:lnTo>
                  <a:pt x="4818" y="1917"/>
                </a:lnTo>
                <a:lnTo>
                  <a:pt x="4814" y="1954"/>
                </a:lnTo>
                <a:lnTo>
                  <a:pt x="4808" y="1990"/>
                </a:lnTo>
                <a:lnTo>
                  <a:pt x="4803" y="2027"/>
                </a:lnTo>
                <a:lnTo>
                  <a:pt x="4797" y="2062"/>
                </a:lnTo>
                <a:lnTo>
                  <a:pt x="4789" y="2098"/>
                </a:lnTo>
                <a:lnTo>
                  <a:pt x="4781" y="2134"/>
                </a:lnTo>
                <a:lnTo>
                  <a:pt x="4772" y="2169"/>
                </a:lnTo>
                <a:lnTo>
                  <a:pt x="4763" y="2204"/>
                </a:lnTo>
                <a:lnTo>
                  <a:pt x="4752" y="2240"/>
                </a:lnTo>
                <a:lnTo>
                  <a:pt x="4740" y="2274"/>
                </a:lnTo>
                <a:lnTo>
                  <a:pt x="4729" y="2308"/>
                </a:lnTo>
                <a:lnTo>
                  <a:pt x="4716" y="2342"/>
                </a:lnTo>
                <a:lnTo>
                  <a:pt x="4702" y="2376"/>
                </a:lnTo>
                <a:lnTo>
                  <a:pt x="4688" y="2410"/>
                </a:lnTo>
                <a:lnTo>
                  <a:pt x="4673" y="2443"/>
                </a:lnTo>
                <a:lnTo>
                  <a:pt x="4657" y="2476"/>
                </a:lnTo>
                <a:lnTo>
                  <a:pt x="4641" y="2508"/>
                </a:lnTo>
                <a:lnTo>
                  <a:pt x="4624" y="2541"/>
                </a:lnTo>
                <a:lnTo>
                  <a:pt x="4605" y="2573"/>
                </a:lnTo>
                <a:lnTo>
                  <a:pt x="4586" y="2606"/>
                </a:lnTo>
                <a:lnTo>
                  <a:pt x="4566" y="2638"/>
                </a:lnTo>
                <a:lnTo>
                  <a:pt x="4546" y="2669"/>
                </a:lnTo>
                <a:lnTo>
                  <a:pt x="4525" y="2701"/>
                </a:lnTo>
                <a:lnTo>
                  <a:pt x="4502" y="2732"/>
                </a:lnTo>
                <a:lnTo>
                  <a:pt x="4480" y="2763"/>
                </a:lnTo>
                <a:lnTo>
                  <a:pt x="4456" y="2793"/>
                </a:lnTo>
                <a:lnTo>
                  <a:pt x="4431" y="2824"/>
                </a:lnTo>
                <a:lnTo>
                  <a:pt x="4407" y="2853"/>
                </a:lnTo>
                <a:lnTo>
                  <a:pt x="4381" y="2883"/>
                </a:lnTo>
                <a:lnTo>
                  <a:pt x="4356" y="2910"/>
                </a:lnTo>
                <a:lnTo>
                  <a:pt x="4329" y="2938"/>
                </a:lnTo>
                <a:lnTo>
                  <a:pt x="4303" y="2965"/>
                </a:lnTo>
                <a:lnTo>
                  <a:pt x="4276" y="2991"/>
                </a:lnTo>
                <a:lnTo>
                  <a:pt x="4249" y="3017"/>
                </a:lnTo>
                <a:lnTo>
                  <a:pt x="4220" y="3041"/>
                </a:lnTo>
                <a:lnTo>
                  <a:pt x="4192" y="3066"/>
                </a:lnTo>
                <a:lnTo>
                  <a:pt x="4164" y="3089"/>
                </a:lnTo>
                <a:lnTo>
                  <a:pt x="4134" y="3112"/>
                </a:lnTo>
                <a:lnTo>
                  <a:pt x="4105" y="3134"/>
                </a:lnTo>
                <a:lnTo>
                  <a:pt x="4075" y="3155"/>
                </a:lnTo>
                <a:lnTo>
                  <a:pt x="4045" y="3176"/>
                </a:lnTo>
                <a:lnTo>
                  <a:pt x="4014" y="3196"/>
                </a:lnTo>
                <a:lnTo>
                  <a:pt x="3982" y="3215"/>
                </a:lnTo>
                <a:lnTo>
                  <a:pt x="3950" y="3233"/>
                </a:lnTo>
                <a:lnTo>
                  <a:pt x="3919" y="3252"/>
                </a:lnTo>
                <a:lnTo>
                  <a:pt x="3887" y="3269"/>
                </a:lnTo>
                <a:lnTo>
                  <a:pt x="3854" y="3286"/>
                </a:lnTo>
                <a:lnTo>
                  <a:pt x="3820" y="3301"/>
                </a:lnTo>
                <a:lnTo>
                  <a:pt x="3786" y="3316"/>
                </a:lnTo>
                <a:lnTo>
                  <a:pt x="3752" y="3331"/>
                </a:lnTo>
                <a:lnTo>
                  <a:pt x="3718" y="3344"/>
                </a:lnTo>
                <a:lnTo>
                  <a:pt x="3683" y="3358"/>
                </a:lnTo>
                <a:lnTo>
                  <a:pt x="3647" y="3370"/>
                </a:lnTo>
                <a:lnTo>
                  <a:pt x="3611" y="3381"/>
                </a:lnTo>
                <a:lnTo>
                  <a:pt x="3575" y="3393"/>
                </a:lnTo>
                <a:lnTo>
                  <a:pt x="3538" y="3402"/>
                </a:lnTo>
                <a:lnTo>
                  <a:pt x="3500" y="3412"/>
                </a:lnTo>
                <a:lnTo>
                  <a:pt x="3463" y="3421"/>
                </a:lnTo>
                <a:lnTo>
                  <a:pt x="3425" y="3429"/>
                </a:lnTo>
                <a:lnTo>
                  <a:pt x="3438" y="3443"/>
                </a:lnTo>
                <a:lnTo>
                  <a:pt x="3449" y="3456"/>
                </a:lnTo>
                <a:lnTo>
                  <a:pt x="3459" y="3468"/>
                </a:lnTo>
                <a:lnTo>
                  <a:pt x="3466" y="3480"/>
                </a:lnTo>
                <a:lnTo>
                  <a:pt x="3473" y="3491"/>
                </a:lnTo>
                <a:lnTo>
                  <a:pt x="3477" y="3501"/>
                </a:lnTo>
                <a:lnTo>
                  <a:pt x="3479" y="3512"/>
                </a:lnTo>
                <a:lnTo>
                  <a:pt x="3480" y="3522"/>
                </a:lnTo>
                <a:close/>
              </a:path>
            </a:pathLst>
          </a:custGeom>
          <a:solidFill>
            <a:schemeClr val="accent1">
              <a:lumMod val="40000"/>
              <a:lumOff val="60000"/>
            </a:schemeClr>
          </a:solidFill>
          <a:ln w="9525">
            <a:noFill/>
            <a:round/>
            <a:headEnd/>
            <a:tailEnd/>
          </a:ln>
        </p:spPr>
        <p:txBody>
          <a:bodyPr/>
          <a:lstStyle>
            <a:defPPr>
              <a:defRPr lang="en-US"/>
            </a:defPPr>
            <a:lvl1pPr marL="0" algn="l" defTabSz="1018824" rtl="0" eaLnBrk="1" latinLnBrk="0" hangingPunct="1">
              <a:defRPr sz="2000" kern="1200">
                <a:solidFill>
                  <a:schemeClr val="tx1"/>
                </a:solidFill>
                <a:latin typeface="+mn-lt"/>
                <a:ea typeface="+mn-ea"/>
                <a:cs typeface="+mn-cs"/>
              </a:defRPr>
            </a:lvl1pPr>
            <a:lvl2pPr marL="509412" algn="l" defTabSz="1018824" rtl="0" eaLnBrk="1" latinLnBrk="0" hangingPunct="1">
              <a:defRPr sz="2000" kern="1200">
                <a:solidFill>
                  <a:schemeClr val="tx1"/>
                </a:solidFill>
                <a:latin typeface="+mn-lt"/>
                <a:ea typeface="+mn-ea"/>
                <a:cs typeface="+mn-cs"/>
              </a:defRPr>
            </a:lvl2pPr>
            <a:lvl3pPr marL="1018824" algn="l" defTabSz="1018824" rtl="0" eaLnBrk="1" latinLnBrk="0" hangingPunct="1">
              <a:defRPr sz="2000" kern="1200">
                <a:solidFill>
                  <a:schemeClr val="tx1"/>
                </a:solidFill>
                <a:latin typeface="+mn-lt"/>
                <a:ea typeface="+mn-ea"/>
                <a:cs typeface="+mn-cs"/>
              </a:defRPr>
            </a:lvl3pPr>
            <a:lvl4pPr marL="1528237" algn="l" defTabSz="1018824" rtl="0" eaLnBrk="1" latinLnBrk="0" hangingPunct="1">
              <a:defRPr sz="2000" kern="1200">
                <a:solidFill>
                  <a:schemeClr val="tx1"/>
                </a:solidFill>
                <a:latin typeface="+mn-lt"/>
                <a:ea typeface="+mn-ea"/>
                <a:cs typeface="+mn-cs"/>
              </a:defRPr>
            </a:lvl4pPr>
            <a:lvl5pPr marL="2037649" algn="l" defTabSz="1018824" rtl="0" eaLnBrk="1" latinLnBrk="0" hangingPunct="1">
              <a:defRPr sz="2000" kern="1200">
                <a:solidFill>
                  <a:schemeClr val="tx1"/>
                </a:solidFill>
                <a:latin typeface="+mn-lt"/>
                <a:ea typeface="+mn-ea"/>
                <a:cs typeface="+mn-cs"/>
              </a:defRPr>
            </a:lvl5pPr>
            <a:lvl6pPr marL="2547061" algn="l" defTabSz="1018824" rtl="0" eaLnBrk="1" latinLnBrk="0" hangingPunct="1">
              <a:defRPr sz="2000" kern="1200">
                <a:solidFill>
                  <a:schemeClr val="tx1"/>
                </a:solidFill>
                <a:latin typeface="+mn-lt"/>
                <a:ea typeface="+mn-ea"/>
                <a:cs typeface="+mn-cs"/>
              </a:defRPr>
            </a:lvl6pPr>
            <a:lvl7pPr marL="3056473" algn="l" defTabSz="1018824" rtl="0" eaLnBrk="1" latinLnBrk="0" hangingPunct="1">
              <a:defRPr sz="2000" kern="1200">
                <a:solidFill>
                  <a:schemeClr val="tx1"/>
                </a:solidFill>
                <a:latin typeface="+mn-lt"/>
                <a:ea typeface="+mn-ea"/>
                <a:cs typeface="+mn-cs"/>
              </a:defRPr>
            </a:lvl7pPr>
            <a:lvl8pPr marL="3565886" algn="l" defTabSz="1018824" rtl="0" eaLnBrk="1" latinLnBrk="0" hangingPunct="1">
              <a:defRPr sz="2000" kern="1200">
                <a:solidFill>
                  <a:schemeClr val="tx1"/>
                </a:solidFill>
                <a:latin typeface="+mn-lt"/>
                <a:ea typeface="+mn-ea"/>
                <a:cs typeface="+mn-cs"/>
              </a:defRPr>
            </a:lvl8pPr>
            <a:lvl9pPr marL="4075298" algn="l" defTabSz="1018824" rtl="0" eaLnBrk="1" latinLnBrk="0" hangingPunct="1">
              <a:defRPr sz="2000" kern="1200">
                <a:solidFill>
                  <a:schemeClr val="tx1"/>
                </a:solidFill>
                <a:latin typeface="+mn-lt"/>
                <a:ea typeface="+mn-ea"/>
                <a:cs typeface="+mn-cs"/>
              </a:defRPr>
            </a:lvl9pPr>
          </a:lstStyle>
          <a:p>
            <a:pPr marL="0" marR="0" lvl="0" indent="0" algn="l" defTabSz="1018824" rtl="0" eaLnBrk="1" fontAlgn="auto" latinLnBrk="0" hangingPunct="1">
              <a:lnSpc>
                <a:spcPct val="100000"/>
              </a:lnSpc>
              <a:spcBef>
                <a:spcPts val="0"/>
              </a:spcBef>
              <a:spcAft>
                <a:spcPts val="0"/>
              </a:spcAft>
              <a:buClrTx/>
              <a:buSzTx/>
              <a:buFontTx/>
              <a:buNone/>
              <a:tabLst/>
              <a:defRPr/>
            </a:pPr>
            <a:endParaRPr kumimoji="0" lang="en-GB" sz="1589"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8" name="Freeform 22">
            <a:extLst>
              <a:ext uri="{FF2B5EF4-FFF2-40B4-BE49-F238E27FC236}">
                <a16:creationId xmlns:a16="http://schemas.microsoft.com/office/drawing/2014/main" id="{4F01D42E-088C-4EF8-AEC5-4E35C85F18C0}"/>
              </a:ext>
            </a:extLst>
          </p:cNvPr>
          <p:cNvSpPr>
            <a:spLocks/>
          </p:cNvSpPr>
          <p:nvPr/>
        </p:nvSpPr>
        <p:spPr bwMode="auto">
          <a:xfrm>
            <a:off x="8899360" y="4319229"/>
            <a:ext cx="197037" cy="470851"/>
          </a:xfrm>
          <a:custGeom>
            <a:avLst/>
            <a:gdLst>
              <a:gd name="T0" fmla="*/ 13344091 w 6132"/>
              <a:gd name="T1" fmla="*/ 10441401 h 16980"/>
              <a:gd name="T2" fmla="*/ 14439013 w 6132"/>
              <a:gd name="T3" fmla="*/ 10808942 h 16980"/>
              <a:gd name="T4" fmla="*/ 15478309 w 6132"/>
              <a:gd name="T5" fmla="*/ 11467619 h 16980"/>
              <a:gd name="T6" fmla="*/ 16450295 w 6132"/>
              <a:gd name="T7" fmla="*/ 12408541 h 16980"/>
              <a:gd name="T8" fmla="*/ 17214401 w 6132"/>
              <a:gd name="T9" fmla="*/ 13481773 h 16980"/>
              <a:gd name="T10" fmla="*/ 17709159 w 6132"/>
              <a:gd name="T11" fmla="*/ 14605004 h 16980"/>
              <a:gd name="T12" fmla="*/ 17937493 w 6132"/>
              <a:gd name="T13" fmla="*/ 15789994 h 16980"/>
              <a:gd name="T14" fmla="*/ 17922884 w 6132"/>
              <a:gd name="T15" fmla="*/ 28795453 h 16980"/>
              <a:gd name="T16" fmla="*/ 17720901 w 6132"/>
              <a:gd name="T17" fmla="*/ 29724608 h 16980"/>
              <a:gd name="T18" fmla="*/ 17322724 w 6132"/>
              <a:gd name="T19" fmla="*/ 30571448 h 16980"/>
              <a:gd name="T20" fmla="*/ 16731329 w 6132"/>
              <a:gd name="T21" fmla="*/ 31344758 h 16980"/>
              <a:gd name="T22" fmla="*/ 15970146 w 6132"/>
              <a:gd name="T23" fmla="*/ 32000508 h 16980"/>
              <a:gd name="T24" fmla="*/ 15062602 w 6132"/>
              <a:gd name="T25" fmla="*/ 32509198 h 16980"/>
              <a:gd name="T26" fmla="*/ 14014483 w 6132"/>
              <a:gd name="T27" fmla="*/ 32867899 h 16980"/>
              <a:gd name="T28" fmla="*/ 4168927 w 6132"/>
              <a:gd name="T29" fmla="*/ 32935519 h 16980"/>
              <a:gd name="T30" fmla="*/ 3003722 w 6132"/>
              <a:gd name="T31" fmla="*/ 32515054 h 16980"/>
              <a:gd name="T32" fmla="*/ 2104943 w 6132"/>
              <a:gd name="T33" fmla="*/ 32053432 h 16980"/>
              <a:gd name="T34" fmla="*/ 1334994 w 6132"/>
              <a:gd name="T35" fmla="*/ 31503585 h 16980"/>
              <a:gd name="T36" fmla="*/ 723146 w 6132"/>
              <a:gd name="T37" fmla="*/ 30883136 h 16980"/>
              <a:gd name="T38" fmla="*/ 295697 w 6132"/>
              <a:gd name="T39" fmla="*/ 30230369 h 16980"/>
              <a:gd name="T40" fmla="*/ 55622 w 6132"/>
              <a:gd name="T41" fmla="*/ 29542302 h 16980"/>
              <a:gd name="T42" fmla="*/ 2922 w 6132"/>
              <a:gd name="T43" fmla="*/ 16034064 h 16980"/>
              <a:gd name="T44" fmla="*/ 166867 w 6132"/>
              <a:gd name="T45" fmla="*/ 14637376 h 16980"/>
              <a:gd name="T46" fmla="*/ 608925 w 6132"/>
              <a:gd name="T47" fmla="*/ 13408297 h 16980"/>
              <a:gd name="T48" fmla="*/ 1326228 w 6132"/>
              <a:gd name="T49" fmla="*/ 12352689 h 16980"/>
              <a:gd name="T50" fmla="*/ 2309902 w 6132"/>
              <a:gd name="T51" fmla="*/ 11479386 h 16980"/>
              <a:gd name="T52" fmla="*/ 3495559 w 6132"/>
              <a:gd name="T53" fmla="*/ 10853081 h 16980"/>
              <a:gd name="T54" fmla="*/ 4889097 w 6132"/>
              <a:gd name="T55" fmla="*/ 10479630 h 16980"/>
              <a:gd name="T56" fmla="*/ 6475906 w 6132"/>
              <a:gd name="T57" fmla="*/ 10356104 h 16980"/>
              <a:gd name="T58" fmla="*/ 6768627 w 6132"/>
              <a:gd name="T59" fmla="*/ 10332625 h 16980"/>
              <a:gd name="T60" fmla="*/ 7661564 w 6132"/>
              <a:gd name="T61" fmla="*/ 10323786 h 16980"/>
              <a:gd name="T62" fmla="*/ 7863602 w 6132"/>
              <a:gd name="T63" fmla="*/ 10085627 h 16980"/>
              <a:gd name="T64" fmla="*/ 7032131 w 6132"/>
              <a:gd name="T65" fmla="*/ 9768029 h 16980"/>
              <a:gd name="T66" fmla="*/ 6197794 w 6132"/>
              <a:gd name="T67" fmla="*/ 9285801 h 16980"/>
              <a:gd name="T68" fmla="*/ 5471726 w 6132"/>
              <a:gd name="T69" fmla="*/ 8674191 h 16980"/>
              <a:gd name="T70" fmla="*/ 4859825 w 6132"/>
              <a:gd name="T71" fmla="*/ 7936181 h 16980"/>
              <a:gd name="T72" fmla="*/ 4409002 w 6132"/>
              <a:gd name="T73" fmla="*/ 7115803 h 16980"/>
              <a:gd name="T74" fmla="*/ 4122070 w 6132"/>
              <a:gd name="T75" fmla="*/ 6242499 h 16980"/>
              <a:gd name="T76" fmla="*/ 4002059 w 6132"/>
              <a:gd name="T77" fmla="*/ 5304506 h 16980"/>
              <a:gd name="T78" fmla="*/ 4069369 w 6132"/>
              <a:gd name="T79" fmla="*/ 4195974 h 16980"/>
              <a:gd name="T80" fmla="*/ 4370910 w 6132"/>
              <a:gd name="T81" fmla="*/ 3140364 h 16980"/>
              <a:gd name="T82" fmla="*/ 4906682 w 6132"/>
              <a:gd name="T83" fmla="*/ 2181765 h 16980"/>
              <a:gd name="T84" fmla="*/ 5679553 w 6132"/>
              <a:gd name="T85" fmla="*/ 1317301 h 16980"/>
              <a:gd name="T86" fmla="*/ 6578332 w 6132"/>
              <a:gd name="T87" fmla="*/ 643928 h 16980"/>
              <a:gd name="T88" fmla="*/ 7576670 w 6132"/>
              <a:gd name="T89" fmla="*/ 208768 h 16980"/>
              <a:gd name="T90" fmla="*/ 8671588 w 6132"/>
              <a:gd name="T91" fmla="*/ 11767 h 16980"/>
              <a:gd name="T92" fmla="*/ 9825105 w 6132"/>
              <a:gd name="T93" fmla="*/ 52924 h 16980"/>
              <a:gd name="T94" fmla="*/ 10893673 w 6132"/>
              <a:gd name="T95" fmla="*/ 326384 h 16980"/>
              <a:gd name="T96" fmla="*/ 11865659 w 6132"/>
              <a:gd name="T97" fmla="*/ 843912 h 16980"/>
              <a:gd name="T98" fmla="*/ 12743931 w 6132"/>
              <a:gd name="T99" fmla="*/ 1593689 h 16980"/>
              <a:gd name="T100" fmla="*/ 13431908 w 6132"/>
              <a:gd name="T101" fmla="*/ 2490525 h 16980"/>
              <a:gd name="T102" fmla="*/ 13891551 w 6132"/>
              <a:gd name="T103" fmla="*/ 3481443 h 16980"/>
              <a:gd name="T104" fmla="*/ 14111119 w 6132"/>
              <a:gd name="T105" fmla="*/ 4572353 h 16980"/>
              <a:gd name="T106" fmla="*/ 14105275 w 6132"/>
              <a:gd name="T107" fmla="*/ 5636746 h 16980"/>
              <a:gd name="T108" fmla="*/ 13912057 w 6132"/>
              <a:gd name="T109" fmla="*/ 6586506 h 16980"/>
              <a:gd name="T110" fmla="*/ 13537309 w 6132"/>
              <a:gd name="T111" fmla="*/ 7471577 h 16980"/>
              <a:gd name="T112" fmla="*/ 12972265 w 6132"/>
              <a:gd name="T113" fmla="*/ 8303722 h 16980"/>
              <a:gd name="T114" fmla="*/ 12272601 w 6132"/>
              <a:gd name="T115" fmla="*/ 9015324 h 16980"/>
              <a:gd name="T116" fmla="*/ 11473326 w 6132"/>
              <a:gd name="T117" fmla="*/ 9562188 h 16980"/>
              <a:gd name="T118" fmla="*/ 10571626 w 6132"/>
              <a:gd name="T119" fmla="*/ 9941550 h 16980"/>
              <a:gd name="T120" fmla="*/ 10147098 w 6132"/>
              <a:gd name="T121" fmla="*/ 10232633 h 1698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6132"/>
              <a:gd name="T184" fmla="*/ 0 h 16980"/>
              <a:gd name="T185" fmla="*/ 6132 w 6132"/>
              <a:gd name="T186" fmla="*/ 16980 h 16980"/>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6132" h="16980">
                <a:moveTo>
                  <a:pt x="3480" y="3522"/>
                </a:moveTo>
                <a:lnTo>
                  <a:pt x="4254" y="3522"/>
                </a:lnTo>
                <a:lnTo>
                  <a:pt x="4298" y="3522"/>
                </a:lnTo>
                <a:lnTo>
                  <a:pt x="4342" y="3524"/>
                </a:lnTo>
                <a:lnTo>
                  <a:pt x="4386" y="3527"/>
                </a:lnTo>
                <a:lnTo>
                  <a:pt x="4429" y="3531"/>
                </a:lnTo>
                <a:lnTo>
                  <a:pt x="4473" y="3536"/>
                </a:lnTo>
                <a:lnTo>
                  <a:pt x="4515" y="3543"/>
                </a:lnTo>
                <a:lnTo>
                  <a:pt x="4558" y="3551"/>
                </a:lnTo>
                <a:lnTo>
                  <a:pt x="4601" y="3560"/>
                </a:lnTo>
                <a:lnTo>
                  <a:pt x="4643" y="3570"/>
                </a:lnTo>
                <a:lnTo>
                  <a:pt x="4685" y="3582"/>
                </a:lnTo>
                <a:lnTo>
                  <a:pt x="4727" y="3595"/>
                </a:lnTo>
                <a:lnTo>
                  <a:pt x="4769" y="3609"/>
                </a:lnTo>
                <a:lnTo>
                  <a:pt x="4809" y="3624"/>
                </a:lnTo>
                <a:lnTo>
                  <a:pt x="4851" y="3640"/>
                </a:lnTo>
                <a:lnTo>
                  <a:pt x="4892" y="3658"/>
                </a:lnTo>
                <a:lnTo>
                  <a:pt x="4932" y="3676"/>
                </a:lnTo>
                <a:lnTo>
                  <a:pt x="4973" y="3696"/>
                </a:lnTo>
                <a:lnTo>
                  <a:pt x="5013" y="3717"/>
                </a:lnTo>
                <a:lnTo>
                  <a:pt x="5052" y="3739"/>
                </a:lnTo>
                <a:lnTo>
                  <a:pt x="5093" y="3763"/>
                </a:lnTo>
                <a:lnTo>
                  <a:pt x="5132" y="3788"/>
                </a:lnTo>
                <a:lnTo>
                  <a:pt x="5171" y="3814"/>
                </a:lnTo>
                <a:lnTo>
                  <a:pt x="5210" y="3842"/>
                </a:lnTo>
                <a:lnTo>
                  <a:pt x="5249" y="3870"/>
                </a:lnTo>
                <a:lnTo>
                  <a:pt x="5287" y="3900"/>
                </a:lnTo>
                <a:lnTo>
                  <a:pt x="5325" y="3931"/>
                </a:lnTo>
                <a:lnTo>
                  <a:pt x="5364" y="3963"/>
                </a:lnTo>
                <a:lnTo>
                  <a:pt x="5401" y="3997"/>
                </a:lnTo>
                <a:lnTo>
                  <a:pt x="5438" y="4031"/>
                </a:lnTo>
                <a:lnTo>
                  <a:pt x="5475" y="4067"/>
                </a:lnTo>
                <a:lnTo>
                  <a:pt x="5512" y="4104"/>
                </a:lnTo>
                <a:lnTo>
                  <a:pt x="5549" y="4142"/>
                </a:lnTo>
                <a:lnTo>
                  <a:pt x="5584" y="4181"/>
                </a:lnTo>
                <a:lnTo>
                  <a:pt x="5619" y="4220"/>
                </a:lnTo>
                <a:lnTo>
                  <a:pt x="5652" y="4260"/>
                </a:lnTo>
                <a:lnTo>
                  <a:pt x="5685" y="4300"/>
                </a:lnTo>
                <a:lnTo>
                  <a:pt x="5716" y="4339"/>
                </a:lnTo>
                <a:lnTo>
                  <a:pt x="5747" y="4379"/>
                </a:lnTo>
                <a:lnTo>
                  <a:pt x="5775" y="4420"/>
                </a:lnTo>
                <a:lnTo>
                  <a:pt x="5803" y="4460"/>
                </a:lnTo>
                <a:lnTo>
                  <a:pt x="5830" y="4502"/>
                </a:lnTo>
                <a:lnTo>
                  <a:pt x="5855" y="4543"/>
                </a:lnTo>
                <a:lnTo>
                  <a:pt x="5880" y="4585"/>
                </a:lnTo>
                <a:lnTo>
                  <a:pt x="5904" y="4626"/>
                </a:lnTo>
                <a:lnTo>
                  <a:pt x="5925" y="4667"/>
                </a:lnTo>
                <a:lnTo>
                  <a:pt x="5946" y="4710"/>
                </a:lnTo>
                <a:lnTo>
                  <a:pt x="5967" y="4752"/>
                </a:lnTo>
                <a:lnTo>
                  <a:pt x="5986" y="4795"/>
                </a:lnTo>
                <a:lnTo>
                  <a:pt x="6004" y="4838"/>
                </a:lnTo>
                <a:lnTo>
                  <a:pt x="6020" y="4880"/>
                </a:lnTo>
                <a:lnTo>
                  <a:pt x="6036" y="4924"/>
                </a:lnTo>
                <a:lnTo>
                  <a:pt x="6049" y="4967"/>
                </a:lnTo>
                <a:lnTo>
                  <a:pt x="6063" y="5011"/>
                </a:lnTo>
                <a:lnTo>
                  <a:pt x="6075" y="5055"/>
                </a:lnTo>
                <a:lnTo>
                  <a:pt x="6085" y="5100"/>
                </a:lnTo>
                <a:lnTo>
                  <a:pt x="6095" y="5144"/>
                </a:lnTo>
                <a:lnTo>
                  <a:pt x="6104" y="5189"/>
                </a:lnTo>
                <a:lnTo>
                  <a:pt x="6111" y="5234"/>
                </a:lnTo>
                <a:lnTo>
                  <a:pt x="6117" y="5280"/>
                </a:lnTo>
                <a:lnTo>
                  <a:pt x="6123" y="5324"/>
                </a:lnTo>
                <a:lnTo>
                  <a:pt x="6127" y="5370"/>
                </a:lnTo>
                <a:lnTo>
                  <a:pt x="6130" y="5417"/>
                </a:lnTo>
                <a:lnTo>
                  <a:pt x="6131" y="5463"/>
                </a:lnTo>
                <a:lnTo>
                  <a:pt x="6132" y="5509"/>
                </a:lnTo>
                <a:lnTo>
                  <a:pt x="6132" y="9605"/>
                </a:lnTo>
                <a:lnTo>
                  <a:pt x="6132" y="9643"/>
                </a:lnTo>
                <a:lnTo>
                  <a:pt x="6130" y="9682"/>
                </a:lnTo>
                <a:lnTo>
                  <a:pt x="6129" y="9719"/>
                </a:lnTo>
                <a:lnTo>
                  <a:pt x="6126" y="9756"/>
                </a:lnTo>
                <a:lnTo>
                  <a:pt x="6122" y="9793"/>
                </a:lnTo>
                <a:lnTo>
                  <a:pt x="6117" y="9829"/>
                </a:lnTo>
                <a:lnTo>
                  <a:pt x="6112" y="9866"/>
                </a:lnTo>
                <a:lnTo>
                  <a:pt x="6107" y="9901"/>
                </a:lnTo>
                <a:lnTo>
                  <a:pt x="6099" y="9937"/>
                </a:lnTo>
                <a:lnTo>
                  <a:pt x="6092" y="9972"/>
                </a:lnTo>
                <a:lnTo>
                  <a:pt x="6083" y="10007"/>
                </a:lnTo>
                <a:lnTo>
                  <a:pt x="6074" y="10041"/>
                </a:lnTo>
                <a:lnTo>
                  <a:pt x="6063" y="10075"/>
                </a:lnTo>
                <a:lnTo>
                  <a:pt x="6053" y="10109"/>
                </a:lnTo>
                <a:lnTo>
                  <a:pt x="6041" y="10142"/>
                </a:lnTo>
                <a:lnTo>
                  <a:pt x="6028" y="10175"/>
                </a:lnTo>
                <a:lnTo>
                  <a:pt x="6014" y="10208"/>
                </a:lnTo>
                <a:lnTo>
                  <a:pt x="6001" y="10241"/>
                </a:lnTo>
                <a:lnTo>
                  <a:pt x="5986" y="10273"/>
                </a:lnTo>
                <a:lnTo>
                  <a:pt x="5970" y="10305"/>
                </a:lnTo>
                <a:lnTo>
                  <a:pt x="5953" y="10335"/>
                </a:lnTo>
                <a:lnTo>
                  <a:pt x="5935" y="10366"/>
                </a:lnTo>
                <a:lnTo>
                  <a:pt x="5917" y="10397"/>
                </a:lnTo>
                <a:lnTo>
                  <a:pt x="5898" y="10428"/>
                </a:lnTo>
                <a:lnTo>
                  <a:pt x="5877" y="10458"/>
                </a:lnTo>
                <a:lnTo>
                  <a:pt x="5857" y="10487"/>
                </a:lnTo>
                <a:lnTo>
                  <a:pt x="5835" y="10517"/>
                </a:lnTo>
                <a:lnTo>
                  <a:pt x="5813" y="10546"/>
                </a:lnTo>
                <a:lnTo>
                  <a:pt x="5789" y="10575"/>
                </a:lnTo>
                <a:lnTo>
                  <a:pt x="5766" y="10603"/>
                </a:lnTo>
                <a:lnTo>
                  <a:pt x="5740" y="10632"/>
                </a:lnTo>
                <a:lnTo>
                  <a:pt x="5715" y="10660"/>
                </a:lnTo>
                <a:lnTo>
                  <a:pt x="5688" y="10687"/>
                </a:lnTo>
                <a:lnTo>
                  <a:pt x="5661" y="10714"/>
                </a:lnTo>
                <a:lnTo>
                  <a:pt x="5633" y="10739"/>
                </a:lnTo>
                <a:lnTo>
                  <a:pt x="5606" y="10765"/>
                </a:lnTo>
                <a:lnTo>
                  <a:pt x="5576" y="10790"/>
                </a:lnTo>
                <a:lnTo>
                  <a:pt x="5546" y="10814"/>
                </a:lnTo>
                <a:lnTo>
                  <a:pt x="5516" y="10838"/>
                </a:lnTo>
                <a:lnTo>
                  <a:pt x="5486" y="10860"/>
                </a:lnTo>
                <a:lnTo>
                  <a:pt x="5455" y="10883"/>
                </a:lnTo>
                <a:lnTo>
                  <a:pt x="5422" y="10905"/>
                </a:lnTo>
                <a:lnTo>
                  <a:pt x="5390" y="10925"/>
                </a:lnTo>
                <a:lnTo>
                  <a:pt x="5357" y="10947"/>
                </a:lnTo>
                <a:lnTo>
                  <a:pt x="5323" y="10966"/>
                </a:lnTo>
                <a:lnTo>
                  <a:pt x="5288" y="10985"/>
                </a:lnTo>
                <a:lnTo>
                  <a:pt x="5253" y="11004"/>
                </a:lnTo>
                <a:lnTo>
                  <a:pt x="5218" y="11022"/>
                </a:lnTo>
                <a:lnTo>
                  <a:pt x="5182" y="11039"/>
                </a:lnTo>
                <a:lnTo>
                  <a:pt x="5145" y="11056"/>
                </a:lnTo>
                <a:lnTo>
                  <a:pt x="5108" y="11072"/>
                </a:lnTo>
                <a:lnTo>
                  <a:pt x="5069" y="11087"/>
                </a:lnTo>
                <a:lnTo>
                  <a:pt x="5031" y="11102"/>
                </a:lnTo>
                <a:lnTo>
                  <a:pt x="4992" y="11117"/>
                </a:lnTo>
                <a:lnTo>
                  <a:pt x="4952" y="11130"/>
                </a:lnTo>
                <a:lnTo>
                  <a:pt x="4911" y="11143"/>
                </a:lnTo>
                <a:lnTo>
                  <a:pt x="4871" y="11155"/>
                </a:lnTo>
                <a:lnTo>
                  <a:pt x="4828" y="11167"/>
                </a:lnTo>
                <a:lnTo>
                  <a:pt x="4787" y="11178"/>
                </a:lnTo>
                <a:lnTo>
                  <a:pt x="4743" y="11189"/>
                </a:lnTo>
                <a:lnTo>
                  <a:pt x="4701" y="11199"/>
                </a:lnTo>
                <a:lnTo>
                  <a:pt x="4656" y="11208"/>
                </a:lnTo>
                <a:lnTo>
                  <a:pt x="4612" y="11217"/>
                </a:lnTo>
                <a:lnTo>
                  <a:pt x="4567" y="11225"/>
                </a:lnTo>
                <a:lnTo>
                  <a:pt x="4567" y="16980"/>
                </a:lnTo>
                <a:lnTo>
                  <a:pt x="1510" y="16980"/>
                </a:lnTo>
                <a:lnTo>
                  <a:pt x="1510" y="11225"/>
                </a:lnTo>
                <a:lnTo>
                  <a:pt x="1424" y="11201"/>
                </a:lnTo>
                <a:lnTo>
                  <a:pt x="1340" y="11175"/>
                </a:lnTo>
                <a:lnTo>
                  <a:pt x="1298" y="11161"/>
                </a:lnTo>
                <a:lnTo>
                  <a:pt x="1258" y="11148"/>
                </a:lnTo>
                <a:lnTo>
                  <a:pt x="1218" y="11134"/>
                </a:lnTo>
                <a:lnTo>
                  <a:pt x="1178" y="11120"/>
                </a:lnTo>
                <a:lnTo>
                  <a:pt x="1139" y="11105"/>
                </a:lnTo>
                <a:lnTo>
                  <a:pt x="1101" y="11089"/>
                </a:lnTo>
                <a:lnTo>
                  <a:pt x="1064" y="11074"/>
                </a:lnTo>
                <a:lnTo>
                  <a:pt x="1026" y="11058"/>
                </a:lnTo>
                <a:lnTo>
                  <a:pt x="990" y="11042"/>
                </a:lnTo>
                <a:lnTo>
                  <a:pt x="954" y="11025"/>
                </a:lnTo>
                <a:lnTo>
                  <a:pt x="918" y="11009"/>
                </a:lnTo>
                <a:lnTo>
                  <a:pt x="884" y="10991"/>
                </a:lnTo>
                <a:lnTo>
                  <a:pt x="849" y="10974"/>
                </a:lnTo>
                <a:lnTo>
                  <a:pt x="816" y="10956"/>
                </a:lnTo>
                <a:lnTo>
                  <a:pt x="782" y="10938"/>
                </a:lnTo>
                <a:lnTo>
                  <a:pt x="750" y="10920"/>
                </a:lnTo>
                <a:lnTo>
                  <a:pt x="719" y="10901"/>
                </a:lnTo>
                <a:lnTo>
                  <a:pt x="687" y="10882"/>
                </a:lnTo>
                <a:lnTo>
                  <a:pt x="656" y="10862"/>
                </a:lnTo>
                <a:lnTo>
                  <a:pt x="626" y="10841"/>
                </a:lnTo>
                <a:lnTo>
                  <a:pt x="596" y="10821"/>
                </a:lnTo>
                <a:lnTo>
                  <a:pt x="567" y="10801"/>
                </a:lnTo>
                <a:lnTo>
                  <a:pt x="539" y="10780"/>
                </a:lnTo>
                <a:lnTo>
                  <a:pt x="510" y="10758"/>
                </a:lnTo>
                <a:lnTo>
                  <a:pt x="484" y="10736"/>
                </a:lnTo>
                <a:lnTo>
                  <a:pt x="456" y="10714"/>
                </a:lnTo>
                <a:lnTo>
                  <a:pt x="431" y="10691"/>
                </a:lnTo>
                <a:lnTo>
                  <a:pt x="405" y="10668"/>
                </a:lnTo>
                <a:lnTo>
                  <a:pt x="380" y="10646"/>
                </a:lnTo>
                <a:lnTo>
                  <a:pt x="355" y="10622"/>
                </a:lnTo>
                <a:lnTo>
                  <a:pt x="332" y="10599"/>
                </a:lnTo>
                <a:lnTo>
                  <a:pt x="310" y="10576"/>
                </a:lnTo>
                <a:lnTo>
                  <a:pt x="289" y="10551"/>
                </a:lnTo>
                <a:lnTo>
                  <a:pt x="267" y="10528"/>
                </a:lnTo>
                <a:lnTo>
                  <a:pt x="247" y="10503"/>
                </a:lnTo>
                <a:lnTo>
                  <a:pt x="228" y="10480"/>
                </a:lnTo>
                <a:lnTo>
                  <a:pt x="209" y="10455"/>
                </a:lnTo>
                <a:lnTo>
                  <a:pt x="191" y="10431"/>
                </a:lnTo>
                <a:lnTo>
                  <a:pt x="174" y="10407"/>
                </a:lnTo>
                <a:lnTo>
                  <a:pt x="158" y="10382"/>
                </a:lnTo>
                <a:lnTo>
                  <a:pt x="142" y="10357"/>
                </a:lnTo>
                <a:lnTo>
                  <a:pt x="128" y="10332"/>
                </a:lnTo>
                <a:lnTo>
                  <a:pt x="114" y="10307"/>
                </a:lnTo>
                <a:lnTo>
                  <a:pt x="101" y="10281"/>
                </a:lnTo>
                <a:lnTo>
                  <a:pt x="89" y="10256"/>
                </a:lnTo>
                <a:lnTo>
                  <a:pt x="77" y="10230"/>
                </a:lnTo>
                <a:lnTo>
                  <a:pt x="67" y="10205"/>
                </a:lnTo>
                <a:lnTo>
                  <a:pt x="57" y="10179"/>
                </a:lnTo>
                <a:lnTo>
                  <a:pt x="48" y="10153"/>
                </a:lnTo>
                <a:lnTo>
                  <a:pt x="39" y="10127"/>
                </a:lnTo>
                <a:lnTo>
                  <a:pt x="32" y="10100"/>
                </a:lnTo>
                <a:lnTo>
                  <a:pt x="25" y="10074"/>
                </a:lnTo>
                <a:lnTo>
                  <a:pt x="19" y="10047"/>
                </a:lnTo>
                <a:lnTo>
                  <a:pt x="14" y="10021"/>
                </a:lnTo>
                <a:lnTo>
                  <a:pt x="9" y="9994"/>
                </a:lnTo>
                <a:lnTo>
                  <a:pt x="6" y="9967"/>
                </a:lnTo>
                <a:lnTo>
                  <a:pt x="3" y="9940"/>
                </a:lnTo>
                <a:lnTo>
                  <a:pt x="1" y="9912"/>
                </a:lnTo>
                <a:lnTo>
                  <a:pt x="0" y="9885"/>
                </a:lnTo>
                <a:lnTo>
                  <a:pt x="0" y="9857"/>
                </a:lnTo>
                <a:lnTo>
                  <a:pt x="0" y="5509"/>
                </a:lnTo>
                <a:lnTo>
                  <a:pt x="1" y="5453"/>
                </a:lnTo>
                <a:lnTo>
                  <a:pt x="2" y="5398"/>
                </a:lnTo>
                <a:lnTo>
                  <a:pt x="5" y="5342"/>
                </a:lnTo>
                <a:lnTo>
                  <a:pt x="9" y="5288"/>
                </a:lnTo>
                <a:lnTo>
                  <a:pt x="15" y="5235"/>
                </a:lnTo>
                <a:lnTo>
                  <a:pt x="21" y="5182"/>
                </a:lnTo>
                <a:lnTo>
                  <a:pt x="28" y="5130"/>
                </a:lnTo>
                <a:lnTo>
                  <a:pt x="37" y="5079"/>
                </a:lnTo>
                <a:lnTo>
                  <a:pt x="47" y="5028"/>
                </a:lnTo>
                <a:lnTo>
                  <a:pt x="57" y="4978"/>
                </a:lnTo>
                <a:lnTo>
                  <a:pt x="70" y="4929"/>
                </a:lnTo>
                <a:lnTo>
                  <a:pt x="83" y="4880"/>
                </a:lnTo>
                <a:lnTo>
                  <a:pt x="97" y="4832"/>
                </a:lnTo>
                <a:lnTo>
                  <a:pt x="112" y="4785"/>
                </a:lnTo>
                <a:lnTo>
                  <a:pt x="129" y="4739"/>
                </a:lnTo>
                <a:lnTo>
                  <a:pt x="147" y="4693"/>
                </a:lnTo>
                <a:lnTo>
                  <a:pt x="166" y="4648"/>
                </a:lnTo>
                <a:lnTo>
                  <a:pt x="187" y="4604"/>
                </a:lnTo>
                <a:lnTo>
                  <a:pt x="208" y="4560"/>
                </a:lnTo>
                <a:lnTo>
                  <a:pt x="230" y="4518"/>
                </a:lnTo>
                <a:lnTo>
                  <a:pt x="255" y="4476"/>
                </a:lnTo>
                <a:lnTo>
                  <a:pt x="279" y="4435"/>
                </a:lnTo>
                <a:lnTo>
                  <a:pt x="306" y="4393"/>
                </a:lnTo>
                <a:lnTo>
                  <a:pt x="332" y="4354"/>
                </a:lnTo>
                <a:lnTo>
                  <a:pt x="361" y="4315"/>
                </a:lnTo>
                <a:lnTo>
                  <a:pt x="391" y="4275"/>
                </a:lnTo>
                <a:lnTo>
                  <a:pt x="421" y="4238"/>
                </a:lnTo>
                <a:lnTo>
                  <a:pt x="453" y="4201"/>
                </a:lnTo>
                <a:lnTo>
                  <a:pt x="486" y="4165"/>
                </a:lnTo>
                <a:lnTo>
                  <a:pt x="520" y="4129"/>
                </a:lnTo>
                <a:lnTo>
                  <a:pt x="556" y="4093"/>
                </a:lnTo>
                <a:lnTo>
                  <a:pt x="592" y="4059"/>
                </a:lnTo>
                <a:lnTo>
                  <a:pt x="629" y="4025"/>
                </a:lnTo>
                <a:lnTo>
                  <a:pt x="668" y="3994"/>
                </a:lnTo>
                <a:lnTo>
                  <a:pt x="707" y="3963"/>
                </a:lnTo>
                <a:lnTo>
                  <a:pt x="747" y="3933"/>
                </a:lnTo>
                <a:lnTo>
                  <a:pt x="789" y="3904"/>
                </a:lnTo>
                <a:lnTo>
                  <a:pt x="830" y="3876"/>
                </a:lnTo>
                <a:lnTo>
                  <a:pt x="873" y="3849"/>
                </a:lnTo>
                <a:lnTo>
                  <a:pt x="916" y="3823"/>
                </a:lnTo>
                <a:lnTo>
                  <a:pt x="961" y="3799"/>
                </a:lnTo>
                <a:lnTo>
                  <a:pt x="1005" y="3775"/>
                </a:lnTo>
                <a:lnTo>
                  <a:pt x="1052" y="3752"/>
                </a:lnTo>
                <a:lnTo>
                  <a:pt x="1099" y="3731"/>
                </a:lnTo>
                <a:lnTo>
                  <a:pt x="1146" y="3711"/>
                </a:lnTo>
                <a:lnTo>
                  <a:pt x="1194" y="3691"/>
                </a:lnTo>
                <a:lnTo>
                  <a:pt x="1244" y="3672"/>
                </a:lnTo>
                <a:lnTo>
                  <a:pt x="1294" y="3655"/>
                </a:lnTo>
                <a:lnTo>
                  <a:pt x="1345" y="3640"/>
                </a:lnTo>
                <a:lnTo>
                  <a:pt x="1397" y="3624"/>
                </a:lnTo>
                <a:lnTo>
                  <a:pt x="1450" y="3610"/>
                </a:lnTo>
                <a:lnTo>
                  <a:pt x="1503" y="3597"/>
                </a:lnTo>
                <a:lnTo>
                  <a:pt x="1558" y="3584"/>
                </a:lnTo>
                <a:lnTo>
                  <a:pt x="1614" y="3574"/>
                </a:lnTo>
                <a:lnTo>
                  <a:pt x="1670" y="3564"/>
                </a:lnTo>
                <a:lnTo>
                  <a:pt x="1726" y="3554"/>
                </a:lnTo>
                <a:lnTo>
                  <a:pt x="1785" y="3547"/>
                </a:lnTo>
                <a:lnTo>
                  <a:pt x="1843" y="3540"/>
                </a:lnTo>
                <a:lnTo>
                  <a:pt x="1902" y="3534"/>
                </a:lnTo>
                <a:lnTo>
                  <a:pt x="1963" y="3530"/>
                </a:lnTo>
                <a:lnTo>
                  <a:pt x="2024" y="3526"/>
                </a:lnTo>
                <a:lnTo>
                  <a:pt x="2086" y="3524"/>
                </a:lnTo>
                <a:lnTo>
                  <a:pt x="2149" y="3522"/>
                </a:lnTo>
                <a:lnTo>
                  <a:pt x="2212" y="3522"/>
                </a:lnTo>
                <a:lnTo>
                  <a:pt x="2218" y="3517"/>
                </a:lnTo>
                <a:lnTo>
                  <a:pt x="2224" y="3514"/>
                </a:lnTo>
                <a:lnTo>
                  <a:pt x="2230" y="3513"/>
                </a:lnTo>
                <a:lnTo>
                  <a:pt x="2237" y="3512"/>
                </a:lnTo>
                <a:lnTo>
                  <a:pt x="2243" y="3512"/>
                </a:lnTo>
                <a:lnTo>
                  <a:pt x="2251" y="3512"/>
                </a:lnTo>
                <a:lnTo>
                  <a:pt x="2261" y="3512"/>
                </a:lnTo>
                <a:lnTo>
                  <a:pt x="2274" y="3512"/>
                </a:lnTo>
                <a:lnTo>
                  <a:pt x="2312" y="3514"/>
                </a:lnTo>
                <a:lnTo>
                  <a:pt x="2353" y="3516"/>
                </a:lnTo>
                <a:lnTo>
                  <a:pt x="2393" y="3517"/>
                </a:lnTo>
                <a:lnTo>
                  <a:pt x="2435" y="3519"/>
                </a:lnTo>
                <a:lnTo>
                  <a:pt x="2479" y="3520"/>
                </a:lnTo>
                <a:lnTo>
                  <a:pt x="2522" y="3520"/>
                </a:lnTo>
                <a:lnTo>
                  <a:pt x="2568" y="3522"/>
                </a:lnTo>
                <a:lnTo>
                  <a:pt x="2615" y="3522"/>
                </a:lnTo>
                <a:lnTo>
                  <a:pt x="2616" y="3516"/>
                </a:lnTo>
                <a:lnTo>
                  <a:pt x="2617" y="3511"/>
                </a:lnTo>
                <a:lnTo>
                  <a:pt x="2620" y="3505"/>
                </a:lnTo>
                <a:lnTo>
                  <a:pt x="2623" y="3498"/>
                </a:lnTo>
                <a:lnTo>
                  <a:pt x="2634" y="3483"/>
                </a:lnTo>
                <a:lnTo>
                  <a:pt x="2649" y="3466"/>
                </a:lnTo>
                <a:lnTo>
                  <a:pt x="2663" y="3450"/>
                </a:lnTo>
                <a:lnTo>
                  <a:pt x="2674" y="3439"/>
                </a:lnTo>
                <a:lnTo>
                  <a:pt x="2678" y="3434"/>
                </a:lnTo>
                <a:lnTo>
                  <a:pt x="2683" y="3431"/>
                </a:lnTo>
                <a:lnTo>
                  <a:pt x="2686" y="3430"/>
                </a:lnTo>
                <a:lnTo>
                  <a:pt x="2688" y="3429"/>
                </a:lnTo>
                <a:lnTo>
                  <a:pt x="2651" y="3417"/>
                </a:lnTo>
                <a:lnTo>
                  <a:pt x="2614" y="3406"/>
                </a:lnTo>
                <a:lnTo>
                  <a:pt x="2578" y="3393"/>
                </a:lnTo>
                <a:lnTo>
                  <a:pt x="2542" y="3380"/>
                </a:lnTo>
                <a:lnTo>
                  <a:pt x="2506" y="3366"/>
                </a:lnTo>
                <a:lnTo>
                  <a:pt x="2471" y="3351"/>
                </a:lnTo>
                <a:lnTo>
                  <a:pt x="2436" y="3337"/>
                </a:lnTo>
                <a:lnTo>
                  <a:pt x="2402" y="3322"/>
                </a:lnTo>
                <a:lnTo>
                  <a:pt x="2368" y="3306"/>
                </a:lnTo>
                <a:lnTo>
                  <a:pt x="2336" y="3289"/>
                </a:lnTo>
                <a:lnTo>
                  <a:pt x="2303" y="3272"/>
                </a:lnTo>
                <a:lnTo>
                  <a:pt x="2271" y="3255"/>
                </a:lnTo>
                <a:lnTo>
                  <a:pt x="2239" y="3237"/>
                </a:lnTo>
                <a:lnTo>
                  <a:pt x="2208" y="3218"/>
                </a:lnTo>
                <a:lnTo>
                  <a:pt x="2177" y="3198"/>
                </a:lnTo>
                <a:lnTo>
                  <a:pt x="2147" y="3178"/>
                </a:lnTo>
                <a:lnTo>
                  <a:pt x="2117" y="3158"/>
                </a:lnTo>
                <a:lnTo>
                  <a:pt x="2087" y="3137"/>
                </a:lnTo>
                <a:lnTo>
                  <a:pt x="2058" y="3115"/>
                </a:lnTo>
                <a:lnTo>
                  <a:pt x="2030" y="3093"/>
                </a:lnTo>
                <a:lnTo>
                  <a:pt x="2002" y="3071"/>
                </a:lnTo>
                <a:lnTo>
                  <a:pt x="1975" y="3047"/>
                </a:lnTo>
                <a:lnTo>
                  <a:pt x="1948" y="3024"/>
                </a:lnTo>
                <a:lnTo>
                  <a:pt x="1921" y="3000"/>
                </a:lnTo>
                <a:lnTo>
                  <a:pt x="1895" y="2975"/>
                </a:lnTo>
                <a:lnTo>
                  <a:pt x="1869" y="2950"/>
                </a:lnTo>
                <a:lnTo>
                  <a:pt x="1844" y="2924"/>
                </a:lnTo>
                <a:lnTo>
                  <a:pt x="1820" y="2898"/>
                </a:lnTo>
                <a:lnTo>
                  <a:pt x="1795" y="2871"/>
                </a:lnTo>
                <a:lnTo>
                  <a:pt x="1771" y="2843"/>
                </a:lnTo>
                <a:lnTo>
                  <a:pt x="1747" y="2816"/>
                </a:lnTo>
                <a:lnTo>
                  <a:pt x="1725" y="2787"/>
                </a:lnTo>
                <a:lnTo>
                  <a:pt x="1703" y="2757"/>
                </a:lnTo>
                <a:lnTo>
                  <a:pt x="1682" y="2729"/>
                </a:lnTo>
                <a:lnTo>
                  <a:pt x="1660" y="2699"/>
                </a:lnTo>
                <a:lnTo>
                  <a:pt x="1640" y="2669"/>
                </a:lnTo>
                <a:lnTo>
                  <a:pt x="1621" y="2638"/>
                </a:lnTo>
                <a:lnTo>
                  <a:pt x="1603" y="2608"/>
                </a:lnTo>
                <a:lnTo>
                  <a:pt x="1585" y="2578"/>
                </a:lnTo>
                <a:lnTo>
                  <a:pt x="1568" y="2547"/>
                </a:lnTo>
                <a:lnTo>
                  <a:pt x="1551" y="2516"/>
                </a:lnTo>
                <a:lnTo>
                  <a:pt x="1535" y="2484"/>
                </a:lnTo>
                <a:lnTo>
                  <a:pt x="1520" y="2452"/>
                </a:lnTo>
                <a:lnTo>
                  <a:pt x="1506" y="2420"/>
                </a:lnTo>
                <a:lnTo>
                  <a:pt x="1493" y="2388"/>
                </a:lnTo>
                <a:lnTo>
                  <a:pt x="1479" y="2356"/>
                </a:lnTo>
                <a:lnTo>
                  <a:pt x="1467" y="2324"/>
                </a:lnTo>
                <a:lnTo>
                  <a:pt x="1455" y="2291"/>
                </a:lnTo>
                <a:lnTo>
                  <a:pt x="1445" y="2258"/>
                </a:lnTo>
                <a:lnTo>
                  <a:pt x="1434" y="2225"/>
                </a:lnTo>
                <a:lnTo>
                  <a:pt x="1425" y="2191"/>
                </a:lnTo>
                <a:lnTo>
                  <a:pt x="1416" y="2157"/>
                </a:lnTo>
                <a:lnTo>
                  <a:pt x="1408" y="2123"/>
                </a:lnTo>
                <a:lnTo>
                  <a:pt x="1400" y="2089"/>
                </a:lnTo>
                <a:lnTo>
                  <a:pt x="1394" y="2054"/>
                </a:lnTo>
                <a:lnTo>
                  <a:pt x="1389" y="2018"/>
                </a:lnTo>
                <a:lnTo>
                  <a:pt x="1383" y="1983"/>
                </a:lnTo>
                <a:lnTo>
                  <a:pt x="1378" y="1948"/>
                </a:lnTo>
                <a:lnTo>
                  <a:pt x="1375" y="1912"/>
                </a:lnTo>
                <a:lnTo>
                  <a:pt x="1372" y="1876"/>
                </a:lnTo>
                <a:lnTo>
                  <a:pt x="1368" y="1840"/>
                </a:lnTo>
                <a:lnTo>
                  <a:pt x="1367" y="1804"/>
                </a:lnTo>
                <a:lnTo>
                  <a:pt x="1366" y="1767"/>
                </a:lnTo>
                <a:lnTo>
                  <a:pt x="1365" y="1729"/>
                </a:lnTo>
                <a:lnTo>
                  <a:pt x="1366" y="1686"/>
                </a:lnTo>
                <a:lnTo>
                  <a:pt x="1367" y="1641"/>
                </a:lnTo>
                <a:lnTo>
                  <a:pt x="1370" y="1598"/>
                </a:lnTo>
                <a:lnTo>
                  <a:pt x="1374" y="1555"/>
                </a:lnTo>
                <a:lnTo>
                  <a:pt x="1378" y="1511"/>
                </a:lnTo>
                <a:lnTo>
                  <a:pt x="1383" y="1469"/>
                </a:lnTo>
                <a:lnTo>
                  <a:pt x="1390" y="1427"/>
                </a:lnTo>
                <a:lnTo>
                  <a:pt x="1397" y="1386"/>
                </a:lnTo>
                <a:lnTo>
                  <a:pt x="1405" y="1345"/>
                </a:lnTo>
                <a:lnTo>
                  <a:pt x="1415" y="1304"/>
                </a:lnTo>
                <a:lnTo>
                  <a:pt x="1426" y="1264"/>
                </a:lnTo>
                <a:lnTo>
                  <a:pt x="1437" y="1223"/>
                </a:lnTo>
                <a:lnTo>
                  <a:pt x="1449" y="1184"/>
                </a:lnTo>
                <a:lnTo>
                  <a:pt x="1463" y="1145"/>
                </a:lnTo>
                <a:lnTo>
                  <a:pt x="1477" y="1106"/>
                </a:lnTo>
                <a:lnTo>
                  <a:pt x="1493" y="1068"/>
                </a:lnTo>
                <a:lnTo>
                  <a:pt x="1508" y="1030"/>
                </a:lnTo>
                <a:lnTo>
                  <a:pt x="1527" y="993"/>
                </a:lnTo>
                <a:lnTo>
                  <a:pt x="1545" y="955"/>
                </a:lnTo>
                <a:lnTo>
                  <a:pt x="1564" y="919"/>
                </a:lnTo>
                <a:lnTo>
                  <a:pt x="1585" y="883"/>
                </a:lnTo>
                <a:lnTo>
                  <a:pt x="1606" y="847"/>
                </a:lnTo>
                <a:lnTo>
                  <a:pt x="1628" y="811"/>
                </a:lnTo>
                <a:lnTo>
                  <a:pt x="1652" y="776"/>
                </a:lnTo>
                <a:lnTo>
                  <a:pt x="1676" y="742"/>
                </a:lnTo>
                <a:lnTo>
                  <a:pt x="1702" y="708"/>
                </a:lnTo>
                <a:lnTo>
                  <a:pt x="1728" y="674"/>
                </a:lnTo>
                <a:lnTo>
                  <a:pt x="1756" y="640"/>
                </a:lnTo>
                <a:lnTo>
                  <a:pt x="1783" y="607"/>
                </a:lnTo>
                <a:lnTo>
                  <a:pt x="1813" y="574"/>
                </a:lnTo>
                <a:lnTo>
                  <a:pt x="1844" y="542"/>
                </a:lnTo>
                <a:lnTo>
                  <a:pt x="1875" y="510"/>
                </a:lnTo>
                <a:lnTo>
                  <a:pt x="1907" y="478"/>
                </a:lnTo>
                <a:lnTo>
                  <a:pt x="1940" y="448"/>
                </a:lnTo>
                <a:lnTo>
                  <a:pt x="1971" y="419"/>
                </a:lnTo>
                <a:lnTo>
                  <a:pt x="2005" y="390"/>
                </a:lnTo>
                <a:lnTo>
                  <a:pt x="2038" y="362"/>
                </a:lnTo>
                <a:lnTo>
                  <a:pt x="2072" y="336"/>
                </a:lnTo>
                <a:lnTo>
                  <a:pt x="2106" y="311"/>
                </a:lnTo>
                <a:lnTo>
                  <a:pt x="2141" y="287"/>
                </a:lnTo>
                <a:lnTo>
                  <a:pt x="2176" y="263"/>
                </a:lnTo>
                <a:lnTo>
                  <a:pt x="2211" y="240"/>
                </a:lnTo>
                <a:lnTo>
                  <a:pt x="2247" y="219"/>
                </a:lnTo>
                <a:lnTo>
                  <a:pt x="2284" y="199"/>
                </a:lnTo>
                <a:lnTo>
                  <a:pt x="2320" y="179"/>
                </a:lnTo>
                <a:lnTo>
                  <a:pt x="2357" y="160"/>
                </a:lnTo>
                <a:lnTo>
                  <a:pt x="2395" y="143"/>
                </a:lnTo>
                <a:lnTo>
                  <a:pt x="2432" y="127"/>
                </a:lnTo>
                <a:lnTo>
                  <a:pt x="2470" y="111"/>
                </a:lnTo>
                <a:lnTo>
                  <a:pt x="2510" y="98"/>
                </a:lnTo>
                <a:lnTo>
                  <a:pt x="2549" y="84"/>
                </a:lnTo>
                <a:lnTo>
                  <a:pt x="2588" y="71"/>
                </a:lnTo>
                <a:lnTo>
                  <a:pt x="2628" y="60"/>
                </a:lnTo>
                <a:lnTo>
                  <a:pt x="2668" y="50"/>
                </a:lnTo>
                <a:lnTo>
                  <a:pt x="2709" y="40"/>
                </a:lnTo>
                <a:lnTo>
                  <a:pt x="2750" y="32"/>
                </a:lnTo>
                <a:lnTo>
                  <a:pt x="2791" y="24"/>
                </a:lnTo>
                <a:lnTo>
                  <a:pt x="2833" y="18"/>
                </a:lnTo>
                <a:lnTo>
                  <a:pt x="2876" y="13"/>
                </a:lnTo>
                <a:lnTo>
                  <a:pt x="2918" y="7"/>
                </a:lnTo>
                <a:lnTo>
                  <a:pt x="2962" y="4"/>
                </a:lnTo>
                <a:lnTo>
                  <a:pt x="3005" y="2"/>
                </a:lnTo>
                <a:lnTo>
                  <a:pt x="3049" y="1"/>
                </a:lnTo>
                <a:lnTo>
                  <a:pt x="3094" y="0"/>
                </a:lnTo>
                <a:lnTo>
                  <a:pt x="3138" y="1"/>
                </a:lnTo>
                <a:lnTo>
                  <a:pt x="3183" y="2"/>
                </a:lnTo>
                <a:lnTo>
                  <a:pt x="3226" y="4"/>
                </a:lnTo>
                <a:lnTo>
                  <a:pt x="3270" y="7"/>
                </a:lnTo>
                <a:lnTo>
                  <a:pt x="3312" y="13"/>
                </a:lnTo>
                <a:lnTo>
                  <a:pt x="3356" y="18"/>
                </a:lnTo>
                <a:lnTo>
                  <a:pt x="3397" y="24"/>
                </a:lnTo>
                <a:lnTo>
                  <a:pt x="3440" y="32"/>
                </a:lnTo>
                <a:lnTo>
                  <a:pt x="3481" y="40"/>
                </a:lnTo>
                <a:lnTo>
                  <a:pt x="3521" y="50"/>
                </a:lnTo>
                <a:lnTo>
                  <a:pt x="3563" y="60"/>
                </a:lnTo>
                <a:lnTo>
                  <a:pt x="3602" y="71"/>
                </a:lnTo>
                <a:lnTo>
                  <a:pt x="3643" y="84"/>
                </a:lnTo>
                <a:lnTo>
                  <a:pt x="3682" y="98"/>
                </a:lnTo>
                <a:lnTo>
                  <a:pt x="3721" y="111"/>
                </a:lnTo>
                <a:lnTo>
                  <a:pt x="3759" y="127"/>
                </a:lnTo>
                <a:lnTo>
                  <a:pt x="3798" y="143"/>
                </a:lnTo>
                <a:lnTo>
                  <a:pt x="3835" y="160"/>
                </a:lnTo>
                <a:lnTo>
                  <a:pt x="3873" y="179"/>
                </a:lnTo>
                <a:lnTo>
                  <a:pt x="3909" y="199"/>
                </a:lnTo>
                <a:lnTo>
                  <a:pt x="3946" y="219"/>
                </a:lnTo>
                <a:lnTo>
                  <a:pt x="3982" y="240"/>
                </a:lnTo>
                <a:lnTo>
                  <a:pt x="4017" y="263"/>
                </a:lnTo>
                <a:lnTo>
                  <a:pt x="4053" y="287"/>
                </a:lnTo>
                <a:lnTo>
                  <a:pt x="4088" y="311"/>
                </a:lnTo>
                <a:lnTo>
                  <a:pt x="4122" y="336"/>
                </a:lnTo>
                <a:lnTo>
                  <a:pt x="4156" y="362"/>
                </a:lnTo>
                <a:lnTo>
                  <a:pt x="4190" y="390"/>
                </a:lnTo>
                <a:lnTo>
                  <a:pt x="4223" y="419"/>
                </a:lnTo>
                <a:lnTo>
                  <a:pt x="4256" y="448"/>
                </a:lnTo>
                <a:lnTo>
                  <a:pt x="4289" y="478"/>
                </a:lnTo>
                <a:lnTo>
                  <a:pt x="4321" y="510"/>
                </a:lnTo>
                <a:lnTo>
                  <a:pt x="4353" y="542"/>
                </a:lnTo>
                <a:lnTo>
                  <a:pt x="4383" y="574"/>
                </a:lnTo>
                <a:lnTo>
                  <a:pt x="4412" y="607"/>
                </a:lnTo>
                <a:lnTo>
                  <a:pt x="4440" y="640"/>
                </a:lnTo>
                <a:lnTo>
                  <a:pt x="4467" y="674"/>
                </a:lnTo>
                <a:lnTo>
                  <a:pt x="4493" y="708"/>
                </a:lnTo>
                <a:lnTo>
                  <a:pt x="4518" y="742"/>
                </a:lnTo>
                <a:lnTo>
                  <a:pt x="4543" y="776"/>
                </a:lnTo>
                <a:lnTo>
                  <a:pt x="4566" y="811"/>
                </a:lnTo>
                <a:lnTo>
                  <a:pt x="4588" y="847"/>
                </a:lnTo>
                <a:lnTo>
                  <a:pt x="4610" y="883"/>
                </a:lnTo>
                <a:lnTo>
                  <a:pt x="4630" y="919"/>
                </a:lnTo>
                <a:lnTo>
                  <a:pt x="4649" y="955"/>
                </a:lnTo>
                <a:lnTo>
                  <a:pt x="4667" y="993"/>
                </a:lnTo>
                <a:lnTo>
                  <a:pt x="4685" y="1030"/>
                </a:lnTo>
                <a:lnTo>
                  <a:pt x="4701" y="1068"/>
                </a:lnTo>
                <a:lnTo>
                  <a:pt x="4716" y="1106"/>
                </a:lnTo>
                <a:lnTo>
                  <a:pt x="4731" y="1145"/>
                </a:lnTo>
                <a:lnTo>
                  <a:pt x="4745" y="1184"/>
                </a:lnTo>
                <a:lnTo>
                  <a:pt x="4756" y="1223"/>
                </a:lnTo>
                <a:lnTo>
                  <a:pt x="4768" y="1264"/>
                </a:lnTo>
                <a:lnTo>
                  <a:pt x="4779" y="1304"/>
                </a:lnTo>
                <a:lnTo>
                  <a:pt x="4788" y="1345"/>
                </a:lnTo>
                <a:lnTo>
                  <a:pt x="4797" y="1386"/>
                </a:lnTo>
                <a:lnTo>
                  <a:pt x="4803" y="1427"/>
                </a:lnTo>
                <a:lnTo>
                  <a:pt x="4810" y="1469"/>
                </a:lnTo>
                <a:lnTo>
                  <a:pt x="4816" y="1511"/>
                </a:lnTo>
                <a:lnTo>
                  <a:pt x="4820" y="1555"/>
                </a:lnTo>
                <a:lnTo>
                  <a:pt x="4823" y="1598"/>
                </a:lnTo>
                <a:lnTo>
                  <a:pt x="4825" y="1641"/>
                </a:lnTo>
                <a:lnTo>
                  <a:pt x="4827" y="1686"/>
                </a:lnTo>
                <a:lnTo>
                  <a:pt x="4827" y="1729"/>
                </a:lnTo>
                <a:lnTo>
                  <a:pt x="4827" y="1768"/>
                </a:lnTo>
                <a:lnTo>
                  <a:pt x="4826" y="1806"/>
                </a:lnTo>
                <a:lnTo>
                  <a:pt x="4824" y="1843"/>
                </a:lnTo>
                <a:lnTo>
                  <a:pt x="4822" y="1880"/>
                </a:lnTo>
                <a:lnTo>
                  <a:pt x="4818" y="1917"/>
                </a:lnTo>
                <a:lnTo>
                  <a:pt x="4814" y="1954"/>
                </a:lnTo>
                <a:lnTo>
                  <a:pt x="4808" y="1990"/>
                </a:lnTo>
                <a:lnTo>
                  <a:pt x="4803" y="2027"/>
                </a:lnTo>
                <a:lnTo>
                  <a:pt x="4797" y="2062"/>
                </a:lnTo>
                <a:lnTo>
                  <a:pt x="4789" y="2098"/>
                </a:lnTo>
                <a:lnTo>
                  <a:pt x="4781" y="2134"/>
                </a:lnTo>
                <a:lnTo>
                  <a:pt x="4772" y="2169"/>
                </a:lnTo>
                <a:lnTo>
                  <a:pt x="4763" y="2204"/>
                </a:lnTo>
                <a:lnTo>
                  <a:pt x="4752" y="2240"/>
                </a:lnTo>
                <a:lnTo>
                  <a:pt x="4740" y="2274"/>
                </a:lnTo>
                <a:lnTo>
                  <a:pt x="4729" y="2308"/>
                </a:lnTo>
                <a:lnTo>
                  <a:pt x="4716" y="2342"/>
                </a:lnTo>
                <a:lnTo>
                  <a:pt x="4702" y="2376"/>
                </a:lnTo>
                <a:lnTo>
                  <a:pt x="4688" y="2410"/>
                </a:lnTo>
                <a:lnTo>
                  <a:pt x="4673" y="2443"/>
                </a:lnTo>
                <a:lnTo>
                  <a:pt x="4657" y="2476"/>
                </a:lnTo>
                <a:lnTo>
                  <a:pt x="4641" y="2508"/>
                </a:lnTo>
                <a:lnTo>
                  <a:pt x="4624" y="2541"/>
                </a:lnTo>
                <a:lnTo>
                  <a:pt x="4605" y="2573"/>
                </a:lnTo>
                <a:lnTo>
                  <a:pt x="4586" y="2606"/>
                </a:lnTo>
                <a:lnTo>
                  <a:pt x="4566" y="2638"/>
                </a:lnTo>
                <a:lnTo>
                  <a:pt x="4546" y="2669"/>
                </a:lnTo>
                <a:lnTo>
                  <a:pt x="4525" y="2701"/>
                </a:lnTo>
                <a:lnTo>
                  <a:pt x="4502" y="2732"/>
                </a:lnTo>
                <a:lnTo>
                  <a:pt x="4480" y="2763"/>
                </a:lnTo>
                <a:lnTo>
                  <a:pt x="4456" y="2793"/>
                </a:lnTo>
                <a:lnTo>
                  <a:pt x="4431" y="2824"/>
                </a:lnTo>
                <a:lnTo>
                  <a:pt x="4407" y="2853"/>
                </a:lnTo>
                <a:lnTo>
                  <a:pt x="4381" y="2883"/>
                </a:lnTo>
                <a:lnTo>
                  <a:pt x="4356" y="2910"/>
                </a:lnTo>
                <a:lnTo>
                  <a:pt x="4329" y="2938"/>
                </a:lnTo>
                <a:lnTo>
                  <a:pt x="4303" y="2965"/>
                </a:lnTo>
                <a:lnTo>
                  <a:pt x="4276" y="2991"/>
                </a:lnTo>
                <a:lnTo>
                  <a:pt x="4249" y="3017"/>
                </a:lnTo>
                <a:lnTo>
                  <a:pt x="4220" y="3041"/>
                </a:lnTo>
                <a:lnTo>
                  <a:pt x="4192" y="3066"/>
                </a:lnTo>
                <a:lnTo>
                  <a:pt x="4164" y="3089"/>
                </a:lnTo>
                <a:lnTo>
                  <a:pt x="4134" y="3112"/>
                </a:lnTo>
                <a:lnTo>
                  <a:pt x="4105" y="3134"/>
                </a:lnTo>
                <a:lnTo>
                  <a:pt x="4075" y="3155"/>
                </a:lnTo>
                <a:lnTo>
                  <a:pt x="4045" y="3176"/>
                </a:lnTo>
                <a:lnTo>
                  <a:pt x="4014" y="3196"/>
                </a:lnTo>
                <a:lnTo>
                  <a:pt x="3982" y="3215"/>
                </a:lnTo>
                <a:lnTo>
                  <a:pt x="3950" y="3233"/>
                </a:lnTo>
                <a:lnTo>
                  <a:pt x="3919" y="3252"/>
                </a:lnTo>
                <a:lnTo>
                  <a:pt x="3887" y="3269"/>
                </a:lnTo>
                <a:lnTo>
                  <a:pt x="3854" y="3286"/>
                </a:lnTo>
                <a:lnTo>
                  <a:pt x="3820" y="3301"/>
                </a:lnTo>
                <a:lnTo>
                  <a:pt x="3786" y="3316"/>
                </a:lnTo>
                <a:lnTo>
                  <a:pt x="3752" y="3331"/>
                </a:lnTo>
                <a:lnTo>
                  <a:pt x="3718" y="3344"/>
                </a:lnTo>
                <a:lnTo>
                  <a:pt x="3683" y="3358"/>
                </a:lnTo>
                <a:lnTo>
                  <a:pt x="3647" y="3370"/>
                </a:lnTo>
                <a:lnTo>
                  <a:pt x="3611" y="3381"/>
                </a:lnTo>
                <a:lnTo>
                  <a:pt x="3575" y="3393"/>
                </a:lnTo>
                <a:lnTo>
                  <a:pt x="3538" y="3402"/>
                </a:lnTo>
                <a:lnTo>
                  <a:pt x="3500" y="3412"/>
                </a:lnTo>
                <a:lnTo>
                  <a:pt x="3463" y="3421"/>
                </a:lnTo>
                <a:lnTo>
                  <a:pt x="3425" y="3429"/>
                </a:lnTo>
                <a:lnTo>
                  <a:pt x="3438" y="3443"/>
                </a:lnTo>
                <a:lnTo>
                  <a:pt x="3449" y="3456"/>
                </a:lnTo>
                <a:lnTo>
                  <a:pt x="3459" y="3468"/>
                </a:lnTo>
                <a:lnTo>
                  <a:pt x="3466" y="3480"/>
                </a:lnTo>
                <a:lnTo>
                  <a:pt x="3473" y="3491"/>
                </a:lnTo>
                <a:lnTo>
                  <a:pt x="3477" y="3501"/>
                </a:lnTo>
                <a:lnTo>
                  <a:pt x="3479" y="3512"/>
                </a:lnTo>
                <a:lnTo>
                  <a:pt x="3480" y="3522"/>
                </a:lnTo>
                <a:close/>
              </a:path>
            </a:pathLst>
          </a:custGeom>
          <a:solidFill>
            <a:schemeClr val="accent1">
              <a:lumMod val="40000"/>
              <a:lumOff val="60000"/>
            </a:schemeClr>
          </a:solidFill>
          <a:ln w="9525">
            <a:noFill/>
            <a:round/>
            <a:headEnd/>
            <a:tailEnd/>
          </a:ln>
        </p:spPr>
        <p:txBody>
          <a:bodyPr/>
          <a:lstStyle>
            <a:defPPr>
              <a:defRPr lang="en-US"/>
            </a:defPPr>
            <a:lvl1pPr marL="0" algn="l" defTabSz="1018824" rtl="0" eaLnBrk="1" latinLnBrk="0" hangingPunct="1">
              <a:defRPr sz="2000" kern="1200">
                <a:solidFill>
                  <a:schemeClr val="tx1"/>
                </a:solidFill>
                <a:latin typeface="+mn-lt"/>
                <a:ea typeface="+mn-ea"/>
                <a:cs typeface="+mn-cs"/>
              </a:defRPr>
            </a:lvl1pPr>
            <a:lvl2pPr marL="509412" algn="l" defTabSz="1018824" rtl="0" eaLnBrk="1" latinLnBrk="0" hangingPunct="1">
              <a:defRPr sz="2000" kern="1200">
                <a:solidFill>
                  <a:schemeClr val="tx1"/>
                </a:solidFill>
                <a:latin typeface="+mn-lt"/>
                <a:ea typeface="+mn-ea"/>
                <a:cs typeface="+mn-cs"/>
              </a:defRPr>
            </a:lvl2pPr>
            <a:lvl3pPr marL="1018824" algn="l" defTabSz="1018824" rtl="0" eaLnBrk="1" latinLnBrk="0" hangingPunct="1">
              <a:defRPr sz="2000" kern="1200">
                <a:solidFill>
                  <a:schemeClr val="tx1"/>
                </a:solidFill>
                <a:latin typeface="+mn-lt"/>
                <a:ea typeface="+mn-ea"/>
                <a:cs typeface="+mn-cs"/>
              </a:defRPr>
            </a:lvl3pPr>
            <a:lvl4pPr marL="1528237" algn="l" defTabSz="1018824" rtl="0" eaLnBrk="1" latinLnBrk="0" hangingPunct="1">
              <a:defRPr sz="2000" kern="1200">
                <a:solidFill>
                  <a:schemeClr val="tx1"/>
                </a:solidFill>
                <a:latin typeface="+mn-lt"/>
                <a:ea typeface="+mn-ea"/>
                <a:cs typeface="+mn-cs"/>
              </a:defRPr>
            </a:lvl4pPr>
            <a:lvl5pPr marL="2037649" algn="l" defTabSz="1018824" rtl="0" eaLnBrk="1" latinLnBrk="0" hangingPunct="1">
              <a:defRPr sz="2000" kern="1200">
                <a:solidFill>
                  <a:schemeClr val="tx1"/>
                </a:solidFill>
                <a:latin typeface="+mn-lt"/>
                <a:ea typeface="+mn-ea"/>
                <a:cs typeface="+mn-cs"/>
              </a:defRPr>
            </a:lvl5pPr>
            <a:lvl6pPr marL="2547061" algn="l" defTabSz="1018824" rtl="0" eaLnBrk="1" latinLnBrk="0" hangingPunct="1">
              <a:defRPr sz="2000" kern="1200">
                <a:solidFill>
                  <a:schemeClr val="tx1"/>
                </a:solidFill>
                <a:latin typeface="+mn-lt"/>
                <a:ea typeface="+mn-ea"/>
                <a:cs typeface="+mn-cs"/>
              </a:defRPr>
            </a:lvl6pPr>
            <a:lvl7pPr marL="3056473" algn="l" defTabSz="1018824" rtl="0" eaLnBrk="1" latinLnBrk="0" hangingPunct="1">
              <a:defRPr sz="2000" kern="1200">
                <a:solidFill>
                  <a:schemeClr val="tx1"/>
                </a:solidFill>
                <a:latin typeface="+mn-lt"/>
                <a:ea typeface="+mn-ea"/>
                <a:cs typeface="+mn-cs"/>
              </a:defRPr>
            </a:lvl7pPr>
            <a:lvl8pPr marL="3565886" algn="l" defTabSz="1018824" rtl="0" eaLnBrk="1" latinLnBrk="0" hangingPunct="1">
              <a:defRPr sz="2000" kern="1200">
                <a:solidFill>
                  <a:schemeClr val="tx1"/>
                </a:solidFill>
                <a:latin typeface="+mn-lt"/>
                <a:ea typeface="+mn-ea"/>
                <a:cs typeface="+mn-cs"/>
              </a:defRPr>
            </a:lvl8pPr>
            <a:lvl9pPr marL="4075298" algn="l" defTabSz="1018824" rtl="0" eaLnBrk="1" latinLnBrk="0" hangingPunct="1">
              <a:defRPr sz="2000" kern="1200">
                <a:solidFill>
                  <a:schemeClr val="tx1"/>
                </a:solidFill>
                <a:latin typeface="+mn-lt"/>
                <a:ea typeface="+mn-ea"/>
                <a:cs typeface="+mn-cs"/>
              </a:defRPr>
            </a:lvl9pPr>
          </a:lstStyle>
          <a:p>
            <a:pPr marL="0" marR="0" lvl="0" indent="0" algn="l" defTabSz="1018824" rtl="0" eaLnBrk="1" fontAlgn="auto" latinLnBrk="0" hangingPunct="1">
              <a:lnSpc>
                <a:spcPct val="100000"/>
              </a:lnSpc>
              <a:spcBef>
                <a:spcPts val="0"/>
              </a:spcBef>
              <a:spcAft>
                <a:spcPts val="0"/>
              </a:spcAft>
              <a:buClrTx/>
              <a:buSzTx/>
              <a:buFontTx/>
              <a:buNone/>
              <a:tabLst/>
              <a:defRPr/>
            </a:pPr>
            <a:endParaRPr kumimoji="0" lang="en-GB" sz="1589"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9" name="Freeform 30">
            <a:extLst>
              <a:ext uri="{FF2B5EF4-FFF2-40B4-BE49-F238E27FC236}">
                <a16:creationId xmlns:a16="http://schemas.microsoft.com/office/drawing/2014/main" id="{B575C858-9413-4502-80C2-74E8F3AEC6D7}"/>
              </a:ext>
            </a:extLst>
          </p:cNvPr>
          <p:cNvSpPr>
            <a:spLocks/>
          </p:cNvSpPr>
          <p:nvPr/>
        </p:nvSpPr>
        <p:spPr bwMode="auto">
          <a:xfrm>
            <a:off x="9379061" y="4319229"/>
            <a:ext cx="197037" cy="470851"/>
          </a:xfrm>
          <a:custGeom>
            <a:avLst/>
            <a:gdLst>
              <a:gd name="T0" fmla="*/ 13344091 w 6132"/>
              <a:gd name="T1" fmla="*/ 10441401 h 16980"/>
              <a:gd name="T2" fmla="*/ 14439013 w 6132"/>
              <a:gd name="T3" fmla="*/ 10808942 h 16980"/>
              <a:gd name="T4" fmla="*/ 15478309 w 6132"/>
              <a:gd name="T5" fmla="*/ 11467619 h 16980"/>
              <a:gd name="T6" fmla="*/ 16450295 w 6132"/>
              <a:gd name="T7" fmla="*/ 12408541 h 16980"/>
              <a:gd name="T8" fmla="*/ 17214401 w 6132"/>
              <a:gd name="T9" fmla="*/ 13481773 h 16980"/>
              <a:gd name="T10" fmla="*/ 17709159 w 6132"/>
              <a:gd name="T11" fmla="*/ 14605004 h 16980"/>
              <a:gd name="T12" fmla="*/ 17937493 w 6132"/>
              <a:gd name="T13" fmla="*/ 15789994 h 16980"/>
              <a:gd name="T14" fmla="*/ 17922884 w 6132"/>
              <a:gd name="T15" fmla="*/ 28795453 h 16980"/>
              <a:gd name="T16" fmla="*/ 17720901 w 6132"/>
              <a:gd name="T17" fmla="*/ 29724608 h 16980"/>
              <a:gd name="T18" fmla="*/ 17322724 w 6132"/>
              <a:gd name="T19" fmla="*/ 30571448 h 16980"/>
              <a:gd name="T20" fmla="*/ 16731329 w 6132"/>
              <a:gd name="T21" fmla="*/ 31344758 h 16980"/>
              <a:gd name="T22" fmla="*/ 15970146 w 6132"/>
              <a:gd name="T23" fmla="*/ 32000508 h 16980"/>
              <a:gd name="T24" fmla="*/ 15062602 w 6132"/>
              <a:gd name="T25" fmla="*/ 32509198 h 16980"/>
              <a:gd name="T26" fmla="*/ 14014483 w 6132"/>
              <a:gd name="T27" fmla="*/ 32867899 h 16980"/>
              <a:gd name="T28" fmla="*/ 4168927 w 6132"/>
              <a:gd name="T29" fmla="*/ 32935519 h 16980"/>
              <a:gd name="T30" fmla="*/ 3003722 w 6132"/>
              <a:gd name="T31" fmla="*/ 32515054 h 16980"/>
              <a:gd name="T32" fmla="*/ 2104943 w 6132"/>
              <a:gd name="T33" fmla="*/ 32053432 h 16980"/>
              <a:gd name="T34" fmla="*/ 1334994 w 6132"/>
              <a:gd name="T35" fmla="*/ 31503585 h 16980"/>
              <a:gd name="T36" fmla="*/ 723146 w 6132"/>
              <a:gd name="T37" fmla="*/ 30883136 h 16980"/>
              <a:gd name="T38" fmla="*/ 295697 w 6132"/>
              <a:gd name="T39" fmla="*/ 30230369 h 16980"/>
              <a:gd name="T40" fmla="*/ 55622 w 6132"/>
              <a:gd name="T41" fmla="*/ 29542302 h 16980"/>
              <a:gd name="T42" fmla="*/ 2922 w 6132"/>
              <a:gd name="T43" fmla="*/ 16034064 h 16980"/>
              <a:gd name="T44" fmla="*/ 166867 w 6132"/>
              <a:gd name="T45" fmla="*/ 14637376 h 16980"/>
              <a:gd name="T46" fmla="*/ 608925 w 6132"/>
              <a:gd name="T47" fmla="*/ 13408297 h 16980"/>
              <a:gd name="T48" fmla="*/ 1326228 w 6132"/>
              <a:gd name="T49" fmla="*/ 12352689 h 16980"/>
              <a:gd name="T50" fmla="*/ 2309902 w 6132"/>
              <a:gd name="T51" fmla="*/ 11479386 h 16980"/>
              <a:gd name="T52" fmla="*/ 3495559 w 6132"/>
              <a:gd name="T53" fmla="*/ 10853081 h 16980"/>
              <a:gd name="T54" fmla="*/ 4889097 w 6132"/>
              <a:gd name="T55" fmla="*/ 10479630 h 16980"/>
              <a:gd name="T56" fmla="*/ 6475906 w 6132"/>
              <a:gd name="T57" fmla="*/ 10356104 h 16980"/>
              <a:gd name="T58" fmla="*/ 6768627 w 6132"/>
              <a:gd name="T59" fmla="*/ 10332625 h 16980"/>
              <a:gd name="T60" fmla="*/ 7661564 w 6132"/>
              <a:gd name="T61" fmla="*/ 10323786 h 16980"/>
              <a:gd name="T62" fmla="*/ 7863602 w 6132"/>
              <a:gd name="T63" fmla="*/ 10085627 h 16980"/>
              <a:gd name="T64" fmla="*/ 7032131 w 6132"/>
              <a:gd name="T65" fmla="*/ 9768029 h 16980"/>
              <a:gd name="T66" fmla="*/ 6197794 w 6132"/>
              <a:gd name="T67" fmla="*/ 9285801 h 16980"/>
              <a:gd name="T68" fmla="*/ 5471726 w 6132"/>
              <a:gd name="T69" fmla="*/ 8674191 h 16980"/>
              <a:gd name="T70" fmla="*/ 4859825 w 6132"/>
              <a:gd name="T71" fmla="*/ 7936181 h 16980"/>
              <a:gd name="T72" fmla="*/ 4409002 w 6132"/>
              <a:gd name="T73" fmla="*/ 7115803 h 16980"/>
              <a:gd name="T74" fmla="*/ 4122070 w 6132"/>
              <a:gd name="T75" fmla="*/ 6242499 h 16980"/>
              <a:gd name="T76" fmla="*/ 4002059 w 6132"/>
              <a:gd name="T77" fmla="*/ 5304506 h 16980"/>
              <a:gd name="T78" fmla="*/ 4069369 w 6132"/>
              <a:gd name="T79" fmla="*/ 4195974 h 16980"/>
              <a:gd name="T80" fmla="*/ 4370910 w 6132"/>
              <a:gd name="T81" fmla="*/ 3140364 h 16980"/>
              <a:gd name="T82" fmla="*/ 4906682 w 6132"/>
              <a:gd name="T83" fmla="*/ 2181765 h 16980"/>
              <a:gd name="T84" fmla="*/ 5679553 w 6132"/>
              <a:gd name="T85" fmla="*/ 1317301 h 16980"/>
              <a:gd name="T86" fmla="*/ 6578332 w 6132"/>
              <a:gd name="T87" fmla="*/ 643928 h 16980"/>
              <a:gd name="T88" fmla="*/ 7576670 w 6132"/>
              <a:gd name="T89" fmla="*/ 208768 h 16980"/>
              <a:gd name="T90" fmla="*/ 8671588 w 6132"/>
              <a:gd name="T91" fmla="*/ 11767 h 16980"/>
              <a:gd name="T92" fmla="*/ 9825105 w 6132"/>
              <a:gd name="T93" fmla="*/ 52924 h 16980"/>
              <a:gd name="T94" fmla="*/ 10893673 w 6132"/>
              <a:gd name="T95" fmla="*/ 326384 h 16980"/>
              <a:gd name="T96" fmla="*/ 11865659 w 6132"/>
              <a:gd name="T97" fmla="*/ 843912 h 16980"/>
              <a:gd name="T98" fmla="*/ 12743931 w 6132"/>
              <a:gd name="T99" fmla="*/ 1593689 h 16980"/>
              <a:gd name="T100" fmla="*/ 13431908 w 6132"/>
              <a:gd name="T101" fmla="*/ 2490525 h 16980"/>
              <a:gd name="T102" fmla="*/ 13891551 w 6132"/>
              <a:gd name="T103" fmla="*/ 3481443 h 16980"/>
              <a:gd name="T104" fmla="*/ 14111119 w 6132"/>
              <a:gd name="T105" fmla="*/ 4572353 h 16980"/>
              <a:gd name="T106" fmla="*/ 14105275 w 6132"/>
              <a:gd name="T107" fmla="*/ 5636746 h 16980"/>
              <a:gd name="T108" fmla="*/ 13912057 w 6132"/>
              <a:gd name="T109" fmla="*/ 6586506 h 16980"/>
              <a:gd name="T110" fmla="*/ 13537309 w 6132"/>
              <a:gd name="T111" fmla="*/ 7471577 h 16980"/>
              <a:gd name="T112" fmla="*/ 12972265 w 6132"/>
              <a:gd name="T113" fmla="*/ 8303722 h 16980"/>
              <a:gd name="T114" fmla="*/ 12272601 w 6132"/>
              <a:gd name="T115" fmla="*/ 9015324 h 16980"/>
              <a:gd name="T116" fmla="*/ 11473326 w 6132"/>
              <a:gd name="T117" fmla="*/ 9562188 h 16980"/>
              <a:gd name="T118" fmla="*/ 10571626 w 6132"/>
              <a:gd name="T119" fmla="*/ 9941550 h 16980"/>
              <a:gd name="T120" fmla="*/ 10147098 w 6132"/>
              <a:gd name="T121" fmla="*/ 10232633 h 1698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6132"/>
              <a:gd name="T184" fmla="*/ 0 h 16980"/>
              <a:gd name="T185" fmla="*/ 6132 w 6132"/>
              <a:gd name="T186" fmla="*/ 16980 h 16980"/>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6132" h="16980">
                <a:moveTo>
                  <a:pt x="3480" y="3522"/>
                </a:moveTo>
                <a:lnTo>
                  <a:pt x="4254" y="3522"/>
                </a:lnTo>
                <a:lnTo>
                  <a:pt x="4298" y="3522"/>
                </a:lnTo>
                <a:lnTo>
                  <a:pt x="4342" y="3524"/>
                </a:lnTo>
                <a:lnTo>
                  <a:pt x="4386" y="3527"/>
                </a:lnTo>
                <a:lnTo>
                  <a:pt x="4429" y="3531"/>
                </a:lnTo>
                <a:lnTo>
                  <a:pt x="4473" y="3536"/>
                </a:lnTo>
                <a:lnTo>
                  <a:pt x="4515" y="3543"/>
                </a:lnTo>
                <a:lnTo>
                  <a:pt x="4558" y="3551"/>
                </a:lnTo>
                <a:lnTo>
                  <a:pt x="4601" y="3560"/>
                </a:lnTo>
                <a:lnTo>
                  <a:pt x="4643" y="3570"/>
                </a:lnTo>
                <a:lnTo>
                  <a:pt x="4685" y="3582"/>
                </a:lnTo>
                <a:lnTo>
                  <a:pt x="4727" y="3595"/>
                </a:lnTo>
                <a:lnTo>
                  <a:pt x="4769" y="3609"/>
                </a:lnTo>
                <a:lnTo>
                  <a:pt x="4809" y="3624"/>
                </a:lnTo>
                <a:lnTo>
                  <a:pt x="4851" y="3640"/>
                </a:lnTo>
                <a:lnTo>
                  <a:pt x="4892" y="3658"/>
                </a:lnTo>
                <a:lnTo>
                  <a:pt x="4932" y="3676"/>
                </a:lnTo>
                <a:lnTo>
                  <a:pt x="4973" y="3696"/>
                </a:lnTo>
                <a:lnTo>
                  <a:pt x="5013" y="3717"/>
                </a:lnTo>
                <a:lnTo>
                  <a:pt x="5052" y="3739"/>
                </a:lnTo>
                <a:lnTo>
                  <a:pt x="5093" y="3763"/>
                </a:lnTo>
                <a:lnTo>
                  <a:pt x="5132" y="3788"/>
                </a:lnTo>
                <a:lnTo>
                  <a:pt x="5171" y="3814"/>
                </a:lnTo>
                <a:lnTo>
                  <a:pt x="5210" y="3842"/>
                </a:lnTo>
                <a:lnTo>
                  <a:pt x="5249" y="3870"/>
                </a:lnTo>
                <a:lnTo>
                  <a:pt x="5287" y="3900"/>
                </a:lnTo>
                <a:lnTo>
                  <a:pt x="5325" y="3931"/>
                </a:lnTo>
                <a:lnTo>
                  <a:pt x="5364" y="3963"/>
                </a:lnTo>
                <a:lnTo>
                  <a:pt x="5401" y="3997"/>
                </a:lnTo>
                <a:lnTo>
                  <a:pt x="5438" y="4031"/>
                </a:lnTo>
                <a:lnTo>
                  <a:pt x="5475" y="4067"/>
                </a:lnTo>
                <a:lnTo>
                  <a:pt x="5512" y="4104"/>
                </a:lnTo>
                <a:lnTo>
                  <a:pt x="5549" y="4142"/>
                </a:lnTo>
                <a:lnTo>
                  <a:pt x="5584" y="4181"/>
                </a:lnTo>
                <a:lnTo>
                  <a:pt x="5619" y="4220"/>
                </a:lnTo>
                <a:lnTo>
                  <a:pt x="5652" y="4260"/>
                </a:lnTo>
                <a:lnTo>
                  <a:pt x="5685" y="4300"/>
                </a:lnTo>
                <a:lnTo>
                  <a:pt x="5716" y="4339"/>
                </a:lnTo>
                <a:lnTo>
                  <a:pt x="5747" y="4379"/>
                </a:lnTo>
                <a:lnTo>
                  <a:pt x="5775" y="4420"/>
                </a:lnTo>
                <a:lnTo>
                  <a:pt x="5803" y="4460"/>
                </a:lnTo>
                <a:lnTo>
                  <a:pt x="5830" y="4502"/>
                </a:lnTo>
                <a:lnTo>
                  <a:pt x="5855" y="4543"/>
                </a:lnTo>
                <a:lnTo>
                  <a:pt x="5880" y="4585"/>
                </a:lnTo>
                <a:lnTo>
                  <a:pt x="5904" y="4626"/>
                </a:lnTo>
                <a:lnTo>
                  <a:pt x="5925" y="4667"/>
                </a:lnTo>
                <a:lnTo>
                  <a:pt x="5946" y="4710"/>
                </a:lnTo>
                <a:lnTo>
                  <a:pt x="5967" y="4752"/>
                </a:lnTo>
                <a:lnTo>
                  <a:pt x="5986" y="4795"/>
                </a:lnTo>
                <a:lnTo>
                  <a:pt x="6004" y="4838"/>
                </a:lnTo>
                <a:lnTo>
                  <a:pt x="6020" y="4880"/>
                </a:lnTo>
                <a:lnTo>
                  <a:pt x="6036" y="4924"/>
                </a:lnTo>
                <a:lnTo>
                  <a:pt x="6049" y="4967"/>
                </a:lnTo>
                <a:lnTo>
                  <a:pt x="6063" y="5011"/>
                </a:lnTo>
                <a:lnTo>
                  <a:pt x="6075" y="5055"/>
                </a:lnTo>
                <a:lnTo>
                  <a:pt x="6085" y="5100"/>
                </a:lnTo>
                <a:lnTo>
                  <a:pt x="6095" y="5144"/>
                </a:lnTo>
                <a:lnTo>
                  <a:pt x="6104" y="5189"/>
                </a:lnTo>
                <a:lnTo>
                  <a:pt x="6111" y="5234"/>
                </a:lnTo>
                <a:lnTo>
                  <a:pt x="6117" y="5280"/>
                </a:lnTo>
                <a:lnTo>
                  <a:pt x="6123" y="5324"/>
                </a:lnTo>
                <a:lnTo>
                  <a:pt x="6127" y="5370"/>
                </a:lnTo>
                <a:lnTo>
                  <a:pt x="6130" y="5417"/>
                </a:lnTo>
                <a:lnTo>
                  <a:pt x="6131" y="5463"/>
                </a:lnTo>
                <a:lnTo>
                  <a:pt x="6132" y="5509"/>
                </a:lnTo>
                <a:lnTo>
                  <a:pt x="6132" y="9605"/>
                </a:lnTo>
                <a:lnTo>
                  <a:pt x="6132" y="9643"/>
                </a:lnTo>
                <a:lnTo>
                  <a:pt x="6130" y="9682"/>
                </a:lnTo>
                <a:lnTo>
                  <a:pt x="6129" y="9719"/>
                </a:lnTo>
                <a:lnTo>
                  <a:pt x="6126" y="9756"/>
                </a:lnTo>
                <a:lnTo>
                  <a:pt x="6122" y="9793"/>
                </a:lnTo>
                <a:lnTo>
                  <a:pt x="6117" y="9829"/>
                </a:lnTo>
                <a:lnTo>
                  <a:pt x="6112" y="9866"/>
                </a:lnTo>
                <a:lnTo>
                  <a:pt x="6107" y="9901"/>
                </a:lnTo>
                <a:lnTo>
                  <a:pt x="6099" y="9937"/>
                </a:lnTo>
                <a:lnTo>
                  <a:pt x="6092" y="9972"/>
                </a:lnTo>
                <a:lnTo>
                  <a:pt x="6083" y="10007"/>
                </a:lnTo>
                <a:lnTo>
                  <a:pt x="6074" y="10041"/>
                </a:lnTo>
                <a:lnTo>
                  <a:pt x="6063" y="10075"/>
                </a:lnTo>
                <a:lnTo>
                  <a:pt x="6053" y="10109"/>
                </a:lnTo>
                <a:lnTo>
                  <a:pt x="6041" y="10142"/>
                </a:lnTo>
                <a:lnTo>
                  <a:pt x="6028" y="10175"/>
                </a:lnTo>
                <a:lnTo>
                  <a:pt x="6014" y="10208"/>
                </a:lnTo>
                <a:lnTo>
                  <a:pt x="6001" y="10241"/>
                </a:lnTo>
                <a:lnTo>
                  <a:pt x="5986" y="10273"/>
                </a:lnTo>
                <a:lnTo>
                  <a:pt x="5970" y="10305"/>
                </a:lnTo>
                <a:lnTo>
                  <a:pt x="5953" y="10335"/>
                </a:lnTo>
                <a:lnTo>
                  <a:pt x="5935" y="10366"/>
                </a:lnTo>
                <a:lnTo>
                  <a:pt x="5917" y="10397"/>
                </a:lnTo>
                <a:lnTo>
                  <a:pt x="5898" y="10428"/>
                </a:lnTo>
                <a:lnTo>
                  <a:pt x="5877" y="10458"/>
                </a:lnTo>
                <a:lnTo>
                  <a:pt x="5857" y="10487"/>
                </a:lnTo>
                <a:lnTo>
                  <a:pt x="5835" y="10517"/>
                </a:lnTo>
                <a:lnTo>
                  <a:pt x="5813" y="10546"/>
                </a:lnTo>
                <a:lnTo>
                  <a:pt x="5789" y="10575"/>
                </a:lnTo>
                <a:lnTo>
                  <a:pt x="5766" y="10603"/>
                </a:lnTo>
                <a:lnTo>
                  <a:pt x="5740" y="10632"/>
                </a:lnTo>
                <a:lnTo>
                  <a:pt x="5715" y="10660"/>
                </a:lnTo>
                <a:lnTo>
                  <a:pt x="5688" y="10687"/>
                </a:lnTo>
                <a:lnTo>
                  <a:pt x="5661" y="10714"/>
                </a:lnTo>
                <a:lnTo>
                  <a:pt x="5633" y="10739"/>
                </a:lnTo>
                <a:lnTo>
                  <a:pt x="5606" y="10765"/>
                </a:lnTo>
                <a:lnTo>
                  <a:pt x="5576" y="10790"/>
                </a:lnTo>
                <a:lnTo>
                  <a:pt x="5546" y="10814"/>
                </a:lnTo>
                <a:lnTo>
                  <a:pt x="5516" y="10838"/>
                </a:lnTo>
                <a:lnTo>
                  <a:pt x="5486" y="10860"/>
                </a:lnTo>
                <a:lnTo>
                  <a:pt x="5455" y="10883"/>
                </a:lnTo>
                <a:lnTo>
                  <a:pt x="5422" y="10905"/>
                </a:lnTo>
                <a:lnTo>
                  <a:pt x="5390" y="10925"/>
                </a:lnTo>
                <a:lnTo>
                  <a:pt x="5357" y="10947"/>
                </a:lnTo>
                <a:lnTo>
                  <a:pt x="5323" y="10966"/>
                </a:lnTo>
                <a:lnTo>
                  <a:pt x="5288" y="10985"/>
                </a:lnTo>
                <a:lnTo>
                  <a:pt x="5253" y="11004"/>
                </a:lnTo>
                <a:lnTo>
                  <a:pt x="5218" y="11022"/>
                </a:lnTo>
                <a:lnTo>
                  <a:pt x="5182" y="11039"/>
                </a:lnTo>
                <a:lnTo>
                  <a:pt x="5145" y="11056"/>
                </a:lnTo>
                <a:lnTo>
                  <a:pt x="5108" y="11072"/>
                </a:lnTo>
                <a:lnTo>
                  <a:pt x="5069" y="11087"/>
                </a:lnTo>
                <a:lnTo>
                  <a:pt x="5031" y="11102"/>
                </a:lnTo>
                <a:lnTo>
                  <a:pt x="4992" y="11117"/>
                </a:lnTo>
                <a:lnTo>
                  <a:pt x="4952" y="11130"/>
                </a:lnTo>
                <a:lnTo>
                  <a:pt x="4911" y="11143"/>
                </a:lnTo>
                <a:lnTo>
                  <a:pt x="4871" y="11155"/>
                </a:lnTo>
                <a:lnTo>
                  <a:pt x="4828" y="11167"/>
                </a:lnTo>
                <a:lnTo>
                  <a:pt x="4787" y="11178"/>
                </a:lnTo>
                <a:lnTo>
                  <a:pt x="4743" y="11189"/>
                </a:lnTo>
                <a:lnTo>
                  <a:pt x="4701" y="11199"/>
                </a:lnTo>
                <a:lnTo>
                  <a:pt x="4656" y="11208"/>
                </a:lnTo>
                <a:lnTo>
                  <a:pt x="4612" y="11217"/>
                </a:lnTo>
                <a:lnTo>
                  <a:pt x="4567" y="11225"/>
                </a:lnTo>
                <a:lnTo>
                  <a:pt x="4567" y="16980"/>
                </a:lnTo>
                <a:lnTo>
                  <a:pt x="1510" y="16980"/>
                </a:lnTo>
                <a:lnTo>
                  <a:pt x="1510" y="11225"/>
                </a:lnTo>
                <a:lnTo>
                  <a:pt x="1424" y="11201"/>
                </a:lnTo>
                <a:lnTo>
                  <a:pt x="1340" y="11175"/>
                </a:lnTo>
                <a:lnTo>
                  <a:pt x="1298" y="11161"/>
                </a:lnTo>
                <a:lnTo>
                  <a:pt x="1258" y="11148"/>
                </a:lnTo>
                <a:lnTo>
                  <a:pt x="1218" y="11134"/>
                </a:lnTo>
                <a:lnTo>
                  <a:pt x="1178" y="11120"/>
                </a:lnTo>
                <a:lnTo>
                  <a:pt x="1139" y="11105"/>
                </a:lnTo>
                <a:lnTo>
                  <a:pt x="1101" y="11089"/>
                </a:lnTo>
                <a:lnTo>
                  <a:pt x="1064" y="11074"/>
                </a:lnTo>
                <a:lnTo>
                  <a:pt x="1026" y="11058"/>
                </a:lnTo>
                <a:lnTo>
                  <a:pt x="990" y="11042"/>
                </a:lnTo>
                <a:lnTo>
                  <a:pt x="954" y="11025"/>
                </a:lnTo>
                <a:lnTo>
                  <a:pt x="918" y="11009"/>
                </a:lnTo>
                <a:lnTo>
                  <a:pt x="884" y="10991"/>
                </a:lnTo>
                <a:lnTo>
                  <a:pt x="849" y="10974"/>
                </a:lnTo>
                <a:lnTo>
                  <a:pt x="816" y="10956"/>
                </a:lnTo>
                <a:lnTo>
                  <a:pt x="782" y="10938"/>
                </a:lnTo>
                <a:lnTo>
                  <a:pt x="750" y="10920"/>
                </a:lnTo>
                <a:lnTo>
                  <a:pt x="719" y="10901"/>
                </a:lnTo>
                <a:lnTo>
                  <a:pt x="687" y="10882"/>
                </a:lnTo>
                <a:lnTo>
                  <a:pt x="656" y="10862"/>
                </a:lnTo>
                <a:lnTo>
                  <a:pt x="626" y="10841"/>
                </a:lnTo>
                <a:lnTo>
                  <a:pt x="596" y="10821"/>
                </a:lnTo>
                <a:lnTo>
                  <a:pt x="567" y="10801"/>
                </a:lnTo>
                <a:lnTo>
                  <a:pt x="539" y="10780"/>
                </a:lnTo>
                <a:lnTo>
                  <a:pt x="510" y="10758"/>
                </a:lnTo>
                <a:lnTo>
                  <a:pt x="484" y="10736"/>
                </a:lnTo>
                <a:lnTo>
                  <a:pt x="456" y="10714"/>
                </a:lnTo>
                <a:lnTo>
                  <a:pt x="431" y="10691"/>
                </a:lnTo>
                <a:lnTo>
                  <a:pt x="405" y="10668"/>
                </a:lnTo>
                <a:lnTo>
                  <a:pt x="380" y="10646"/>
                </a:lnTo>
                <a:lnTo>
                  <a:pt x="355" y="10622"/>
                </a:lnTo>
                <a:lnTo>
                  <a:pt x="332" y="10599"/>
                </a:lnTo>
                <a:lnTo>
                  <a:pt x="310" y="10576"/>
                </a:lnTo>
                <a:lnTo>
                  <a:pt x="289" y="10551"/>
                </a:lnTo>
                <a:lnTo>
                  <a:pt x="267" y="10528"/>
                </a:lnTo>
                <a:lnTo>
                  <a:pt x="247" y="10503"/>
                </a:lnTo>
                <a:lnTo>
                  <a:pt x="228" y="10480"/>
                </a:lnTo>
                <a:lnTo>
                  <a:pt x="209" y="10455"/>
                </a:lnTo>
                <a:lnTo>
                  <a:pt x="191" y="10431"/>
                </a:lnTo>
                <a:lnTo>
                  <a:pt x="174" y="10407"/>
                </a:lnTo>
                <a:lnTo>
                  <a:pt x="158" y="10382"/>
                </a:lnTo>
                <a:lnTo>
                  <a:pt x="142" y="10357"/>
                </a:lnTo>
                <a:lnTo>
                  <a:pt x="128" y="10332"/>
                </a:lnTo>
                <a:lnTo>
                  <a:pt x="114" y="10307"/>
                </a:lnTo>
                <a:lnTo>
                  <a:pt x="101" y="10281"/>
                </a:lnTo>
                <a:lnTo>
                  <a:pt x="89" y="10256"/>
                </a:lnTo>
                <a:lnTo>
                  <a:pt x="77" y="10230"/>
                </a:lnTo>
                <a:lnTo>
                  <a:pt x="67" y="10205"/>
                </a:lnTo>
                <a:lnTo>
                  <a:pt x="57" y="10179"/>
                </a:lnTo>
                <a:lnTo>
                  <a:pt x="48" y="10153"/>
                </a:lnTo>
                <a:lnTo>
                  <a:pt x="39" y="10127"/>
                </a:lnTo>
                <a:lnTo>
                  <a:pt x="32" y="10100"/>
                </a:lnTo>
                <a:lnTo>
                  <a:pt x="25" y="10074"/>
                </a:lnTo>
                <a:lnTo>
                  <a:pt x="19" y="10047"/>
                </a:lnTo>
                <a:lnTo>
                  <a:pt x="14" y="10021"/>
                </a:lnTo>
                <a:lnTo>
                  <a:pt x="9" y="9994"/>
                </a:lnTo>
                <a:lnTo>
                  <a:pt x="6" y="9967"/>
                </a:lnTo>
                <a:lnTo>
                  <a:pt x="3" y="9940"/>
                </a:lnTo>
                <a:lnTo>
                  <a:pt x="1" y="9912"/>
                </a:lnTo>
                <a:lnTo>
                  <a:pt x="0" y="9885"/>
                </a:lnTo>
                <a:lnTo>
                  <a:pt x="0" y="9857"/>
                </a:lnTo>
                <a:lnTo>
                  <a:pt x="0" y="5509"/>
                </a:lnTo>
                <a:lnTo>
                  <a:pt x="1" y="5453"/>
                </a:lnTo>
                <a:lnTo>
                  <a:pt x="2" y="5398"/>
                </a:lnTo>
                <a:lnTo>
                  <a:pt x="5" y="5342"/>
                </a:lnTo>
                <a:lnTo>
                  <a:pt x="9" y="5288"/>
                </a:lnTo>
                <a:lnTo>
                  <a:pt x="15" y="5235"/>
                </a:lnTo>
                <a:lnTo>
                  <a:pt x="21" y="5182"/>
                </a:lnTo>
                <a:lnTo>
                  <a:pt x="28" y="5130"/>
                </a:lnTo>
                <a:lnTo>
                  <a:pt x="37" y="5079"/>
                </a:lnTo>
                <a:lnTo>
                  <a:pt x="47" y="5028"/>
                </a:lnTo>
                <a:lnTo>
                  <a:pt x="57" y="4978"/>
                </a:lnTo>
                <a:lnTo>
                  <a:pt x="70" y="4929"/>
                </a:lnTo>
                <a:lnTo>
                  <a:pt x="83" y="4880"/>
                </a:lnTo>
                <a:lnTo>
                  <a:pt x="97" y="4832"/>
                </a:lnTo>
                <a:lnTo>
                  <a:pt x="112" y="4785"/>
                </a:lnTo>
                <a:lnTo>
                  <a:pt x="129" y="4739"/>
                </a:lnTo>
                <a:lnTo>
                  <a:pt x="147" y="4693"/>
                </a:lnTo>
                <a:lnTo>
                  <a:pt x="166" y="4648"/>
                </a:lnTo>
                <a:lnTo>
                  <a:pt x="187" y="4604"/>
                </a:lnTo>
                <a:lnTo>
                  <a:pt x="208" y="4560"/>
                </a:lnTo>
                <a:lnTo>
                  <a:pt x="230" y="4518"/>
                </a:lnTo>
                <a:lnTo>
                  <a:pt x="255" y="4476"/>
                </a:lnTo>
                <a:lnTo>
                  <a:pt x="279" y="4435"/>
                </a:lnTo>
                <a:lnTo>
                  <a:pt x="306" y="4393"/>
                </a:lnTo>
                <a:lnTo>
                  <a:pt x="332" y="4354"/>
                </a:lnTo>
                <a:lnTo>
                  <a:pt x="361" y="4315"/>
                </a:lnTo>
                <a:lnTo>
                  <a:pt x="391" y="4275"/>
                </a:lnTo>
                <a:lnTo>
                  <a:pt x="421" y="4238"/>
                </a:lnTo>
                <a:lnTo>
                  <a:pt x="453" y="4201"/>
                </a:lnTo>
                <a:lnTo>
                  <a:pt x="486" y="4165"/>
                </a:lnTo>
                <a:lnTo>
                  <a:pt x="520" y="4129"/>
                </a:lnTo>
                <a:lnTo>
                  <a:pt x="556" y="4093"/>
                </a:lnTo>
                <a:lnTo>
                  <a:pt x="592" y="4059"/>
                </a:lnTo>
                <a:lnTo>
                  <a:pt x="629" y="4025"/>
                </a:lnTo>
                <a:lnTo>
                  <a:pt x="668" y="3994"/>
                </a:lnTo>
                <a:lnTo>
                  <a:pt x="707" y="3963"/>
                </a:lnTo>
                <a:lnTo>
                  <a:pt x="747" y="3933"/>
                </a:lnTo>
                <a:lnTo>
                  <a:pt x="789" y="3904"/>
                </a:lnTo>
                <a:lnTo>
                  <a:pt x="830" y="3876"/>
                </a:lnTo>
                <a:lnTo>
                  <a:pt x="873" y="3849"/>
                </a:lnTo>
                <a:lnTo>
                  <a:pt x="916" y="3823"/>
                </a:lnTo>
                <a:lnTo>
                  <a:pt x="961" y="3799"/>
                </a:lnTo>
                <a:lnTo>
                  <a:pt x="1005" y="3775"/>
                </a:lnTo>
                <a:lnTo>
                  <a:pt x="1052" y="3752"/>
                </a:lnTo>
                <a:lnTo>
                  <a:pt x="1099" y="3731"/>
                </a:lnTo>
                <a:lnTo>
                  <a:pt x="1146" y="3711"/>
                </a:lnTo>
                <a:lnTo>
                  <a:pt x="1194" y="3691"/>
                </a:lnTo>
                <a:lnTo>
                  <a:pt x="1244" y="3672"/>
                </a:lnTo>
                <a:lnTo>
                  <a:pt x="1294" y="3655"/>
                </a:lnTo>
                <a:lnTo>
                  <a:pt x="1345" y="3640"/>
                </a:lnTo>
                <a:lnTo>
                  <a:pt x="1397" y="3624"/>
                </a:lnTo>
                <a:lnTo>
                  <a:pt x="1450" y="3610"/>
                </a:lnTo>
                <a:lnTo>
                  <a:pt x="1503" y="3597"/>
                </a:lnTo>
                <a:lnTo>
                  <a:pt x="1558" y="3584"/>
                </a:lnTo>
                <a:lnTo>
                  <a:pt x="1614" y="3574"/>
                </a:lnTo>
                <a:lnTo>
                  <a:pt x="1670" y="3564"/>
                </a:lnTo>
                <a:lnTo>
                  <a:pt x="1726" y="3554"/>
                </a:lnTo>
                <a:lnTo>
                  <a:pt x="1785" y="3547"/>
                </a:lnTo>
                <a:lnTo>
                  <a:pt x="1843" y="3540"/>
                </a:lnTo>
                <a:lnTo>
                  <a:pt x="1902" y="3534"/>
                </a:lnTo>
                <a:lnTo>
                  <a:pt x="1963" y="3530"/>
                </a:lnTo>
                <a:lnTo>
                  <a:pt x="2024" y="3526"/>
                </a:lnTo>
                <a:lnTo>
                  <a:pt x="2086" y="3524"/>
                </a:lnTo>
                <a:lnTo>
                  <a:pt x="2149" y="3522"/>
                </a:lnTo>
                <a:lnTo>
                  <a:pt x="2212" y="3522"/>
                </a:lnTo>
                <a:lnTo>
                  <a:pt x="2218" y="3517"/>
                </a:lnTo>
                <a:lnTo>
                  <a:pt x="2224" y="3514"/>
                </a:lnTo>
                <a:lnTo>
                  <a:pt x="2230" y="3513"/>
                </a:lnTo>
                <a:lnTo>
                  <a:pt x="2237" y="3512"/>
                </a:lnTo>
                <a:lnTo>
                  <a:pt x="2243" y="3512"/>
                </a:lnTo>
                <a:lnTo>
                  <a:pt x="2251" y="3512"/>
                </a:lnTo>
                <a:lnTo>
                  <a:pt x="2261" y="3512"/>
                </a:lnTo>
                <a:lnTo>
                  <a:pt x="2274" y="3512"/>
                </a:lnTo>
                <a:lnTo>
                  <a:pt x="2312" y="3514"/>
                </a:lnTo>
                <a:lnTo>
                  <a:pt x="2353" y="3516"/>
                </a:lnTo>
                <a:lnTo>
                  <a:pt x="2393" y="3517"/>
                </a:lnTo>
                <a:lnTo>
                  <a:pt x="2435" y="3519"/>
                </a:lnTo>
                <a:lnTo>
                  <a:pt x="2479" y="3520"/>
                </a:lnTo>
                <a:lnTo>
                  <a:pt x="2522" y="3520"/>
                </a:lnTo>
                <a:lnTo>
                  <a:pt x="2568" y="3522"/>
                </a:lnTo>
                <a:lnTo>
                  <a:pt x="2615" y="3522"/>
                </a:lnTo>
                <a:lnTo>
                  <a:pt x="2616" y="3516"/>
                </a:lnTo>
                <a:lnTo>
                  <a:pt x="2617" y="3511"/>
                </a:lnTo>
                <a:lnTo>
                  <a:pt x="2620" y="3505"/>
                </a:lnTo>
                <a:lnTo>
                  <a:pt x="2623" y="3498"/>
                </a:lnTo>
                <a:lnTo>
                  <a:pt x="2634" y="3483"/>
                </a:lnTo>
                <a:lnTo>
                  <a:pt x="2649" y="3466"/>
                </a:lnTo>
                <a:lnTo>
                  <a:pt x="2663" y="3450"/>
                </a:lnTo>
                <a:lnTo>
                  <a:pt x="2674" y="3439"/>
                </a:lnTo>
                <a:lnTo>
                  <a:pt x="2678" y="3434"/>
                </a:lnTo>
                <a:lnTo>
                  <a:pt x="2683" y="3431"/>
                </a:lnTo>
                <a:lnTo>
                  <a:pt x="2686" y="3430"/>
                </a:lnTo>
                <a:lnTo>
                  <a:pt x="2688" y="3429"/>
                </a:lnTo>
                <a:lnTo>
                  <a:pt x="2651" y="3417"/>
                </a:lnTo>
                <a:lnTo>
                  <a:pt x="2614" y="3406"/>
                </a:lnTo>
                <a:lnTo>
                  <a:pt x="2578" y="3393"/>
                </a:lnTo>
                <a:lnTo>
                  <a:pt x="2542" y="3380"/>
                </a:lnTo>
                <a:lnTo>
                  <a:pt x="2506" y="3366"/>
                </a:lnTo>
                <a:lnTo>
                  <a:pt x="2471" y="3351"/>
                </a:lnTo>
                <a:lnTo>
                  <a:pt x="2436" y="3337"/>
                </a:lnTo>
                <a:lnTo>
                  <a:pt x="2402" y="3322"/>
                </a:lnTo>
                <a:lnTo>
                  <a:pt x="2368" y="3306"/>
                </a:lnTo>
                <a:lnTo>
                  <a:pt x="2336" y="3289"/>
                </a:lnTo>
                <a:lnTo>
                  <a:pt x="2303" y="3272"/>
                </a:lnTo>
                <a:lnTo>
                  <a:pt x="2271" y="3255"/>
                </a:lnTo>
                <a:lnTo>
                  <a:pt x="2239" y="3237"/>
                </a:lnTo>
                <a:lnTo>
                  <a:pt x="2208" y="3218"/>
                </a:lnTo>
                <a:lnTo>
                  <a:pt x="2177" y="3198"/>
                </a:lnTo>
                <a:lnTo>
                  <a:pt x="2147" y="3178"/>
                </a:lnTo>
                <a:lnTo>
                  <a:pt x="2117" y="3158"/>
                </a:lnTo>
                <a:lnTo>
                  <a:pt x="2087" y="3137"/>
                </a:lnTo>
                <a:lnTo>
                  <a:pt x="2058" y="3115"/>
                </a:lnTo>
                <a:lnTo>
                  <a:pt x="2030" y="3093"/>
                </a:lnTo>
                <a:lnTo>
                  <a:pt x="2002" y="3071"/>
                </a:lnTo>
                <a:lnTo>
                  <a:pt x="1975" y="3047"/>
                </a:lnTo>
                <a:lnTo>
                  <a:pt x="1948" y="3024"/>
                </a:lnTo>
                <a:lnTo>
                  <a:pt x="1921" y="3000"/>
                </a:lnTo>
                <a:lnTo>
                  <a:pt x="1895" y="2975"/>
                </a:lnTo>
                <a:lnTo>
                  <a:pt x="1869" y="2950"/>
                </a:lnTo>
                <a:lnTo>
                  <a:pt x="1844" y="2924"/>
                </a:lnTo>
                <a:lnTo>
                  <a:pt x="1820" y="2898"/>
                </a:lnTo>
                <a:lnTo>
                  <a:pt x="1795" y="2871"/>
                </a:lnTo>
                <a:lnTo>
                  <a:pt x="1771" y="2843"/>
                </a:lnTo>
                <a:lnTo>
                  <a:pt x="1747" y="2816"/>
                </a:lnTo>
                <a:lnTo>
                  <a:pt x="1725" y="2787"/>
                </a:lnTo>
                <a:lnTo>
                  <a:pt x="1703" y="2757"/>
                </a:lnTo>
                <a:lnTo>
                  <a:pt x="1682" y="2729"/>
                </a:lnTo>
                <a:lnTo>
                  <a:pt x="1660" y="2699"/>
                </a:lnTo>
                <a:lnTo>
                  <a:pt x="1640" y="2669"/>
                </a:lnTo>
                <a:lnTo>
                  <a:pt x="1621" y="2638"/>
                </a:lnTo>
                <a:lnTo>
                  <a:pt x="1603" y="2608"/>
                </a:lnTo>
                <a:lnTo>
                  <a:pt x="1585" y="2578"/>
                </a:lnTo>
                <a:lnTo>
                  <a:pt x="1568" y="2547"/>
                </a:lnTo>
                <a:lnTo>
                  <a:pt x="1551" y="2516"/>
                </a:lnTo>
                <a:lnTo>
                  <a:pt x="1535" y="2484"/>
                </a:lnTo>
                <a:lnTo>
                  <a:pt x="1520" y="2452"/>
                </a:lnTo>
                <a:lnTo>
                  <a:pt x="1506" y="2420"/>
                </a:lnTo>
                <a:lnTo>
                  <a:pt x="1493" y="2388"/>
                </a:lnTo>
                <a:lnTo>
                  <a:pt x="1479" y="2356"/>
                </a:lnTo>
                <a:lnTo>
                  <a:pt x="1467" y="2324"/>
                </a:lnTo>
                <a:lnTo>
                  <a:pt x="1455" y="2291"/>
                </a:lnTo>
                <a:lnTo>
                  <a:pt x="1445" y="2258"/>
                </a:lnTo>
                <a:lnTo>
                  <a:pt x="1434" y="2225"/>
                </a:lnTo>
                <a:lnTo>
                  <a:pt x="1425" y="2191"/>
                </a:lnTo>
                <a:lnTo>
                  <a:pt x="1416" y="2157"/>
                </a:lnTo>
                <a:lnTo>
                  <a:pt x="1408" y="2123"/>
                </a:lnTo>
                <a:lnTo>
                  <a:pt x="1400" y="2089"/>
                </a:lnTo>
                <a:lnTo>
                  <a:pt x="1394" y="2054"/>
                </a:lnTo>
                <a:lnTo>
                  <a:pt x="1389" y="2018"/>
                </a:lnTo>
                <a:lnTo>
                  <a:pt x="1383" y="1983"/>
                </a:lnTo>
                <a:lnTo>
                  <a:pt x="1378" y="1948"/>
                </a:lnTo>
                <a:lnTo>
                  <a:pt x="1375" y="1912"/>
                </a:lnTo>
                <a:lnTo>
                  <a:pt x="1372" y="1876"/>
                </a:lnTo>
                <a:lnTo>
                  <a:pt x="1368" y="1840"/>
                </a:lnTo>
                <a:lnTo>
                  <a:pt x="1367" y="1804"/>
                </a:lnTo>
                <a:lnTo>
                  <a:pt x="1366" y="1767"/>
                </a:lnTo>
                <a:lnTo>
                  <a:pt x="1365" y="1729"/>
                </a:lnTo>
                <a:lnTo>
                  <a:pt x="1366" y="1686"/>
                </a:lnTo>
                <a:lnTo>
                  <a:pt x="1367" y="1641"/>
                </a:lnTo>
                <a:lnTo>
                  <a:pt x="1370" y="1598"/>
                </a:lnTo>
                <a:lnTo>
                  <a:pt x="1374" y="1555"/>
                </a:lnTo>
                <a:lnTo>
                  <a:pt x="1378" y="1511"/>
                </a:lnTo>
                <a:lnTo>
                  <a:pt x="1383" y="1469"/>
                </a:lnTo>
                <a:lnTo>
                  <a:pt x="1390" y="1427"/>
                </a:lnTo>
                <a:lnTo>
                  <a:pt x="1397" y="1386"/>
                </a:lnTo>
                <a:lnTo>
                  <a:pt x="1405" y="1345"/>
                </a:lnTo>
                <a:lnTo>
                  <a:pt x="1415" y="1304"/>
                </a:lnTo>
                <a:lnTo>
                  <a:pt x="1426" y="1264"/>
                </a:lnTo>
                <a:lnTo>
                  <a:pt x="1437" y="1223"/>
                </a:lnTo>
                <a:lnTo>
                  <a:pt x="1449" y="1184"/>
                </a:lnTo>
                <a:lnTo>
                  <a:pt x="1463" y="1145"/>
                </a:lnTo>
                <a:lnTo>
                  <a:pt x="1477" y="1106"/>
                </a:lnTo>
                <a:lnTo>
                  <a:pt x="1493" y="1068"/>
                </a:lnTo>
                <a:lnTo>
                  <a:pt x="1508" y="1030"/>
                </a:lnTo>
                <a:lnTo>
                  <a:pt x="1527" y="993"/>
                </a:lnTo>
                <a:lnTo>
                  <a:pt x="1545" y="955"/>
                </a:lnTo>
                <a:lnTo>
                  <a:pt x="1564" y="919"/>
                </a:lnTo>
                <a:lnTo>
                  <a:pt x="1585" y="883"/>
                </a:lnTo>
                <a:lnTo>
                  <a:pt x="1606" y="847"/>
                </a:lnTo>
                <a:lnTo>
                  <a:pt x="1628" y="811"/>
                </a:lnTo>
                <a:lnTo>
                  <a:pt x="1652" y="776"/>
                </a:lnTo>
                <a:lnTo>
                  <a:pt x="1676" y="742"/>
                </a:lnTo>
                <a:lnTo>
                  <a:pt x="1702" y="708"/>
                </a:lnTo>
                <a:lnTo>
                  <a:pt x="1728" y="674"/>
                </a:lnTo>
                <a:lnTo>
                  <a:pt x="1756" y="640"/>
                </a:lnTo>
                <a:lnTo>
                  <a:pt x="1783" y="607"/>
                </a:lnTo>
                <a:lnTo>
                  <a:pt x="1813" y="574"/>
                </a:lnTo>
                <a:lnTo>
                  <a:pt x="1844" y="542"/>
                </a:lnTo>
                <a:lnTo>
                  <a:pt x="1875" y="510"/>
                </a:lnTo>
                <a:lnTo>
                  <a:pt x="1907" y="478"/>
                </a:lnTo>
                <a:lnTo>
                  <a:pt x="1940" y="448"/>
                </a:lnTo>
                <a:lnTo>
                  <a:pt x="1971" y="419"/>
                </a:lnTo>
                <a:lnTo>
                  <a:pt x="2005" y="390"/>
                </a:lnTo>
                <a:lnTo>
                  <a:pt x="2038" y="362"/>
                </a:lnTo>
                <a:lnTo>
                  <a:pt x="2072" y="336"/>
                </a:lnTo>
                <a:lnTo>
                  <a:pt x="2106" y="311"/>
                </a:lnTo>
                <a:lnTo>
                  <a:pt x="2141" y="287"/>
                </a:lnTo>
                <a:lnTo>
                  <a:pt x="2176" y="263"/>
                </a:lnTo>
                <a:lnTo>
                  <a:pt x="2211" y="240"/>
                </a:lnTo>
                <a:lnTo>
                  <a:pt x="2247" y="219"/>
                </a:lnTo>
                <a:lnTo>
                  <a:pt x="2284" y="199"/>
                </a:lnTo>
                <a:lnTo>
                  <a:pt x="2320" y="179"/>
                </a:lnTo>
                <a:lnTo>
                  <a:pt x="2357" y="160"/>
                </a:lnTo>
                <a:lnTo>
                  <a:pt x="2395" y="143"/>
                </a:lnTo>
                <a:lnTo>
                  <a:pt x="2432" y="127"/>
                </a:lnTo>
                <a:lnTo>
                  <a:pt x="2470" y="111"/>
                </a:lnTo>
                <a:lnTo>
                  <a:pt x="2510" y="98"/>
                </a:lnTo>
                <a:lnTo>
                  <a:pt x="2549" y="84"/>
                </a:lnTo>
                <a:lnTo>
                  <a:pt x="2588" y="71"/>
                </a:lnTo>
                <a:lnTo>
                  <a:pt x="2628" y="60"/>
                </a:lnTo>
                <a:lnTo>
                  <a:pt x="2668" y="50"/>
                </a:lnTo>
                <a:lnTo>
                  <a:pt x="2709" y="40"/>
                </a:lnTo>
                <a:lnTo>
                  <a:pt x="2750" y="32"/>
                </a:lnTo>
                <a:lnTo>
                  <a:pt x="2791" y="24"/>
                </a:lnTo>
                <a:lnTo>
                  <a:pt x="2833" y="18"/>
                </a:lnTo>
                <a:lnTo>
                  <a:pt x="2876" y="13"/>
                </a:lnTo>
                <a:lnTo>
                  <a:pt x="2918" y="7"/>
                </a:lnTo>
                <a:lnTo>
                  <a:pt x="2962" y="4"/>
                </a:lnTo>
                <a:lnTo>
                  <a:pt x="3005" y="2"/>
                </a:lnTo>
                <a:lnTo>
                  <a:pt x="3049" y="1"/>
                </a:lnTo>
                <a:lnTo>
                  <a:pt x="3094" y="0"/>
                </a:lnTo>
                <a:lnTo>
                  <a:pt x="3138" y="1"/>
                </a:lnTo>
                <a:lnTo>
                  <a:pt x="3183" y="2"/>
                </a:lnTo>
                <a:lnTo>
                  <a:pt x="3226" y="4"/>
                </a:lnTo>
                <a:lnTo>
                  <a:pt x="3270" y="7"/>
                </a:lnTo>
                <a:lnTo>
                  <a:pt x="3312" y="13"/>
                </a:lnTo>
                <a:lnTo>
                  <a:pt x="3356" y="18"/>
                </a:lnTo>
                <a:lnTo>
                  <a:pt x="3397" y="24"/>
                </a:lnTo>
                <a:lnTo>
                  <a:pt x="3440" y="32"/>
                </a:lnTo>
                <a:lnTo>
                  <a:pt x="3481" y="40"/>
                </a:lnTo>
                <a:lnTo>
                  <a:pt x="3521" y="50"/>
                </a:lnTo>
                <a:lnTo>
                  <a:pt x="3563" y="60"/>
                </a:lnTo>
                <a:lnTo>
                  <a:pt x="3602" y="71"/>
                </a:lnTo>
                <a:lnTo>
                  <a:pt x="3643" y="84"/>
                </a:lnTo>
                <a:lnTo>
                  <a:pt x="3682" y="98"/>
                </a:lnTo>
                <a:lnTo>
                  <a:pt x="3721" y="111"/>
                </a:lnTo>
                <a:lnTo>
                  <a:pt x="3759" y="127"/>
                </a:lnTo>
                <a:lnTo>
                  <a:pt x="3798" y="143"/>
                </a:lnTo>
                <a:lnTo>
                  <a:pt x="3835" y="160"/>
                </a:lnTo>
                <a:lnTo>
                  <a:pt x="3873" y="179"/>
                </a:lnTo>
                <a:lnTo>
                  <a:pt x="3909" y="199"/>
                </a:lnTo>
                <a:lnTo>
                  <a:pt x="3946" y="219"/>
                </a:lnTo>
                <a:lnTo>
                  <a:pt x="3982" y="240"/>
                </a:lnTo>
                <a:lnTo>
                  <a:pt x="4017" y="263"/>
                </a:lnTo>
                <a:lnTo>
                  <a:pt x="4053" y="287"/>
                </a:lnTo>
                <a:lnTo>
                  <a:pt x="4088" y="311"/>
                </a:lnTo>
                <a:lnTo>
                  <a:pt x="4122" y="336"/>
                </a:lnTo>
                <a:lnTo>
                  <a:pt x="4156" y="362"/>
                </a:lnTo>
                <a:lnTo>
                  <a:pt x="4190" y="390"/>
                </a:lnTo>
                <a:lnTo>
                  <a:pt x="4223" y="419"/>
                </a:lnTo>
                <a:lnTo>
                  <a:pt x="4256" y="448"/>
                </a:lnTo>
                <a:lnTo>
                  <a:pt x="4289" y="478"/>
                </a:lnTo>
                <a:lnTo>
                  <a:pt x="4321" y="510"/>
                </a:lnTo>
                <a:lnTo>
                  <a:pt x="4353" y="542"/>
                </a:lnTo>
                <a:lnTo>
                  <a:pt x="4383" y="574"/>
                </a:lnTo>
                <a:lnTo>
                  <a:pt x="4412" y="607"/>
                </a:lnTo>
                <a:lnTo>
                  <a:pt x="4440" y="640"/>
                </a:lnTo>
                <a:lnTo>
                  <a:pt x="4467" y="674"/>
                </a:lnTo>
                <a:lnTo>
                  <a:pt x="4493" y="708"/>
                </a:lnTo>
                <a:lnTo>
                  <a:pt x="4518" y="742"/>
                </a:lnTo>
                <a:lnTo>
                  <a:pt x="4543" y="776"/>
                </a:lnTo>
                <a:lnTo>
                  <a:pt x="4566" y="811"/>
                </a:lnTo>
                <a:lnTo>
                  <a:pt x="4588" y="847"/>
                </a:lnTo>
                <a:lnTo>
                  <a:pt x="4610" y="883"/>
                </a:lnTo>
                <a:lnTo>
                  <a:pt x="4630" y="919"/>
                </a:lnTo>
                <a:lnTo>
                  <a:pt x="4649" y="955"/>
                </a:lnTo>
                <a:lnTo>
                  <a:pt x="4667" y="993"/>
                </a:lnTo>
                <a:lnTo>
                  <a:pt x="4685" y="1030"/>
                </a:lnTo>
                <a:lnTo>
                  <a:pt x="4701" y="1068"/>
                </a:lnTo>
                <a:lnTo>
                  <a:pt x="4716" y="1106"/>
                </a:lnTo>
                <a:lnTo>
                  <a:pt x="4731" y="1145"/>
                </a:lnTo>
                <a:lnTo>
                  <a:pt x="4745" y="1184"/>
                </a:lnTo>
                <a:lnTo>
                  <a:pt x="4756" y="1223"/>
                </a:lnTo>
                <a:lnTo>
                  <a:pt x="4768" y="1264"/>
                </a:lnTo>
                <a:lnTo>
                  <a:pt x="4779" y="1304"/>
                </a:lnTo>
                <a:lnTo>
                  <a:pt x="4788" y="1345"/>
                </a:lnTo>
                <a:lnTo>
                  <a:pt x="4797" y="1386"/>
                </a:lnTo>
                <a:lnTo>
                  <a:pt x="4803" y="1427"/>
                </a:lnTo>
                <a:lnTo>
                  <a:pt x="4810" y="1469"/>
                </a:lnTo>
                <a:lnTo>
                  <a:pt x="4816" y="1511"/>
                </a:lnTo>
                <a:lnTo>
                  <a:pt x="4820" y="1555"/>
                </a:lnTo>
                <a:lnTo>
                  <a:pt x="4823" y="1598"/>
                </a:lnTo>
                <a:lnTo>
                  <a:pt x="4825" y="1641"/>
                </a:lnTo>
                <a:lnTo>
                  <a:pt x="4827" y="1686"/>
                </a:lnTo>
                <a:lnTo>
                  <a:pt x="4827" y="1729"/>
                </a:lnTo>
                <a:lnTo>
                  <a:pt x="4827" y="1768"/>
                </a:lnTo>
                <a:lnTo>
                  <a:pt x="4826" y="1806"/>
                </a:lnTo>
                <a:lnTo>
                  <a:pt x="4824" y="1843"/>
                </a:lnTo>
                <a:lnTo>
                  <a:pt x="4822" y="1880"/>
                </a:lnTo>
                <a:lnTo>
                  <a:pt x="4818" y="1917"/>
                </a:lnTo>
                <a:lnTo>
                  <a:pt x="4814" y="1954"/>
                </a:lnTo>
                <a:lnTo>
                  <a:pt x="4808" y="1990"/>
                </a:lnTo>
                <a:lnTo>
                  <a:pt x="4803" y="2027"/>
                </a:lnTo>
                <a:lnTo>
                  <a:pt x="4797" y="2062"/>
                </a:lnTo>
                <a:lnTo>
                  <a:pt x="4789" y="2098"/>
                </a:lnTo>
                <a:lnTo>
                  <a:pt x="4781" y="2134"/>
                </a:lnTo>
                <a:lnTo>
                  <a:pt x="4772" y="2169"/>
                </a:lnTo>
                <a:lnTo>
                  <a:pt x="4763" y="2204"/>
                </a:lnTo>
                <a:lnTo>
                  <a:pt x="4752" y="2240"/>
                </a:lnTo>
                <a:lnTo>
                  <a:pt x="4740" y="2274"/>
                </a:lnTo>
                <a:lnTo>
                  <a:pt x="4729" y="2308"/>
                </a:lnTo>
                <a:lnTo>
                  <a:pt x="4716" y="2342"/>
                </a:lnTo>
                <a:lnTo>
                  <a:pt x="4702" y="2376"/>
                </a:lnTo>
                <a:lnTo>
                  <a:pt x="4688" y="2410"/>
                </a:lnTo>
                <a:lnTo>
                  <a:pt x="4673" y="2443"/>
                </a:lnTo>
                <a:lnTo>
                  <a:pt x="4657" y="2476"/>
                </a:lnTo>
                <a:lnTo>
                  <a:pt x="4641" y="2508"/>
                </a:lnTo>
                <a:lnTo>
                  <a:pt x="4624" y="2541"/>
                </a:lnTo>
                <a:lnTo>
                  <a:pt x="4605" y="2573"/>
                </a:lnTo>
                <a:lnTo>
                  <a:pt x="4586" y="2606"/>
                </a:lnTo>
                <a:lnTo>
                  <a:pt x="4566" y="2638"/>
                </a:lnTo>
                <a:lnTo>
                  <a:pt x="4546" y="2669"/>
                </a:lnTo>
                <a:lnTo>
                  <a:pt x="4525" y="2701"/>
                </a:lnTo>
                <a:lnTo>
                  <a:pt x="4502" y="2732"/>
                </a:lnTo>
                <a:lnTo>
                  <a:pt x="4480" y="2763"/>
                </a:lnTo>
                <a:lnTo>
                  <a:pt x="4456" y="2793"/>
                </a:lnTo>
                <a:lnTo>
                  <a:pt x="4431" y="2824"/>
                </a:lnTo>
                <a:lnTo>
                  <a:pt x="4407" y="2853"/>
                </a:lnTo>
                <a:lnTo>
                  <a:pt x="4381" y="2883"/>
                </a:lnTo>
                <a:lnTo>
                  <a:pt x="4356" y="2910"/>
                </a:lnTo>
                <a:lnTo>
                  <a:pt x="4329" y="2938"/>
                </a:lnTo>
                <a:lnTo>
                  <a:pt x="4303" y="2965"/>
                </a:lnTo>
                <a:lnTo>
                  <a:pt x="4276" y="2991"/>
                </a:lnTo>
                <a:lnTo>
                  <a:pt x="4249" y="3017"/>
                </a:lnTo>
                <a:lnTo>
                  <a:pt x="4220" y="3041"/>
                </a:lnTo>
                <a:lnTo>
                  <a:pt x="4192" y="3066"/>
                </a:lnTo>
                <a:lnTo>
                  <a:pt x="4164" y="3089"/>
                </a:lnTo>
                <a:lnTo>
                  <a:pt x="4134" y="3112"/>
                </a:lnTo>
                <a:lnTo>
                  <a:pt x="4105" y="3134"/>
                </a:lnTo>
                <a:lnTo>
                  <a:pt x="4075" y="3155"/>
                </a:lnTo>
                <a:lnTo>
                  <a:pt x="4045" y="3176"/>
                </a:lnTo>
                <a:lnTo>
                  <a:pt x="4014" y="3196"/>
                </a:lnTo>
                <a:lnTo>
                  <a:pt x="3982" y="3215"/>
                </a:lnTo>
                <a:lnTo>
                  <a:pt x="3950" y="3233"/>
                </a:lnTo>
                <a:lnTo>
                  <a:pt x="3919" y="3252"/>
                </a:lnTo>
                <a:lnTo>
                  <a:pt x="3887" y="3269"/>
                </a:lnTo>
                <a:lnTo>
                  <a:pt x="3854" y="3286"/>
                </a:lnTo>
                <a:lnTo>
                  <a:pt x="3820" y="3301"/>
                </a:lnTo>
                <a:lnTo>
                  <a:pt x="3786" y="3316"/>
                </a:lnTo>
                <a:lnTo>
                  <a:pt x="3752" y="3331"/>
                </a:lnTo>
                <a:lnTo>
                  <a:pt x="3718" y="3344"/>
                </a:lnTo>
                <a:lnTo>
                  <a:pt x="3683" y="3358"/>
                </a:lnTo>
                <a:lnTo>
                  <a:pt x="3647" y="3370"/>
                </a:lnTo>
                <a:lnTo>
                  <a:pt x="3611" y="3381"/>
                </a:lnTo>
                <a:lnTo>
                  <a:pt x="3575" y="3393"/>
                </a:lnTo>
                <a:lnTo>
                  <a:pt x="3538" y="3402"/>
                </a:lnTo>
                <a:lnTo>
                  <a:pt x="3500" y="3412"/>
                </a:lnTo>
                <a:lnTo>
                  <a:pt x="3463" y="3421"/>
                </a:lnTo>
                <a:lnTo>
                  <a:pt x="3425" y="3429"/>
                </a:lnTo>
                <a:lnTo>
                  <a:pt x="3438" y="3443"/>
                </a:lnTo>
                <a:lnTo>
                  <a:pt x="3449" y="3456"/>
                </a:lnTo>
                <a:lnTo>
                  <a:pt x="3459" y="3468"/>
                </a:lnTo>
                <a:lnTo>
                  <a:pt x="3466" y="3480"/>
                </a:lnTo>
                <a:lnTo>
                  <a:pt x="3473" y="3491"/>
                </a:lnTo>
                <a:lnTo>
                  <a:pt x="3477" y="3501"/>
                </a:lnTo>
                <a:lnTo>
                  <a:pt x="3479" y="3512"/>
                </a:lnTo>
                <a:lnTo>
                  <a:pt x="3480" y="3522"/>
                </a:lnTo>
                <a:close/>
              </a:path>
            </a:pathLst>
          </a:custGeom>
          <a:gradFill flip="none" rotWithShape="1">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10800000" scaled="1"/>
            <a:tileRect/>
          </a:gradFill>
          <a:ln w="9525">
            <a:noFill/>
            <a:round/>
            <a:headEnd/>
            <a:tailEnd/>
          </a:ln>
        </p:spPr>
        <p:txBody>
          <a:bodyPr/>
          <a:lstStyle/>
          <a:p>
            <a:pPr marL="0" marR="0" lvl="0" indent="0" algn="l" defTabSz="674255" rtl="0" eaLnBrk="1" fontAlgn="auto" latinLnBrk="0" hangingPunct="1">
              <a:lnSpc>
                <a:spcPct val="100000"/>
              </a:lnSpc>
              <a:spcBef>
                <a:spcPts val="0"/>
              </a:spcBef>
              <a:spcAft>
                <a:spcPts val="0"/>
              </a:spcAft>
              <a:buClrTx/>
              <a:buSzTx/>
              <a:buFontTx/>
              <a:buNone/>
              <a:tabLst/>
              <a:defRPr/>
            </a:pPr>
            <a:endParaRPr kumimoji="0" lang="en-GB" sz="1589"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0" name="Freeform 14">
            <a:extLst>
              <a:ext uri="{FF2B5EF4-FFF2-40B4-BE49-F238E27FC236}">
                <a16:creationId xmlns:a16="http://schemas.microsoft.com/office/drawing/2014/main" id="{113C03E6-C45A-46E4-B74A-5F7CFA98B5EF}"/>
              </a:ext>
            </a:extLst>
          </p:cNvPr>
          <p:cNvSpPr>
            <a:spLocks/>
          </p:cNvSpPr>
          <p:nvPr/>
        </p:nvSpPr>
        <p:spPr bwMode="auto">
          <a:xfrm>
            <a:off x="9633989" y="4857075"/>
            <a:ext cx="197037" cy="470851"/>
          </a:xfrm>
          <a:custGeom>
            <a:avLst/>
            <a:gdLst>
              <a:gd name="T0" fmla="*/ 13344091 w 6132"/>
              <a:gd name="T1" fmla="*/ 10441401 h 16980"/>
              <a:gd name="T2" fmla="*/ 14439013 w 6132"/>
              <a:gd name="T3" fmla="*/ 10808942 h 16980"/>
              <a:gd name="T4" fmla="*/ 15478309 w 6132"/>
              <a:gd name="T5" fmla="*/ 11467619 h 16980"/>
              <a:gd name="T6" fmla="*/ 16450295 w 6132"/>
              <a:gd name="T7" fmla="*/ 12408541 h 16980"/>
              <a:gd name="T8" fmla="*/ 17214401 w 6132"/>
              <a:gd name="T9" fmla="*/ 13481773 h 16980"/>
              <a:gd name="T10" fmla="*/ 17709159 w 6132"/>
              <a:gd name="T11" fmla="*/ 14605004 h 16980"/>
              <a:gd name="T12" fmla="*/ 17937493 w 6132"/>
              <a:gd name="T13" fmla="*/ 15789994 h 16980"/>
              <a:gd name="T14" fmla="*/ 17922884 w 6132"/>
              <a:gd name="T15" fmla="*/ 28795453 h 16980"/>
              <a:gd name="T16" fmla="*/ 17720901 w 6132"/>
              <a:gd name="T17" fmla="*/ 29724608 h 16980"/>
              <a:gd name="T18" fmla="*/ 17322724 w 6132"/>
              <a:gd name="T19" fmla="*/ 30571448 h 16980"/>
              <a:gd name="T20" fmla="*/ 16731329 w 6132"/>
              <a:gd name="T21" fmla="*/ 31344758 h 16980"/>
              <a:gd name="T22" fmla="*/ 15970146 w 6132"/>
              <a:gd name="T23" fmla="*/ 32000508 h 16980"/>
              <a:gd name="T24" fmla="*/ 15062602 w 6132"/>
              <a:gd name="T25" fmla="*/ 32509198 h 16980"/>
              <a:gd name="T26" fmla="*/ 14014483 w 6132"/>
              <a:gd name="T27" fmla="*/ 32867899 h 16980"/>
              <a:gd name="T28" fmla="*/ 4168927 w 6132"/>
              <a:gd name="T29" fmla="*/ 32935519 h 16980"/>
              <a:gd name="T30" fmla="*/ 3003722 w 6132"/>
              <a:gd name="T31" fmla="*/ 32515054 h 16980"/>
              <a:gd name="T32" fmla="*/ 2104943 w 6132"/>
              <a:gd name="T33" fmla="*/ 32053432 h 16980"/>
              <a:gd name="T34" fmla="*/ 1334994 w 6132"/>
              <a:gd name="T35" fmla="*/ 31503585 h 16980"/>
              <a:gd name="T36" fmla="*/ 723146 w 6132"/>
              <a:gd name="T37" fmla="*/ 30883136 h 16980"/>
              <a:gd name="T38" fmla="*/ 295697 w 6132"/>
              <a:gd name="T39" fmla="*/ 30230369 h 16980"/>
              <a:gd name="T40" fmla="*/ 55622 w 6132"/>
              <a:gd name="T41" fmla="*/ 29542302 h 16980"/>
              <a:gd name="T42" fmla="*/ 2922 w 6132"/>
              <a:gd name="T43" fmla="*/ 16034064 h 16980"/>
              <a:gd name="T44" fmla="*/ 166867 w 6132"/>
              <a:gd name="T45" fmla="*/ 14637376 h 16980"/>
              <a:gd name="T46" fmla="*/ 608925 w 6132"/>
              <a:gd name="T47" fmla="*/ 13408297 h 16980"/>
              <a:gd name="T48" fmla="*/ 1326228 w 6132"/>
              <a:gd name="T49" fmla="*/ 12352689 h 16980"/>
              <a:gd name="T50" fmla="*/ 2309902 w 6132"/>
              <a:gd name="T51" fmla="*/ 11479386 h 16980"/>
              <a:gd name="T52" fmla="*/ 3495559 w 6132"/>
              <a:gd name="T53" fmla="*/ 10853081 h 16980"/>
              <a:gd name="T54" fmla="*/ 4889097 w 6132"/>
              <a:gd name="T55" fmla="*/ 10479630 h 16980"/>
              <a:gd name="T56" fmla="*/ 6475906 w 6132"/>
              <a:gd name="T57" fmla="*/ 10356104 h 16980"/>
              <a:gd name="T58" fmla="*/ 6768627 w 6132"/>
              <a:gd name="T59" fmla="*/ 10332625 h 16980"/>
              <a:gd name="T60" fmla="*/ 7661564 w 6132"/>
              <a:gd name="T61" fmla="*/ 10323786 h 16980"/>
              <a:gd name="T62" fmla="*/ 7863602 w 6132"/>
              <a:gd name="T63" fmla="*/ 10085627 h 16980"/>
              <a:gd name="T64" fmla="*/ 7032131 w 6132"/>
              <a:gd name="T65" fmla="*/ 9768029 h 16980"/>
              <a:gd name="T66" fmla="*/ 6197794 w 6132"/>
              <a:gd name="T67" fmla="*/ 9285801 h 16980"/>
              <a:gd name="T68" fmla="*/ 5471726 w 6132"/>
              <a:gd name="T69" fmla="*/ 8674191 h 16980"/>
              <a:gd name="T70" fmla="*/ 4859825 w 6132"/>
              <a:gd name="T71" fmla="*/ 7936181 h 16980"/>
              <a:gd name="T72" fmla="*/ 4409002 w 6132"/>
              <a:gd name="T73" fmla="*/ 7115803 h 16980"/>
              <a:gd name="T74" fmla="*/ 4122070 w 6132"/>
              <a:gd name="T75" fmla="*/ 6242499 h 16980"/>
              <a:gd name="T76" fmla="*/ 4002059 w 6132"/>
              <a:gd name="T77" fmla="*/ 5304506 h 16980"/>
              <a:gd name="T78" fmla="*/ 4069369 w 6132"/>
              <a:gd name="T79" fmla="*/ 4195974 h 16980"/>
              <a:gd name="T80" fmla="*/ 4370910 w 6132"/>
              <a:gd name="T81" fmla="*/ 3140364 h 16980"/>
              <a:gd name="T82" fmla="*/ 4906682 w 6132"/>
              <a:gd name="T83" fmla="*/ 2181765 h 16980"/>
              <a:gd name="T84" fmla="*/ 5679553 w 6132"/>
              <a:gd name="T85" fmla="*/ 1317301 h 16980"/>
              <a:gd name="T86" fmla="*/ 6578332 w 6132"/>
              <a:gd name="T87" fmla="*/ 643928 h 16980"/>
              <a:gd name="T88" fmla="*/ 7576670 w 6132"/>
              <a:gd name="T89" fmla="*/ 208768 h 16980"/>
              <a:gd name="T90" fmla="*/ 8671588 w 6132"/>
              <a:gd name="T91" fmla="*/ 11767 h 16980"/>
              <a:gd name="T92" fmla="*/ 9825105 w 6132"/>
              <a:gd name="T93" fmla="*/ 52924 h 16980"/>
              <a:gd name="T94" fmla="*/ 10893673 w 6132"/>
              <a:gd name="T95" fmla="*/ 326384 h 16980"/>
              <a:gd name="T96" fmla="*/ 11865659 w 6132"/>
              <a:gd name="T97" fmla="*/ 843912 h 16980"/>
              <a:gd name="T98" fmla="*/ 12743931 w 6132"/>
              <a:gd name="T99" fmla="*/ 1593689 h 16980"/>
              <a:gd name="T100" fmla="*/ 13431908 w 6132"/>
              <a:gd name="T101" fmla="*/ 2490525 h 16980"/>
              <a:gd name="T102" fmla="*/ 13891551 w 6132"/>
              <a:gd name="T103" fmla="*/ 3481443 h 16980"/>
              <a:gd name="T104" fmla="*/ 14111119 w 6132"/>
              <a:gd name="T105" fmla="*/ 4572353 h 16980"/>
              <a:gd name="T106" fmla="*/ 14105275 w 6132"/>
              <a:gd name="T107" fmla="*/ 5636746 h 16980"/>
              <a:gd name="T108" fmla="*/ 13912057 w 6132"/>
              <a:gd name="T109" fmla="*/ 6586506 h 16980"/>
              <a:gd name="T110" fmla="*/ 13537309 w 6132"/>
              <a:gd name="T111" fmla="*/ 7471577 h 16980"/>
              <a:gd name="T112" fmla="*/ 12972265 w 6132"/>
              <a:gd name="T113" fmla="*/ 8303722 h 16980"/>
              <a:gd name="T114" fmla="*/ 12272601 w 6132"/>
              <a:gd name="T115" fmla="*/ 9015324 h 16980"/>
              <a:gd name="T116" fmla="*/ 11473326 w 6132"/>
              <a:gd name="T117" fmla="*/ 9562188 h 16980"/>
              <a:gd name="T118" fmla="*/ 10571626 w 6132"/>
              <a:gd name="T119" fmla="*/ 9941550 h 16980"/>
              <a:gd name="T120" fmla="*/ 10147098 w 6132"/>
              <a:gd name="T121" fmla="*/ 10232633 h 1698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6132"/>
              <a:gd name="T184" fmla="*/ 0 h 16980"/>
              <a:gd name="T185" fmla="*/ 6132 w 6132"/>
              <a:gd name="T186" fmla="*/ 16980 h 16980"/>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6132" h="16980">
                <a:moveTo>
                  <a:pt x="3480" y="3522"/>
                </a:moveTo>
                <a:lnTo>
                  <a:pt x="4254" y="3522"/>
                </a:lnTo>
                <a:lnTo>
                  <a:pt x="4298" y="3522"/>
                </a:lnTo>
                <a:lnTo>
                  <a:pt x="4342" y="3524"/>
                </a:lnTo>
                <a:lnTo>
                  <a:pt x="4386" y="3527"/>
                </a:lnTo>
                <a:lnTo>
                  <a:pt x="4429" y="3531"/>
                </a:lnTo>
                <a:lnTo>
                  <a:pt x="4473" y="3536"/>
                </a:lnTo>
                <a:lnTo>
                  <a:pt x="4515" y="3543"/>
                </a:lnTo>
                <a:lnTo>
                  <a:pt x="4558" y="3551"/>
                </a:lnTo>
                <a:lnTo>
                  <a:pt x="4601" y="3560"/>
                </a:lnTo>
                <a:lnTo>
                  <a:pt x="4643" y="3570"/>
                </a:lnTo>
                <a:lnTo>
                  <a:pt x="4685" y="3582"/>
                </a:lnTo>
                <a:lnTo>
                  <a:pt x="4727" y="3595"/>
                </a:lnTo>
                <a:lnTo>
                  <a:pt x="4769" y="3609"/>
                </a:lnTo>
                <a:lnTo>
                  <a:pt x="4809" y="3624"/>
                </a:lnTo>
                <a:lnTo>
                  <a:pt x="4851" y="3640"/>
                </a:lnTo>
                <a:lnTo>
                  <a:pt x="4892" y="3658"/>
                </a:lnTo>
                <a:lnTo>
                  <a:pt x="4932" y="3676"/>
                </a:lnTo>
                <a:lnTo>
                  <a:pt x="4973" y="3696"/>
                </a:lnTo>
                <a:lnTo>
                  <a:pt x="5013" y="3717"/>
                </a:lnTo>
                <a:lnTo>
                  <a:pt x="5052" y="3739"/>
                </a:lnTo>
                <a:lnTo>
                  <a:pt x="5093" y="3763"/>
                </a:lnTo>
                <a:lnTo>
                  <a:pt x="5132" y="3788"/>
                </a:lnTo>
                <a:lnTo>
                  <a:pt x="5171" y="3814"/>
                </a:lnTo>
                <a:lnTo>
                  <a:pt x="5210" y="3842"/>
                </a:lnTo>
                <a:lnTo>
                  <a:pt x="5249" y="3870"/>
                </a:lnTo>
                <a:lnTo>
                  <a:pt x="5287" y="3900"/>
                </a:lnTo>
                <a:lnTo>
                  <a:pt x="5325" y="3931"/>
                </a:lnTo>
                <a:lnTo>
                  <a:pt x="5364" y="3963"/>
                </a:lnTo>
                <a:lnTo>
                  <a:pt x="5401" y="3997"/>
                </a:lnTo>
                <a:lnTo>
                  <a:pt x="5438" y="4031"/>
                </a:lnTo>
                <a:lnTo>
                  <a:pt x="5475" y="4067"/>
                </a:lnTo>
                <a:lnTo>
                  <a:pt x="5512" y="4104"/>
                </a:lnTo>
                <a:lnTo>
                  <a:pt x="5549" y="4142"/>
                </a:lnTo>
                <a:lnTo>
                  <a:pt x="5584" y="4181"/>
                </a:lnTo>
                <a:lnTo>
                  <a:pt x="5619" y="4220"/>
                </a:lnTo>
                <a:lnTo>
                  <a:pt x="5652" y="4260"/>
                </a:lnTo>
                <a:lnTo>
                  <a:pt x="5685" y="4300"/>
                </a:lnTo>
                <a:lnTo>
                  <a:pt x="5716" y="4339"/>
                </a:lnTo>
                <a:lnTo>
                  <a:pt x="5747" y="4379"/>
                </a:lnTo>
                <a:lnTo>
                  <a:pt x="5775" y="4420"/>
                </a:lnTo>
                <a:lnTo>
                  <a:pt x="5803" y="4460"/>
                </a:lnTo>
                <a:lnTo>
                  <a:pt x="5830" y="4502"/>
                </a:lnTo>
                <a:lnTo>
                  <a:pt x="5855" y="4543"/>
                </a:lnTo>
                <a:lnTo>
                  <a:pt x="5880" y="4585"/>
                </a:lnTo>
                <a:lnTo>
                  <a:pt x="5904" y="4626"/>
                </a:lnTo>
                <a:lnTo>
                  <a:pt x="5925" y="4667"/>
                </a:lnTo>
                <a:lnTo>
                  <a:pt x="5946" y="4710"/>
                </a:lnTo>
                <a:lnTo>
                  <a:pt x="5967" y="4752"/>
                </a:lnTo>
                <a:lnTo>
                  <a:pt x="5986" y="4795"/>
                </a:lnTo>
                <a:lnTo>
                  <a:pt x="6004" y="4838"/>
                </a:lnTo>
                <a:lnTo>
                  <a:pt x="6020" y="4880"/>
                </a:lnTo>
                <a:lnTo>
                  <a:pt x="6036" y="4924"/>
                </a:lnTo>
                <a:lnTo>
                  <a:pt x="6049" y="4967"/>
                </a:lnTo>
                <a:lnTo>
                  <a:pt x="6063" y="5011"/>
                </a:lnTo>
                <a:lnTo>
                  <a:pt x="6075" y="5055"/>
                </a:lnTo>
                <a:lnTo>
                  <a:pt x="6085" y="5100"/>
                </a:lnTo>
                <a:lnTo>
                  <a:pt x="6095" y="5144"/>
                </a:lnTo>
                <a:lnTo>
                  <a:pt x="6104" y="5189"/>
                </a:lnTo>
                <a:lnTo>
                  <a:pt x="6111" y="5234"/>
                </a:lnTo>
                <a:lnTo>
                  <a:pt x="6117" y="5280"/>
                </a:lnTo>
                <a:lnTo>
                  <a:pt x="6123" y="5324"/>
                </a:lnTo>
                <a:lnTo>
                  <a:pt x="6127" y="5370"/>
                </a:lnTo>
                <a:lnTo>
                  <a:pt x="6130" y="5417"/>
                </a:lnTo>
                <a:lnTo>
                  <a:pt x="6131" y="5463"/>
                </a:lnTo>
                <a:lnTo>
                  <a:pt x="6132" y="5509"/>
                </a:lnTo>
                <a:lnTo>
                  <a:pt x="6132" y="9605"/>
                </a:lnTo>
                <a:lnTo>
                  <a:pt x="6132" y="9643"/>
                </a:lnTo>
                <a:lnTo>
                  <a:pt x="6130" y="9682"/>
                </a:lnTo>
                <a:lnTo>
                  <a:pt x="6129" y="9719"/>
                </a:lnTo>
                <a:lnTo>
                  <a:pt x="6126" y="9756"/>
                </a:lnTo>
                <a:lnTo>
                  <a:pt x="6122" y="9793"/>
                </a:lnTo>
                <a:lnTo>
                  <a:pt x="6117" y="9829"/>
                </a:lnTo>
                <a:lnTo>
                  <a:pt x="6112" y="9866"/>
                </a:lnTo>
                <a:lnTo>
                  <a:pt x="6107" y="9901"/>
                </a:lnTo>
                <a:lnTo>
                  <a:pt x="6099" y="9937"/>
                </a:lnTo>
                <a:lnTo>
                  <a:pt x="6092" y="9972"/>
                </a:lnTo>
                <a:lnTo>
                  <a:pt x="6083" y="10007"/>
                </a:lnTo>
                <a:lnTo>
                  <a:pt x="6074" y="10041"/>
                </a:lnTo>
                <a:lnTo>
                  <a:pt x="6063" y="10075"/>
                </a:lnTo>
                <a:lnTo>
                  <a:pt x="6053" y="10109"/>
                </a:lnTo>
                <a:lnTo>
                  <a:pt x="6041" y="10142"/>
                </a:lnTo>
                <a:lnTo>
                  <a:pt x="6028" y="10175"/>
                </a:lnTo>
                <a:lnTo>
                  <a:pt x="6014" y="10208"/>
                </a:lnTo>
                <a:lnTo>
                  <a:pt x="6001" y="10241"/>
                </a:lnTo>
                <a:lnTo>
                  <a:pt x="5986" y="10273"/>
                </a:lnTo>
                <a:lnTo>
                  <a:pt x="5970" y="10305"/>
                </a:lnTo>
                <a:lnTo>
                  <a:pt x="5953" y="10335"/>
                </a:lnTo>
                <a:lnTo>
                  <a:pt x="5935" y="10366"/>
                </a:lnTo>
                <a:lnTo>
                  <a:pt x="5917" y="10397"/>
                </a:lnTo>
                <a:lnTo>
                  <a:pt x="5898" y="10428"/>
                </a:lnTo>
                <a:lnTo>
                  <a:pt x="5877" y="10458"/>
                </a:lnTo>
                <a:lnTo>
                  <a:pt x="5857" y="10487"/>
                </a:lnTo>
                <a:lnTo>
                  <a:pt x="5835" y="10517"/>
                </a:lnTo>
                <a:lnTo>
                  <a:pt x="5813" y="10546"/>
                </a:lnTo>
                <a:lnTo>
                  <a:pt x="5789" y="10575"/>
                </a:lnTo>
                <a:lnTo>
                  <a:pt x="5766" y="10603"/>
                </a:lnTo>
                <a:lnTo>
                  <a:pt x="5740" y="10632"/>
                </a:lnTo>
                <a:lnTo>
                  <a:pt x="5715" y="10660"/>
                </a:lnTo>
                <a:lnTo>
                  <a:pt x="5688" y="10687"/>
                </a:lnTo>
                <a:lnTo>
                  <a:pt x="5661" y="10714"/>
                </a:lnTo>
                <a:lnTo>
                  <a:pt x="5633" y="10739"/>
                </a:lnTo>
                <a:lnTo>
                  <a:pt x="5606" y="10765"/>
                </a:lnTo>
                <a:lnTo>
                  <a:pt x="5576" y="10790"/>
                </a:lnTo>
                <a:lnTo>
                  <a:pt x="5546" y="10814"/>
                </a:lnTo>
                <a:lnTo>
                  <a:pt x="5516" y="10838"/>
                </a:lnTo>
                <a:lnTo>
                  <a:pt x="5486" y="10860"/>
                </a:lnTo>
                <a:lnTo>
                  <a:pt x="5455" y="10883"/>
                </a:lnTo>
                <a:lnTo>
                  <a:pt x="5422" y="10905"/>
                </a:lnTo>
                <a:lnTo>
                  <a:pt x="5390" y="10925"/>
                </a:lnTo>
                <a:lnTo>
                  <a:pt x="5357" y="10947"/>
                </a:lnTo>
                <a:lnTo>
                  <a:pt x="5323" y="10966"/>
                </a:lnTo>
                <a:lnTo>
                  <a:pt x="5288" y="10985"/>
                </a:lnTo>
                <a:lnTo>
                  <a:pt x="5253" y="11004"/>
                </a:lnTo>
                <a:lnTo>
                  <a:pt x="5218" y="11022"/>
                </a:lnTo>
                <a:lnTo>
                  <a:pt x="5182" y="11039"/>
                </a:lnTo>
                <a:lnTo>
                  <a:pt x="5145" y="11056"/>
                </a:lnTo>
                <a:lnTo>
                  <a:pt x="5108" y="11072"/>
                </a:lnTo>
                <a:lnTo>
                  <a:pt x="5069" y="11087"/>
                </a:lnTo>
                <a:lnTo>
                  <a:pt x="5031" y="11102"/>
                </a:lnTo>
                <a:lnTo>
                  <a:pt x="4992" y="11117"/>
                </a:lnTo>
                <a:lnTo>
                  <a:pt x="4952" y="11130"/>
                </a:lnTo>
                <a:lnTo>
                  <a:pt x="4911" y="11143"/>
                </a:lnTo>
                <a:lnTo>
                  <a:pt x="4871" y="11155"/>
                </a:lnTo>
                <a:lnTo>
                  <a:pt x="4828" y="11167"/>
                </a:lnTo>
                <a:lnTo>
                  <a:pt x="4787" y="11178"/>
                </a:lnTo>
                <a:lnTo>
                  <a:pt x="4743" y="11189"/>
                </a:lnTo>
                <a:lnTo>
                  <a:pt x="4701" y="11199"/>
                </a:lnTo>
                <a:lnTo>
                  <a:pt x="4656" y="11208"/>
                </a:lnTo>
                <a:lnTo>
                  <a:pt x="4612" y="11217"/>
                </a:lnTo>
                <a:lnTo>
                  <a:pt x="4567" y="11225"/>
                </a:lnTo>
                <a:lnTo>
                  <a:pt x="4567" y="16980"/>
                </a:lnTo>
                <a:lnTo>
                  <a:pt x="1510" y="16980"/>
                </a:lnTo>
                <a:lnTo>
                  <a:pt x="1510" y="11225"/>
                </a:lnTo>
                <a:lnTo>
                  <a:pt x="1424" y="11201"/>
                </a:lnTo>
                <a:lnTo>
                  <a:pt x="1340" y="11175"/>
                </a:lnTo>
                <a:lnTo>
                  <a:pt x="1298" y="11161"/>
                </a:lnTo>
                <a:lnTo>
                  <a:pt x="1258" y="11148"/>
                </a:lnTo>
                <a:lnTo>
                  <a:pt x="1218" y="11134"/>
                </a:lnTo>
                <a:lnTo>
                  <a:pt x="1178" y="11120"/>
                </a:lnTo>
                <a:lnTo>
                  <a:pt x="1139" y="11105"/>
                </a:lnTo>
                <a:lnTo>
                  <a:pt x="1101" y="11089"/>
                </a:lnTo>
                <a:lnTo>
                  <a:pt x="1064" y="11074"/>
                </a:lnTo>
                <a:lnTo>
                  <a:pt x="1026" y="11058"/>
                </a:lnTo>
                <a:lnTo>
                  <a:pt x="990" y="11042"/>
                </a:lnTo>
                <a:lnTo>
                  <a:pt x="954" y="11025"/>
                </a:lnTo>
                <a:lnTo>
                  <a:pt x="918" y="11009"/>
                </a:lnTo>
                <a:lnTo>
                  <a:pt x="884" y="10991"/>
                </a:lnTo>
                <a:lnTo>
                  <a:pt x="849" y="10974"/>
                </a:lnTo>
                <a:lnTo>
                  <a:pt x="816" y="10956"/>
                </a:lnTo>
                <a:lnTo>
                  <a:pt x="782" y="10938"/>
                </a:lnTo>
                <a:lnTo>
                  <a:pt x="750" y="10920"/>
                </a:lnTo>
                <a:lnTo>
                  <a:pt x="719" y="10901"/>
                </a:lnTo>
                <a:lnTo>
                  <a:pt x="687" y="10882"/>
                </a:lnTo>
                <a:lnTo>
                  <a:pt x="656" y="10862"/>
                </a:lnTo>
                <a:lnTo>
                  <a:pt x="626" y="10841"/>
                </a:lnTo>
                <a:lnTo>
                  <a:pt x="596" y="10821"/>
                </a:lnTo>
                <a:lnTo>
                  <a:pt x="567" y="10801"/>
                </a:lnTo>
                <a:lnTo>
                  <a:pt x="539" y="10780"/>
                </a:lnTo>
                <a:lnTo>
                  <a:pt x="510" y="10758"/>
                </a:lnTo>
                <a:lnTo>
                  <a:pt x="484" y="10736"/>
                </a:lnTo>
                <a:lnTo>
                  <a:pt x="456" y="10714"/>
                </a:lnTo>
                <a:lnTo>
                  <a:pt x="431" y="10691"/>
                </a:lnTo>
                <a:lnTo>
                  <a:pt x="405" y="10668"/>
                </a:lnTo>
                <a:lnTo>
                  <a:pt x="380" y="10646"/>
                </a:lnTo>
                <a:lnTo>
                  <a:pt x="355" y="10622"/>
                </a:lnTo>
                <a:lnTo>
                  <a:pt x="332" y="10599"/>
                </a:lnTo>
                <a:lnTo>
                  <a:pt x="310" y="10576"/>
                </a:lnTo>
                <a:lnTo>
                  <a:pt x="289" y="10551"/>
                </a:lnTo>
                <a:lnTo>
                  <a:pt x="267" y="10528"/>
                </a:lnTo>
                <a:lnTo>
                  <a:pt x="247" y="10503"/>
                </a:lnTo>
                <a:lnTo>
                  <a:pt x="228" y="10480"/>
                </a:lnTo>
                <a:lnTo>
                  <a:pt x="209" y="10455"/>
                </a:lnTo>
                <a:lnTo>
                  <a:pt x="191" y="10431"/>
                </a:lnTo>
                <a:lnTo>
                  <a:pt x="174" y="10407"/>
                </a:lnTo>
                <a:lnTo>
                  <a:pt x="158" y="10382"/>
                </a:lnTo>
                <a:lnTo>
                  <a:pt x="142" y="10357"/>
                </a:lnTo>
                <a:lnTo>
                  <a:pt x="128" y="10332"/>
                </a:lnTo>
                <a:lnTo>
                  <a:pt x="114" y="10307"/>
                </a:lnTo>
                <a:lnTo>
                  <a:pt x="101" y="10281"/>
                </a:lnTo>
                <a:lnTo>
                  <a:pt x="89" y="10256"/>
                </a:lnTo>
                <a:lnTo>
                  <a:pt x="77" y="10230"/>
                </a:lnTo>
                <a:lnTo>
                  <a:pt x="67" y="10205"/>
                </a:lnTo>
                <a:lnTo>
                  <a:pt x="57" y="10179"/>
                </a:lnTo>
                <a:lnTo>
                  <a:pt x="48" y="10153"/>
                </a:lnTo>
                <a:lnTo>
                  <a:pt x="39" y="10127"/>
                </a:lnTo>
                <a:lnTo>
                  <a:pt x="32" y="10100"/>
                </a:lnTo>
                <a:lnTo>
                  <a:pt x="25" y="10074"/>
                </a:lnTo>
                <a:lnTo>
                  <a:pt x="19" y="10047"/>
                </a:lnTo>
                <a:lnTo>
                  <a:pt x="14" y="10021"/>
                </a:lnTo>
                <a:lnTo>
                  <a:pt x="9" y="9994"/>
                </a:lnTo>
                <a:lnTo>
                  <a:pt x="6" y="9967"/>
                </a:lnTo>
                <a:lnTo>
                  <a:pt x="3" y="9940"/>
                </a:lnTo>
                <a:lnTo>
                  <a:pt x="1" y="9912"/>
                </a:lnTo>
                <a:lnTo>
                  <a:pt x="0" y="9885"/>
                </a:lnTo>
                <a:lnTo>
                  <a:pt x="0" y="9857"/>
                </a:lnTo>
                <a:lnTo>
                  <a:pt x="0" y="5509"/>
                </a:lnTo>
                <a:lnTo>
                  <a:pt x="1" y="5453"/>
                </a:lnTo>
                <a:lnTo>
                  <a:pt x="2" y="5398"/>
                </a:lnTo>
                <a:lnTo>
                  <a:pt x="5" y="5342"/>
                </a:lnTo>
                <a:lnTo>
                  <a:pt x="9" y="5288"/>
                </a:lnTo>
                <a:lnTo>
                  <a:pt x="15" y="5235"/>
                </a:lnTo>
                <a:lnTo>
                  <a:pt x="21" y="5182"/>
                </a:lnTo>
                <a:lnTo>
                  <a:pt x="28" y="5130"/>
                </a:lnTo>
                <a:lnTo>
                  <a:pt x="37" y="5079"/>
                </a:lnTo>
                <a:lnTo>
                  <a:pt x="47" y="5028"/>
                </a:lnTo>
                <a:lnTo>
                  <a:pt x="57" y="4978"/>
                </a:lnTo>
                <a:lnTo>
                  <a:pt x="70" y="4929"/>
                </a:lnTo>
                <a:lnTo>
                  <a:pt x="83" y="4880"/>
                </a:lnTo>
                <a:lnTo>
                  <a:pt x="97" y="4832"/>
                </a:lnTo>
                <a:lnTo>
                  <a:pt x="112" y="4785"/>
                </a:lnTo>
                <a:lnTo>
                  <a:pt x="129" y="4739"/>
                </a:lnTo>
                <a:lnTo>
                  <a:pt x="147" y="4693"/>
                </a:lnTo>
                <a:lnTo>
                  <a:pt x="166" y="4648"/>
                </a:lnTo>
                <a:lnTo>
                  <a:pt x="187" y="4604"/>
                </a:lnTo>
                <a:lnTo>
                  <a:pt x="208" y="4560"/>
                </a:lnTo>
                <a:lnTo>
                  <a:pt x="230" y="4518"/>
                </a:lnTo>
                <a:lnTo>
                  <a:pt x="255" y="4476"/>
                </a:lnTo>
                <a:lnTo>
                  <a:pt x="279" y="4435"/>
                </a:lnTo>
                <a:lnTo>
                  <a:pt x="306" y="4393"/>
                </a:lnTo>
                <a:lnTo>
                  <a:pt x="332" y="4354"/>
                </a:lnTo>
                <a:lnTo>
                  <a:pt x="361" y="4315"/>
                </a:lnTo>
                <a:lnTo>
                  <a:pt x="391" y="4275"/>
                </a:lnTo>
                <a:lnTo>
                  <a:pt x="421" y="4238"/>
                </a:lnTo>
                <a:lnTo>
                  <a:pt x="453" y="4201"/>
                </a:lnTo>
                <a:lnTo>
                  <a:pt x="486" y="4165"/>
                </a:lnTo>
                <a:lnTo>
                  <a:pt x="520" y="4129"/>
                </a:lnTo>
                <a:lnTo>
                  <a:pt x="556" y="4093"/>
                </a:lnTo>
                <a:lnTo>
                  <a:pt x="592" y="4059"/>
                </a:lnTo>
                <a:lnTo>
                  <a:pt x="629" y="4025"/>
                </a:lnTo>
                <a:lnTo>
                  <a:pt x="668" y="3994"/>
                </a:lnTo>
                <a:lnTo>
                  <a:pt x="707" y="3963"/>
                </a:lnTo>
                <a:lnTo>
                  <a:pt x="747" y="3933"/>
                </a:lnTo>
                <a:lnTo>
                  <a:pt x="789" y="3904"/>
                </a:lnTo>
                <a:lnTo>
                  <a:pt x="830" y="3876"/>
                </a:lnTo>
                <a:lnTo>
                  <a:pt x="873" y="3849"/>
                </a:lnTo>
                <a:lnTo>
                  <a:pt x="916" y="3823"/>
                </a:lnTo>
                <a:lnTo>
                  <a:pt x="961" y="3799"/>
                </a:lnTo>
                <a:lnTo>
                  <a:pt x="1005" y="3775"/>
                </a:lnTo>
                <a:lnTo>
                  <a:pt x="1052" y="3752"/>
                </a:lnTo>
                <a:lnTo>
                  <a:pt x="1099" y="3731"/>
                </a:lnTo>
                <a:lnTo>
                  <a:pt x="1146" y="3711"/>
                </a:lnTo>
                <a:lnTo>
                  <a:pt x="1194" y="3691"/>
                </a:lnTo>
                <a:lnTo>
                  <a:pt x="1244" y="3672"/>
                </a:lnTo>
                <a:lnTo>
                  <a:pt x="1294" y="3655"/>
                </a:lnTo>
                <a:lnTo>
                  <a:pt x="1345" y="3640"/>
                </a:lnTo>
                <a:lnTo>
                  <a:pt x="1397" y="3624"/>
                </a:lnTo>
                <a:lnTo>
                  <a:pt x="1450" y="3610"/>
                </a:lnTo>
                <a:lnTo>
                  <a:pt x="1503" y="3597"/>
                </a:lnTo>
                <a:lnTo>
                  <a:pt x="1558" y="3584"/>
                </a:lnTo>
                <a:lnTo>
                  <a:pt x="1614" y="3574"/>
                </a:lnTo>
                <a:lnTo>
                  <a:pt x="1670" y="3564"/>
                </a:lnTo>
                <a:lnTo>
                  <a:pt x="1726" y="3554"/>
                </a:lnTo>
                <a:lnTo>
                  <a:pt x="1785" y="3547"/>
                </a:lnTo>
                <a:lnTo>
                  <a:pt x="1843" y="3540"/>
                </a:lnTo>
                <a:lnTo>
                  <a:pt x="1902" y="3534"/>
                </a:lnTo>
                <a:lnTo>
                  <a:pt x="1963" y="3530"/>
                </a:lnTo>
                <a:lnTo>
                  <a:pt x="2024" y="3526"/>
                </a:lnTo>
                <a:lnTo>
                  <a:pt x="2086" y="3524"/>
                </a:lnTo>
                <a:lnTo>
                  <a:pt x="2149" y="3522"/>
                </a:lnTo>
                <a:lnTo>
                  <a:pt x="2212" y="3522"/>
                </a:lnTo>
                <a:lnTo>
                  <a:pt x="2218" y="3517"/>
                </a:lnTo>
                <a:lnTo>
                  <a:pt x="2224" y="3514"/>
                </a:lnTo>
                <a:lnTo>
                  <a:pt x="2230" y="3513"/>
                </a:lnTo>
                <a:lnTo>
                  <a:pt x="2237" y="3512"/>
                </a:lnTo>
                <a:lnTo>
                  <a:pt x="2243" y="3512"/>
                </a:lnTo>
                <a:lnTo>
                  <a:pt x="2251" y="3512"/>
                </a:lnTo>
                <a:lnTo>
                  <a:pt x="2261" y="3512"/>
                </a:lnTo>
                <a:lnTo>
                  <a:pt x="2274" y="3512"/>
                </a:lnTo>
                <a:lnTo>
                  <a:pt x="2312" y="3514"/>
                </a:lnTo>
                <a:lnTo>
                  <a:pt x="2353" y="3516"/>
                </a:lnTo>
                <a:lnTo>
                  <a:pt x="2393" y="3517"/>
                </a:lnTo>
                <a:lnTo>
                  <a:pt x="2435" y="3519"/>
                </a:lnTo>
                <a:lnTo>
                  <a:pt x="2479" y="3520"/>
                </a:lnTo>
                <a:lnTo>
                  <a:pt x="2522" y="3520"/>
                </a:lnTo>
                <a:lnTo>
                  <a:pt x="2568" y="3522"/>
                </a:lnTo>
                <a:lnTo>
                  <a:pt x="2615" y="3522"/>
                </a:lnTo>
                <a:lnTo>
                  <a:pt x="2616" y="3516"/>
                </a:lnTo>
                <a:lnTo>
                  <a:pt x="2617" y="3511"/>
                </a:lnTo>
                <a:lnTo>
                  <a:pt x="2620" y="3505"/>
                </a:lnTo>
                <a:lnTo>
                  <a:pt x="2623" y="3498"/>
                </a:lnTo>
                <a:lnTo>
                  <a:pt x="2634" y="3483"/>
                </a:lnTo>
                <a:lnTo>
                  <a:pt x="2649" y="3466"/>
                </a:lnTo>
                <a:lnTo>
                  <a:pt x="2663" y="3450"/>
                </a:lnTo>
                <a:lnTo>
                  <a:pt x="2674" y="3439"/>
                </a:lnTo>
                <a:lnTo>
                  <a:pt x="2678" y="3434"/>
                </a:lnTo>
                <a:lnTo>
                  <a:pt x="2683" y="3431"/>
                </a:lnTo>
                <a:lnTo>
                  <a:pt x="2686" y="3430"/>
                </a:lnTo>
                <a:lnTo>
                  <a:pt x="2688" y="3429"/>
                </a:lnTo>
                <a:lnTo>
                  <a:pt x="2651" y="3417"/>
                </a:lnTo>
                <a:lnTo>
                  <a:pt x="2614" y="3406"/>
                </a:lnTo>
                <a:lnTo>
                  <a:pt x="2578" y="3393"/>
                </a:lnTo>
                <a:lnTo>
                  <a:pt x="2542" y="3380"/>
                </a:lnTo>
                <a:lnTo>
                  <a:pt x="2506" y="3366"/>
                </a:lnTo>
                <a:lnTo>
                  <a:pt x="2471" y="3351"/>
                </a:lnTo>
                <a:lnTo>
                  <a:pt x="2436" y="3337"/>
                </a:lnTo>
                <a:lnTo>
                  <a:pt x="2402" y="3322"/>
                </a:lnTo>
                <a:lnTo>
                  <a:pt x="2368" y="3306"/>
                </a:lnTo>
                <a:lnTo>
                  <a:pt x="2336" y="3289"/>
                </a:lnTo>
                <a:lnTo>
                  <a:pt x="2303" y="3272"/>
                </a:lnTo>
                <a:lnTo>
                  <a:pt x="2271" y="3255"/>
                </a:lnTo>
                <a:lnTo>
                  <a:pt x="2239" y="3237"/>
                </a:lnTo>
                <a:lnTo>
                  <a:pt x="2208" y="3218"/>
                </a:lnTo>
                <a:lnTo>
                  <a:pt x="2177" y="3198"/>
                </a:lnTo>
                <a:lnTo>
                  <a:pt x="2147" y="3178"/>
                </a:lnTo>
                <a:lnTo>
                  <a:pt x="2117" y="3158"/>
                </a:lnTo>
                <a:lnTo>
                  <a:pt x="2087" y="3137"/>
                </a:lnTo>
                <a:lnTo>
                  <a:pt x="2058" y="3115"/>
                </a:lnTo>
                <a:lnTo>
                  <a:pt x="2030" y="3093"/>
                </a:lnTo>
                <a:lnTo>
                  <a:pt x="2002" y="3071"/>
                </a:lnTo>
                <a:lnTo>
                  <a:pt x="1975" y="3047"/>
                </a:lnTo>
                <a:lnTo>
                  <a:pt x="1948" y="3024"/>
                </a:lnTo>
                <a:lnTo>
                  <a:pt x="1921" y="3000"/>
                </a:lnTo>
                <a:lnTo>
                  <a:pt x="1895" y="2975"/>
                </a:lnTo>
                <a:lnTo>
                  <a:pt x="1869" y="2950"/>
                </a:lnTo>
                <a:lnTo>
                  <a:pt x="1844" y="2924"/>
                </a:lnTo>
                <a:lnTo>
                  <a:pt x="1820" y="2898"/>
                </a:lnTo>
                <a:lnTo>
                  <a:pt x="1795" y="2871"/>
                </a:lnTo>
                <a:lnTo>
                  <a:pt x="1771" y="2843"/>
                </a:lnTo>
                <a:lnTo>
                  <a:pt x="1747" y="2816"/>
                </a:lnTo>
                <a:lnTo>
                  <a:pt x="1725" y="2787"/>
                </a:lnTo>
                <a:lnTo>
                  <a:pt x="1703" y="2757"/>
                </a:lnTo>
                <a:lnTo>
                  <a:pt x="1682" y="2729"/>
                </a:lnTo>
                <a:lnTo>
                  <a:pt x="1660" y="2699"/>
                </a:lnTo>
                <a:lnTo>
                  <a:pt x="1640" y="2669"/>
                </a:lnTo>
                <a:lnTo>
                  <a:pt x="1621" y="2638"/>
                </a:lnTo>
                <a:lnTo>
                  <a:pt x="1603" y="2608"/>
                </a:lnTo>
                <a:lnTo>
                  <a:pt x="1585" y="2578"/>
                </a:lnTo>
                <a:lnTo>
                  <a:pt x="1568" y="2547"/>
                </a:lnTo>
                <a:lnTo>
                  <a:pt x="1551" y="2516"/>
                </a:lnTo>
                <a:lnTo>
                  <a:pt x="1535" y="2484"/>
                </a:lnTo>
                <a:lnTo>
                  <a:pt x="1520" y="2452"/>
                </a:lnTo>
                <a:lnTo>
                  <a:pt x="1506" y="2420"/>
                </a:lnTo>
                <a:lnTo>
                  <a:pt x="1493" y="2388"/>
                </a:lnTo>
                <a:lnTo>
                  <a:pt x="1479" y="2356"/>
                </a:lnTo>
                <a:lnTo>
                  <a:pt x="1467" y="2324"/>
                </a:lnTo>
                <a:lnTo>
                  <a:pt x="1455" y="2291"/>
                </a:lnTo>
                <a:lnTo>
                  <a:pt x="1445" y="2258"/>
                </a:lnTo>
                <a:lnTo>
                  <a:pt x="1434" y="2225"/>
                </a:lnTo>
                <a:lnTo>
                  <a:pt x="1425" y="2191"/>
                </a:lnTo>
                <a:lnTo>
                  <a:pt x="1416" y="2157"/>
                </a:lnTo>
                <a:lnTo>
                  <a:pt x="1408" y="2123"/>
                </a:lnTo>
                <a:lnTo>
                  <a:pt x="1400" y="2089"/>
                </a:lnTo>
                <a:lnTo>
                  <a:pt x="1394" y="2054"/>
                </a:lnTo>
                <a:lnTo>
                  <a:pt x="1389" y="2018"/>
                </a:lnTo>
                <a:lnTo>
                  <a:pt x="1383" y="1983"/>
                </a:lnTo>
                <a:lnTo>
                  <a:pt x="1378" y="1948"/>
                </a:lnTo>
                <a:lnTo>
                  <a:pt x="1375" y="1912"/>
                </a:lnTo>
                <a:lnTo>
                  <a:pt x="1372" y="1876"/>
                </a:lnTo>
                <a:lnTo>
                  <a:pt x="1368" y="1840"/>
                </a:lnTo>
                <a:lnTo>
                  <a:pt x="1367" y="1804"/>
                </a:lnTo>
                <a:lnTo>
                  <a:pt x="1366" y="1767"/>
                </a:lnTo>
                <a:lnTo>
                  <a:pt x="1365" y="1729"/>
                </a:lnTo>
                <a:lnTo>
                  <a:pt x="1366" y="1686"/>
                </a:lnTo>
                <a:lnTo>
                  <a:pt x="1367" y="1641"/>
                </a:lnTo>
                <a:lnTo>
                  <a:pt x="1370" y="1598"/>
                </a:lnTo>
                <a:lnTo>
                  <a:pt x="1374" y="1555"/>
                </a:lnTo>
                <a:lnTo>
                  <a:pt x="1378" y="1511"/>
                </a:lnTo>
                <a:lnTo>
                  <a:pt x="1383" y="1469"/>
                </a:lnTo>
                <a:lnTo>
                  <a:pt x="1390" y="1427"/>
                </a:lnTo>
                <a:lnTo>
                  <a:pt x="1397" y="1386"/>
                </a:lnTo>
                <a:lnTo>
                  <a:pt x="1405" y="1345"/>
                </a:lnTo>
                <a:lnTo>
                  <a:pt x="1415" y="1304"/>
                </a:lnTo>
                <a:lnTo>
                  <a:pt x="1426" y="1264"/>
                </a:lnTo>
                <a:lnTo>
                  <a:pt x="1437" y="1223"/>
                </a:lnTo>
                <a:lnTo>
                  <a:pt x="1449" y="1184"/>
                </a:lnTo>
                <a:lnTo>
                  <a:pt x="1463" y="1145"/>
                </a:lnTo>
                <a:lnTo>
                  <a:pt x="1477" y="1106"/>
                </a:lnTo>
                <a:lnTo>
                  <a:pt x="1493" y="1068"/>
                </a:lnTo>
                <a:lnTo>
                  <a:pt x="1508" y="1030"/>
                </a:lnTo>
                <a:lnTo>
                  <a:pt x="1527" y="993"/>
                </a:lnTo>
                <a:lnTo>
                  <a:pt x="1545" y="955"/>
                </a:lnTo>
                <a:lnTo>
                  <a:pt x="1564" y="919"/>
                </a:lnTo>
                <a:lnTo>
                  <a:pt x="1585" y="883"/>
                </a:lnTo>
                <a:lnTo>
                  <a:pt x="1606" y="847"/>
                </a:lnTo>
                <a:lnTo>
                  <a:pt x="1628" y="811"/>
                </a:lnTo>
                <a:lnTo>
                  <a:pt x="1652" y="776"/>
                </a:lnTo>
                <a:lnTo>
                  <a:pt x="1676" y="742"/>
                </a:lnTo>
                <a:lnTo>
                  <a:pt x="1702" y="708"/>
                </a:lnTo>
                <a:lnTo>
                  <a:pt x="1728" y="674"/>
                </a:lnTo>
                <a:lnTo>
                  <a:pt x="1756" y="640"/>
                </a:lnTo>
                <a:lnTo>
                  <a:pt x="1783" y="607"/>
                </a:lnTo>
                <a:lnTo>
                  <a:pt x="1813" y="574"/>
                </a:lnTo>
                <a:lnTo>
                  <a:pt x="1844" y="542"/>
                </a:lnTo>
                <a:lnTo>
                  <a:pt x="1875" y="510"/>
                </a:lnTo>
                <a:lnTo>
                  <a:pt x="1907" y="478"/>
                </a:lnTo>
                <a:lnTo>
                  <a:pt x="1940" y="448"/>
                </a:lnTo>
                <a:lnTo>
                  <a:pt x="1971" y="419"/>
                </a:lnTo>
                <a:lnTo>
                  <a:pt x="2005" y="390"/>
                </a:lnTo>
                <a:lnTo>
                  <a:pt x="2038" y="362"/>
                </a:lnTo>
                <a:lnTo>
                  <a:pt x="2072" y="336"/>
                </a:lnTo>
                <a:lnTo>
                  <a:pt x="2106" y="311"/>
                </a:lnTo>
                <a:lnTo>
                  <a:pt x="2141" y="287"/>
                </a:lnTo>
                <a:lnTo>
                  <a:pt x="2176" y="263"/>
                </a:lnTo>
                <a:lnTo>
                  <a:pt x="2211" y="240"/>
                </a:lnTo>
                <a:lnTo>
                  <a:pt x="2247" y="219"/>
                </a:lnTo>
                <a:lnTo>
                  <a:pt x="2284" y="199"/>
                </a:lnTo>
                <a:lnTo>
                  <a:pt x="2320" y="179"/>
                </a:lnTo>
                <a:lnTo>
                  <a:pt x="2357" y="160"/>
                </a:lnTo>
                <a:lnTo>
                  <a:pt x="2395" y="143"/>
                </a:lnTo>
                <a:lnTo>
                  <a:pt x="2432" y="127"/>
                </a:lnTo>
                <a:lnTo>
                  <a:pt x="2470" y="111"/>
                </a:lnTo>
                <a:lnTo>
                  <a:pt x="2510" y="98"/>
                </a:lnTo>
                <a:lnTo>
                  <a:pt x="2549" y="84"/>
                </a:lnTo>
                <a:lnTo>
                  <a:pt x="2588" y="71"/>
                </a:lnTo>
                <a:lnTo>
                  <a:pt x="2628" y="60"/>
                </a:lnTo>
                <a:lnTo>
                  <a:pt x="2668" y="50"/>
                </a:lnTo>
                <a:lnTo>
                  <a:pt x="2709" y="40"/>
                </a:lnTo>
                <a:lnTo>
                  <a:pt x="2750" y="32"/>
                </a:lnTo>
                <a:lnTo>
                  <a:pt x="2791" y="24"/>
                </a:lnTo>
                <a:lnTo>
                  <a:pt x="2833" y="18"/>
                </a:lnTo>
                <a:lnTo>
                  <a:pt x="2876" y="13"/>
                </a:lnTo>
                <a:lnTo>
                  <a:pt x="2918" y="7"/>
                </a:lnTo>
                <a:lnTo>
                  <a:pt x="2962" y="4"/>
                </a:lnTo>
                <a:lnTo>
                  <a:pt x="3005" y="2"/>
                </a:lnTo>
                <a:lnTo>
                  <a:pt x="3049" y="1"/>
                </a:lnTo>
                <a:lnTo>
                  <a:pt x="3094" y="0"/>
                </a:lnTo>
                <a:lnTo>
                  <a:pt x="3138" y="1"/>
                </a:lnTo>
                <a:lnTo>
                  <a:pt x="3183" y="2"/>
                </a:lnTo>
                <a:lnTo>
                  <a:pt x="3226" y="4"/>
                </a:lnTo>
                <a:lnTo>
                  <a:pt x="3270" y="7"/>
                </a:lnTo>
                <a:lnTo>
                  <a:pt x="3312" y="13"/>
                </a:lnTo>
                <a:lnTo>
                  <a:pt x="3356" y="18"/>
                </a:lnTo>
                <a:lnTo>
                  <a:pt x="3397" y="24"/>
                </a:lnTo>
                <a:lnTo>
                  <a:pt x="3440" y="32"/>
                </a:lnTo>
                <a:lnTo>
                  <a:pt x="3481" y="40"/>
                </a:lnTo>
                <a:lnTo>
                  <a:pt x="3521" y="50"/>
                </a:lnTo>
                <a:lnTo>
                  <a:pt x="3563" y="60"/>
                </a:lnTo>
                <a:lnTo>
                  <a:pt x="3602" y="71"/>
                </a:lnTo>
                <a:lnTo>
                  <a:pt x="3643" y="84"/>
                </a:lnTo>
                <a:lnTo>
                  <a:pt x="3682" y="98"/>
                </a:lnTo>
                <a:lnTo>
                  <a:pt x="3721" y="111"/>
                </a:lnTo>
                <a:lnTo>
                  <a:pt x="3759" y="127"/>
                </a:lnTo>
                <a:lnTo>
                  <a:pt x="3798" y="143"/>
                </a:lnTo>
                <a:lnTo>
                  <a:pt x="3835" y="160"/>
                </a:lnTo>
                <a:lnTo>
                  <a:pt x="3873" y="179"/>
                </a:lnTo>
                <a:lnTo>
                  <a:pt x="3909" y="199"/>
                </a:lnTo>
                <a:lnTo>
                  <a:pt x="3946" y="219"/>
                </a:lnTo>
                <a:lnTo>
                  <a:pt x="3982" y="240"/>
                </a:lnTo>
                <a:lnTo>
                  <a:pt x="4017" y="263"/>
                </a:lnTo>
                <a:lnTo>
                  <a:pt x="4053" y="287"/>
                </a:lnTo>
                <a:lnTo>
                  <a:pt x="4088" y="311"/>
                </a:lnTo>
                <a:lnTo>
                  <a:pt x="4122" y="336"/>
                </a:lnTo>
                <a:lnTo>
                  <a:pt x="4156" y="362"/>
                </a:lnTo>
                <a:lnTo>
                  <a:pt x="4190" y="390"/>
                </a:lnTo>
                <a:lnTo>
                  <a:pt x="4223" y="419"/>
                </a:lnTo>
                <a:lnTo>
                  <a:pt x="4256" y="448"/>
                </a:lnTo>
                <a:lnTo>
                  <a:pt x="4289" y="478"/>
                </a:lnTo>
                <a:lnTo>
                  <a:pt x="4321" y="510"/>
                </a:lnTo>
                <a:lnTo>
                  <a:pt x="4353" y="542"/>
                </a:lnTo>
                <a:lnTo>
                  <a:pt x="4383" y="574"/>
                </a:lnTo>
                <a:lnTo>
                  <a:pt x="4412" y="607"/>
                </a:lnTo>
                <a:lnTo>
                  <a:pt x="4440" y="640"/>
                </a:lnTo>
                <a:lnTo>
                  <a:pt x="4467" y="674"/>
                </a:lnTo>
                <a:lnTo>
                  <a:pt x="4493" y="708"/>
                </a:lnTo>
                <a:lnTo>
                  <a:pt x="4518" y="742"/>
                </a:lnTo>
                <a:lnTo>
                  <a:pt x="4543" y="776"/>
                </a:lnTo>
                <a:lnTo>
                  <a:pt x="4566" y="811"/>
                </a:lnTo>
                <a:lnTo>
                  <a:pt x="4588" y="847"/>
                </a:lnTo>
                <a:lnTo>
                  <a:pt x="4610" y="883"/>
                </a:lnTo>
                <a:lnTo>
                  <a:pt x="4630" y="919"/>
                </a:lnTo>
                <a:lnTo>
                  <a:pt x="4649" y="955"/>
                </a:lnTo>
                <a:lnTo>
                  <a:pt x="4667" y="993"/>
                </a:lnTo>
                <a:lnTo>
                  <a:pt x="4685" y="1030"/>
                </a:lnTo>
                <a:lnTo>
                  <a:pt x="4701" y="1068"/>
                </a:lnTo>
                <a:lnTo>
                  <a:pt x="4716" y="1106"/>
                </a:lnTo>
                <a:lnTo>
                  <a:pt x="4731" y="1145"/>
                </a:lnTo>
                <a:lnTo>
                  <a:pt x="4745" y="1184"/>
                </a:lnTo>
                <a:lnTo>
                  <a:pt x="4756" y="1223"/>
                </a:lnTo>
                <a:lnTo>
                  <a:pt x="4768" y="1264"/>
                </a:lnTo>
                <a:lnTo>
                  <a:pt x="4779" y="1304"/>
                </a:lnTo>
                <a:lnTo>
                  <a:pt x="4788" y="1345"/>
                </a:lnTo>
                <a:lnTo>
                  <a:pt x="4797" y="1386"/>
                </a:lnTo>
                <a:lnTo>
                  <a:pt x="4803" y="1427"/>
                </a:lnTo>
                <a:lnTo>
                  <a:pt x="4810" y="1469"/>
                </a:lnTo>
                <a:lnTo>
                  <a:pt x="4816" y="1511"/>
                </a:lnTo>
                <a:lnTo>
                  <a:pt x="4820" y="1555"/>
                </a:lnTo>
                <a:lnTo>
                  <a:pt x="4823" y="1598"/>
                </a:lnTo>
                <a:lnTo>
                  <a:pt x="4825" y="1641"/>
                </a:lnTo>
                <a:lnTo>
                  <a:pt x="4827" y="1686"/>
                </a:lnTo>
                <a:lnTo>
                  <a:pt x="4827" y="1729"/>
                </a:lnTo>
                <a:lnTo>
                  <a:pt x="4827" y="1768"/>
                </a:lnTo>
                <a:lnTo>
                  <a:pt x="4826" y="1806"/>
                </a:lnTo>
                <a:lnTo>
                  <a:pt x="4824" y="1843"/>
                </a:lnTo>
                <a:lnTo>
                  <a:pt x="4822" y="1880"/>
                </a:lnTo>
                <a:lnTo>
                  <a:pt x="4818" y="1917"/>
                </a:lnTo>
                <a:lnTo>
                  <a:pt x="4814" y="1954"/>
                </a:lnTo>
                <a:lnTo>
                  <a:pt x="4808" y="1990"/>
                </a:lnTo>
                <a:lnTo>
                  <a:pt x="4803" y="2027"/>
                </a:lnTo>
                <a:lnTo>
                  <a:pt x="4797" y="2062"/>
                </a:lnTo>
                <a:lnTo>
                  <a:pt x="4789" y="2098"/>
                </a:lnTo>
                <a:lnTo>
                  <a:pt x="4781" y="2134"/>
                </a:lnTo>
                <a:lnTo>
                  <a:pt x="4772" y="2169"/>
                </a:lnTo>
                <a:lnTo>
                  <a:pt x="4763" y="2204"/>
                </a:lnTo>
                <a:lnTo>
                  <a:pt x="4752" y="2240"/>
                </a:lnTo>
                <a:lnTo>
                  <a:pt x="4740" y="2274"/>
                </a:lnTo>
                <a:lnTo>
                  <a:pt x="4729" y="2308"/>
                </a:lnTo>
                <a:lnTo>
                  <a:pt x="4716" y="2342"/>
                </a:lnTo>
                <a:lnTo>
                  <a:pt x="4702" y="2376"/>
                </a:lnTo>
                <a:lnTo>
                  <a:pt x="4688" y="2410"/>
                </a:lnTo>
                <a:lnTo>
                  <a:pt x="4673" y="2443"/>
                </a:lnTo>
                <a:lnTo>
                  <a:pt x="4657" y="2476"/>
                </a:lnTo>
                <a:lnTo>
                  <a:pt x="4641" y="2508"/>
                </a:lnTo>
                <a:lnTo>
                  <a:pt x="4624" y="2541"/>
                </a:lnTo>
                <a:lnTo>
                  <a:pt x="4605" y="2573"/>
                </a:lnTo>
                <a:lnTo>
                  <a:pt x="4586" y="2606"/>
                </a:lnTo>
                <a:lnTo>
                  <a:pt x="4566" y="2638"/>
                </a:lnTo>
                <a:lnTo>
                  <a:pt x="4546" y="2669"/>
                </a:lnTo>
                <a:lnTo>
                  <a:pt x="4525" y="2701"/>
                </a:lnTo>
                <a:lnTo>
                  <a:pt x="4502" y="2732"/>
                </a:lnTo>
                <a:lnTo>
                  <a:pt x="4480" y="2763"/>
                </a:lnTo>
                <a:lnTo>
                  <a:pt x="4456" y="2793"/>
                </a:lnTo>
                <a:lnTo>
                  <a:pt x="4431" y="2824"/>
                </a:lnTo>
                <a:lnTo>
                  <a:pt x="4407" y="2853"/>
                </a:lnTo>
                <a:lnTo>
                  <a:pt x="4381" y="2883"/>
                </a:lnTo>
                <a:lnTo>
                  <a:pt x="4356" y="2910"/>
                </a:lnTo>
                <a:lnTo>
                  <a:pt x="4329" y="2938"/>
                </a:lnTo>
                <a:lnTo>
                  <a:pt x="4303" y="2965"/>
                </a:lnTo>
                <a:lnTo>
                  <a:pt x="4276" y="2991"/>
                </a:lnTo>
                <a:lnTo>
                  <a:pt x="4249" y="3017"/>
                </a:lnTo>
                <a:lnTo>
                  <a:pt x="4220" y="3041"/>
                </a:lnTo>
                <a:lnTo>
                  <a:pt x="4192" y="3066"/>
                </a:lnTo>
                <a:lnTo>
                  <a:pt x="4164" y="3089"/>
                </a:lnTo>
                <a:lnTo>
                  <a:pt x="4134" y="3112"/>
                </a:lnTo>
                <a:lnTo>
                  <a:pt x="4105" y="3134"/>
                </a:lnTo>
                <a:lnTo>
                  <a:pt x="4075" y="3155"/>
                </a:lnTo>
                <a:lnTo>
                  <a:pt x="4045" y="3176"/>
                </a:lnTo>
                <a:lnTo>
                  <a:pt x="4014" y="3196"/>
                </a:lnTo>
                <a:lnTo>
                  <a:pt x="3982" y="3215"/>
                </a:lnTo>
                <a:lnTo>
                  <a:pt x="3950" y="3233"/>
                </a:lnTo>
                <a:lnTo>
                  <a:pt x="3919" y="3252"/>
                </a:lnTo>
                <a:lnTo>
                  <a:pt x="3887" y="3269"/>
                </a:lnTo>
                <a:lnTo>
                  <a:pt x="3854" y="3286"/>
                </a:lnTo>
                <a:lnTo>
                  <a:pt x="3820" y="3301"/>
                </a:lnTo>
                <a:lnTo>
                  <a:pt x="3786" y="3316"/>
                </a:lnTo>
                <a:lnTo>
                  <a:pt x="3752" y="3331"/>
                </a:lnTo>
                <a:lnTo>
                  <a:pt x="3718" y="3344"/>
                </a:lnTo>
                <a:lnTo>
                  <a:pt x="3683" y="3358"/>
                </a:lnTo>
                <a:lnTo>
                  <a:pt x="3647" y="3370"/>
                </a:lnTo>
                <a:lnTo>
                  <a:pt x="3611" y="3381"/>
                </a:lnTo>
                <a:lnTo>
                  <a:pt x="3575" y="3393"/>
                </a:lnTo>
                <a:lnTo>
                  <a:pt x="3538" y="3402"/>
                </a:lnTo>
                <a:lnTo>
                  <a:pt x="3500" y="3412"/>
                </a:lnTo>
                <a:lnTo>
                  <a:pt x="3463" y="3421"/>
                </a:lnTo>
                <a:lnTo>
                  <a:pt x="3425" y="3429"/>
                </a:lnTo>
                <a:lnTo>
                  <a:pt x="3438" y="3443"/>
                </a:lnTo>
                <a:lnTo>
                  <a:pt x="3449" y="3456"/>
                </a:lnTo>
                <a:lnTo>
                  <a:pt x="3459" y="3468"/>
                </a:lnTo>
                <a:lnTo>
                  <a:pt x="3466" y="3480"/>
                </a:lnTo>
                <a:lnTo>
                  <a:pt x="3473" y="3491"/>
                </a:lnTo>
                <a:lnTo>
                  <a:pt x="3477" y="3501"/>
                </a:lnTo>
                <a:lnTo>
                  <a:pt x="3479" y="3512"/>
                </a:lnTo>
                <a:lnTo>
                  <a:pt x="3480" y="3522"/>
                </a:lnTo>
                <a:close/>
              </a:path>
            </a:pathLst>
          </a:custGeom>
          <a:solidFill>
            <a:schemeClr val="bg1">
              <a:lumMod val="75000"/>
            </a:schemeClr>
          </a:solidFill>
          <a:ln w="9525">
            <a:noFill/>
            <a:round/>
            <a:headEnd/>
            <a:tailEnd/>
          </a:ln>
        </p:spPr>
        <p:txBody>
          <a:bodyPr/>
          <a:lstStyle>
            <a:defPPr>
              <a:defRPr lang="en-US"/>
            </a:defPPr>
            <a:lvl1pPr marL="0" algn="l" defTabSz="1018824" rtl="0" eaLnBrk="1" latinLnBrk="0" hangingPunct="1">
              <a:defRPr sz="2000" kern="1200">
                <a:solidFill>
                  <a:schemeClr val="tx1"/>
                </a:solidFill>
                <a:latin typeface="+mn-lt"/>
                <a:ea typeface="+mn-ea"/>
                <a:cs typeface="+mn-cs"/>
              </a:defRPr>
            </a:lvl1pPr>
            <a:lvl2pPr marL="509412" algn="l" defTabSz="1018824" rtl="0" eaLnBrk="1" latinLnBrk="0" hangingPunct="1">
              <a:defRPr sz="2000" kern="1200">
                <a:solidFill>
                  <a:schemeClr val="tx1"/>
                </a:solidFill>
                <a:latin typeface="+mn-lt"/>
                <a:ea typeface="+mn-ea"/>
                <a:cs typeface="+mn-cs"/>
              </a:defRPr>
            </a:lvl2pPr>
            <a:lvl3pPr marL="1018824" algn="l" defTabSz="1018824" rtl="0" eaLnBrk="1" latinLnBrk="0" hangingPunct="1">
              <a:defRPr sz="2000" kern="1200">
                <a:solidFill>
                  <a:schemeClr val="tx1"/>
                </a:solidFill>
                <a:latin typeface="+mn-lt"/>
                <a:ea typeface="+mn-ea"/>
                <a:cs typeface="+mn-cs"/>
              </a:defRPr>
            </a:lvl3pPr>
            <a:lvl4pPr marL="1528237" algn="l" defTabSz="1018824" rtl="0" eaLnBrk="1" latinLnBrk="0" hangingPunct="1">
              <a:defRPr sz="2000" kern="1200">
                <a:solidFill>
                  <a:schemeClr val="tx1"/>
                </a:solidFill>
                <a:latin typeface="+mn-lt"/>
                <a:ea typeface="+mn-ea"/>
                <a:cs typeface="+mn-cs"/>
              </a:defRPr>
            </a:lvl4pPr>
            <a:lvl5pPr marL="2037649" algn="l" defTabSz="1018824" rtl="0" eaLnBrk="1" latinLnBrk="0" hangingPunct="1">
              <a:defRPr sz="2000" kern="1200">
                <a:solidFill>
                  <a:schemeClr val="tx1"/>
                </a:solidFill>
                <a:latin typeface="+mn-lt"/>
                <a:ea typeface="+mn-ea"/>
                <a:cs typeface="+mn-cs"/>
              </a:defRPr>
            </a:lvl5pPr>
            <a:lvl6pPr marL="2547061" algn="l" defTabSz="1018824" rtl="0" eaLnBrk="1" latinLnBrk="0" hangingPunct="1">
              <a:defRPr sz="2000" kern="1200">
                <a:solidFill>
                  <a:schemeClr val="tx1"/>
                </a:solidFill>
                <a:latin typeface="+mn-lt"/>
                <a:ea typeface="+mn-ea"/>
                <a:cs typeface="+mn-cs"/>
              </a:defRPr>
            </a:lvl6pPr>
            <a:lvl7pPr marL="3056473" algn="l" defTabSz="1018824" rtl="0" eaLnBrk="1" latinLnBrk="0" hangingPunct="1">
              <a:defRPr sz="2000" kern="1200">
                <a:solidFill>
                  <a:schemeClr val="tx1"/>
                </a:solidFill>
                <a:latin typeface="+mn-lt"/>
                <a:ea typeface="+mn-ea"/>
                <a:cs typeface="+mn-cs"/>
              </a:defRPr>
            </a:lvl7pPr>
            <a:lvl8pPr marL="3565886" algn="l" defTabSz="1018824" rtl="0" eaLnBrk="1" latinLnBrk="0" hangingPunct="1">
              <a:defRPr sz="2000" kern="1200">
                <a:solidFill>
                  <a:schemeClr val="tx1"/>
                </a:solidFill>
                <a:latin typeface="+mn-lt"/>
                <a:ea typeface="+mn-ea"/>
                <a:cs typeface="+mn-cs"/>
              </a:defRPr>
            </a:lvl8pPr>
            <a:lvl9pPr marL="4075298" algn="l" defTabSz="1018824" rtl="0" eaLnBrk="1" latinLnBrk="0" hangingPunct="1">
              <a:defRPr sz="2000" kern="1200">
                <a:solidFill>
                  <a:schemeClr val="tx1"/>
                </a:solidFill>
                <a:latin typeface="+mn-lt"/>
                <a:ea typeface="+mn-ea"/>
                <a:cs typeface="+mn-cs"/>
              </a:defRPr>
            </a:lvl9pPr>
          </a:lstStyle>
          <a:p>
            <a:pPr marL="0" marR="0" lvl="0" indent="0" algn="l" defTabSz="1018824" rtl="0" eaLnBrk="1" fontAlgn="auto" latinLnBrk="0" hangingPunct="1">
              <a:lnSpc>
                <a:spcPct val="100000"/>
              </a:lnSpc>
              <a:spcBef>
                <a:spcPts val="0"/>
              </a:spcBef>
              <a:spcAft>
                <a:spcPts val="0"/>
              </a:spcAft>
              <a:buClrTx/>
              <a:buSzTx/>
              <a:buFontTx/>
              <a:buNone/>
              <a:tabLst/>
              <a:defRPr/>
            </a:pPr>
            <a:endParaRPr kumimoji="0" lang="en-GB" sz="1589"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1" name="Freeform 16">
            <a:extLst>
              <a:ext uri="{FF2B5EF4-FFF2-40B4-BE49-F238E27FC236}">
                <a16:creationId xmlns:a16="http://schemas.microsoft.com/office/drawing/2014/main" id="{164F79C8-CFDE-44C7-8C02-4A08CCEF0F7F}"/>
              </a:ext>
            </a:extLst>
          </p:cNvPr>
          <p:cNvSpPr>
            <a:spLocks/>
          </p:cNvSpPr>
          <p:nvPr/>
        </p:nvSpPr>
        <p:spPr bwMode="auto">
          <a:xfrm>
            <a:off x="9633989" y="4319229"/>
            <a:ext cx="197037" cy="470851"/>
          </a:xfrm>
          <a:custGeom>
            <a:avLst/>
            <a:gdLst>
              <a:gd name="T0" fmla="*/ 13344091 w 6132"/>
              <a:gd name="T1" fmla="*/ 10441401 h 16980"/>
              <a:gd name="T2" fmla="*/ 14439013 w 6132"/>
              <a:gd name="T3" fmla="*/ 10808942 h 16980"/>
              <a:gd name="T4" fmla="*/ 15478309 w 6132"/>
              <a:gd name="T5" fmla="*/ 11467619 h 16980"/>
              <a:gd name="T6" fmla="*/ 16450295 w 6132"/>
              <a:gd name="T7" fmla="*/ 12408541 h 16980"/>
              <a:gd name="T8" fmla="*/ 17214401 w 6132"/>
              <a:gd name="T9" fmla="*/ 13481773 h 16980"/>
              <a:gd name="T10" fmla="*/ 17709159 w 6132"/>
              <a:gd name="T11" fmla="*/ 14605004 h 16980"/>
              <a:gd name="T12" fmla="*/ 17937493 w 6132"/>
              <a:gd name="T13" fmla="*/ 15789994 h 16980"/>
              <a:gd name="T14" fmla="*/ 17922884 w 6132"/>
              <a:gd name="T15" fmla="*/ 28795453 h 16980"/>
              <a:gd name="T16" fmla="*/ 17720901 w 6132"/>
              <a:gd name="T17" fmla="*/ 29724608 h 16980"/>
              <a:gd name="T18" fmla="*/ 17322724 w 6132"/>
              <a:gd name="T19" fmla="*/ 30571448 h 16980"/>
              <a:gd name="T20" fmla="*/ 16731329 w 6132"/>
              <a:gd name="T21" fmla="*/ 31344758 h 16980"/>
              <a:gd name="T22" fmla="*/ 15970146 w 6132"/>
              <a:gd name="T23" fmla="*/ 32000508 h 16980"/>
              <a:gd name="T24" fmla="*/ 15062602 w 6132"/>
              <a:gd name="T25" fmla="*/ 32509198 h 16980"/>
              <a:gd name="T26" fmla="*/ 14014483 w 6132"/>
              <a:gd name="T27" fmla="*/ 32867899 h 16980"/>
              <a:gd name="T28" fmla="*/ 4168927 w 6132"/>
              <a:gd name="T29" fmla="*/ 32935519 h 16980"/>
              <a:gd name="T30" fmla="*/ 3003722 w 6132"/>
              <a:gd name="T31" fmla="*/ 32515054 h 16980"/>
              <a:gd name="T32" fmla="*/ 2104943 w 6132"/>
              <a:gd name="T33" fmla="*/ 32053432 h 16980"/>
              <a:gd name="T34" fmla="*/ 1334994 w 6132"/>
              <a:gd name="T35" fmla="*/ 31503585 h 16980"/>
              <a:gd name="T36" fmla="*/ 723146 w 6132"/>
              <a:gd name="T37" fmla="*/ 30883136 h 16980"/>
              <a:gd name="T38" fmla="*/ 295697 w 6132"/>
              <a:gd name="T39" fmla="*/ 30230369 h 16980"/>
              <a:gd name="T40" fmla="*/ 55622 w 6132"/>
              <a:gd name="T41" fmla="*/ 29542302 h 16980"/>
              <a:gd name="T42" fmla="*/ 2922 w 6132"/>
              <a:gd name="T43" fmla="*/ 16034064 h 16980"/>
              <a:gd name="T44" fmla="*/ 166867 w 6132"/>
              <a:gd name="T45" fmla="*/ 14637376 h 16980"/>
              <a:gd name="T46" fmla="*/ 608925 w 6132"/>
              <a:gd name="T47" fmla="*/ 13408297 h 16980"/>
              <a:gd name="T48" fmla="*/ 1326228 w 6132"/>
              <a:gd name="T49" fmla="*/ 12352689 h 16980"/>
              <a:gd name="T50" fmla="*/ 2309902 w 6132"/>
              <a:gd name="T51" fmla="*/ 11479386 h 16980"/>
              <a:gd name="T52" fmla="*/ 3495559 w 6132"/>
              <a:gd name="T53" fmla="*/ 10853081 h 16980"/>
              <a:gd name="T54" fmla="*/ 4889097 w 6132"/>
              <a:gd name="T55" fmla="*/ 10479630 h 16980"/>
              <a:gd name="T56" fmla="*/ 6475906 w 6132"/>
              <a:gd name="T57" fmla="*/ 10356104 h 16980"/>
              <a:gd name="T58" fmla="*/ 6768627 w 6132"/>
              <a:gd name="T59" fmla="*/ 10332625 h 16980"/>
              <a:gd name="T60" fmla="*/ 7661564 w 6132"/>
              <a:gd name="T61" fmla="*/ 10323786 h 16980"/>
              <a:gd name="T62" fmla="*/ 7863602 w 6132"/>
              <a:gd name="T63" fmla="*/ 10085627 h 16980"/>
              <a:gd name="T64" fmla="*/ 7032131 w 6132"/>
              <a:gd name="T65" fmla="*/ 9768029 h 16980"/>
              <a:gd name="T66" fmla="*/ 6197794 w 6132"/>
              <a:gd name="T67" fmla="*/ 9285801 h 16980"/>
              <a:gd name="T68" fmla="*/ 5471726 w 6132"/>
              <a:gd name="T69" fmla="*/ 8674191 h 16980"/>
              <a:gd name="T70" fmla="*/ 4859825 w 6132"/>
              <a:gd name="T71" fmla="*/ 7936181 h 16980"/>
              <a:gd name="T72" fmla="*/ 4409002 w 6132"/>
              <a:gd name="T73" fmla="*/ 7115803 h 16980"/>
              <a:gd name="T74" fmla="*/ 4122070 w 6132"/>
              <a:gd name="T75" fmla="*/ 6242499 h 16980"/>
              <a:gd name="T76" fmla="*/ 4002059 w 6132"/>
              <a:gd name="T77" fmla="*/ 5304506 h 16980"/>
              <a:gd name="T78" fmla="*/ 4069369 w 6132"/>
              <a:gd name="T79" fmla="*/ 4195974 h 16980"/>
              <a:gd name="T80" fmla="*/ 4370910 w 6132"/>
              <a:gd name="T81" fmla="*/ 3140364 h 16980"/>
              <a:gd name="T82" fmla="*/ 4906682 w 6132"/>
              <a:gd name="T83" fmla="*/ 2181765 h 16980"/>
              <a:gd name="T84" fmla="*/ 5679553 w 6132"/>
              <a:gd name="T85" fmla="*/ 1317301 h 16980"/>
              <a:gd name="T86" fmla="*/ 6578332 w 6132"/>
              <a:gd name="T87" fmla="*/ 643928 h 16980"/>
              <a:gd name="T88" fmla="*/ 7576670 w 6132"/>
              <a:gd name="T89" fmla="*/ 208768 h 16980"/>
              <a:gd name="T90" fmla="*/ 8671588 w 6132"/>
              <a:gd name="T91" fmla="*/ 11767 h 16980"/>
              <a:gd name="T92" fmla="*/ 9825105 w 6132"/>
              <a:gd name="T93" fmla="*/ 52924 h 16980"/>
              <a:gd name="T94" fmla="*/ 10893673 w 6132"/>
              <a:gd name="T95" fmla="*/ 326384 h 16980"/>
              <a:gd name="T96" fmla="*/ 11865659 w 6132"/>
              <a:gd name="T97" fmla="*/ 843912 h 16980"/>
              <a:gd name="T98" fmla="*/ 12743931 w 6132"/>
              <a:gd name="T99" fmla="*/ 1593689 h 16980"/>
              <a:gd name="T100" fmla="*/ 13431908 w 6132"/>
              <a:gd name="T101" fmla="*/ 2490525 h 16980"/>
              <a:gd name="T102" fmla="*/ 13891551 w 6132"/>
              <a:gd name="T103" fmla="*/ 3481443 h 16980"/>
              <a:gd name="T104" fmla="*/ 14111119 w 6132"/>
              <a:gd name="T105" fmla="*/ 4572353 h 16980"/>
              <a:gd name="T106" fmla="*/ 14105275 w 6132"/>
              <a:gd name="T107" fmla="*/ 5636746 h 16980"/>
              <a:gd name="T108" fmla="*/ 13912057 w 6132"/>
              <a:gd name="T109" fmla="*/ 6586506 h 16980"/>
              <a:gd name="T110" fmla="*/ 13537309 w 6132"/>
              <a:gd name="T111" fmla="*/ 7471577 h 16980"/>
              <a:gd name="T112" fmla="*/ 12972265 w 6132"/>
              <a:gd name="T113" fmla="*/ 8303722 h 16980"/>
              <a:gd name="T114" fmla="*/ 12272601 w 6132"/>
              <a:gd name="T115" fmla="*/ 9015324 h 16980"/>
              <a:gd name="T116" fmla="*/ 11473326 w 6132"/>
              <a:gd name="T117" fmla="*/ 9562188 h 16980"/>
              <a:gd name="T118" fmla="*/ 10571626 w 6132"/>
              <a:gd name="T119" fmla="*/ 9941550 h 16980"/>
              <a:gd name="T120" fmla="*/ 10147098 w 6132"/>
              <a:gd name="T121" fmla="*/ 10232633 h 1698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6132"/>
              <a:gd name="T184" fmla="*/ 0 h 16980"/>
              <a:gd name="T185" fmla="*/ 6132 w 6132"/>
              <a:gd name="T186" fmla="*/ 16980 h 16980"/>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6132" h="16980">
                <a:moveTo>
                  <a:pt x="3480" y="3522"/>
                </a:moveTo>
                <a:lnTo>
                  <a:pt x="4254" y="3522"/>
                </a:lnTo>
                <a:lnTo>
                  <a:pt x="4298" y="3522"/>
                </a:lnTo>
                <a:lnTo>
                  <a:pt x="4342" y="3524"/>
                </a:lnTo>
                <a:lnTo>
                  <a:pt x="4386" y="3527"/>
                </a:lnTo>
                <a:lnTo>
                  <a:pt x="4429" y="3531"/>
                </a:lnTo>
                <a:lnTo>
                  <a:pt x="4473" y="3536"/>
                </a:lnTo>
                <a:lnTo>
                  <a:pt x="4515" y="3543"/>
                </a:lnTo>
                <a:lnTo>
                  <a:pt x="4558" y="3551"/>
                </a:lnTo>
                <a:lnTo>
                  <a:pt x="4601" y="3560"/>
                </a:lnTo>
                <a:lnTo>
                  <a:pt x="4643" y="3570"/>
                </a:lnTo>
                <a:lnTo>
                  <a:pt x="4685" y="3582"/>
                </a:lnTo>
                <a:lnTo>
                  <a:pt x="4727" y="3595"/>
                </a:lnTo>
                <a:lnTo>
                  <a:pt x="4769" y="3609"/>
                </a:lnTo>
                <a:lnTo>
                  <a:pt x="4809" y="3624"/>
                </a:lnTo>
                <a:lnTo>
                  <a:pt x="4851" y="3640"/>
                </a:lnTo>
                <a:lnTo>
                  <a:pt x="4892" y="3658"/>
                </a:lnTo>
                <a:lnTo>
                  <a:pt x="4932" y="3676"/>
                </a:lnTo>
                <a:lnTo>
                  <a:pt x="4973" y="3696"/>
                </a:lnTo>
                <a:lnTo>
                  <a:pt x="5013" y="3717"/>
                </a:lnTo>
                <a:lnTo>
                  <a:pt x="5052" y="3739"/>
                </a:lnTo>
                <a:lnTo>
                  <a:pt x="5093" y="3763"/>
                </a:lnTo>
                <a:lnTo>
                  <a:pt x="5132" y="3788"/>
                </a:lnTo>
                <a:lnTo>
                  <a:pt x="5171" y="3814"/>
                </a:lnTo>
                <a:lnTo>
                  <a:pt x="5210" y="3842"/>
                </a:lnTo>
                <a:lnTo>
                  <a:pt x="5249" y="3870"/>
                </a:lnTo>
                <a:lnTo>
                  <a:pt x="5287" y="3900"/>
                </a:lnTo>
                <a:lnTo>
                  <a:pt x="5325" y="3931"/>
                </a:lnTo>
                <a:lnTo>
                  <a:pt x="5364" y="3963"/>
                </a:lnTo>
                <a:lnTo>
                  <a:pt x="5401" y="3997"/>
                </a:lnTo>
                <a:lnTo>
                  <a:pt x="5438" y="4031"/>
                </a:lnTo>
                <a:lnTo>
                  <a:pt x="5475" y="4067"/>
                </a:lnTo>
                <a:lnTo>
                  <a:pt x="5512" y="4104"/>
                </a:lnTo>
                <a:lnTo>
                  <a:pt x="5549" y="4142"/>
                </a:lnTo>
                <a:lnTo>
                  <a:pt x="5584" y="4181"/>
                </a:lnTo>
                <a:lnTo>
                  <a:pt x="5619" y="4220"/>
                </a:lnTo>
                <a:lnTo>
                  <a:pt x="5652" y="4260"/>
                </a:lnTo>
                <a:lnTo>
                  <a:pt x="5685" y="4300"/>
                </a:lnTo>
                <a:lnTo>
                  <a:pt x="5716" y="4339"/>
                </a:lnTo>
                <a:lnTo>
                  <a:pt x="5747" y="4379"/>
                </a:lnTo>
                <a:lnTo>
                  <a:pt x="5775" y="4420"/>
                </a:lnTo>
                <a:lnTo>
                  <a:pt x="5803" y="4460"/>
                </a:lnTo>
                <a:lnTo>
                  <a:pt x="5830" y="4502"/>
                </a:lnTo>
                <a:lnTo>
                  <a:pt x="5855" y="4543"/>
                </a:lnTo>
                <a:lnTo>
                  <a:pt x="5880" y="4585"/>
                </a:lnTo>
                <a:lnTo>
                  <a:pt x="5904" y="4626"/>
                </a:lnTo>
                <a:lnTo>
                  <a:pt x="5925" y="4667"/>
                </a:lnTo>
                <a:lnTo>
                  <a:pt x="5946" y="4710"/>
                </a:lnTo>
                <a:lnTo>
                  <a:pt x="5967" y="4752"/>
                </a:lnTo>
                <a:lnTo>
                  <a:pt x="5986" y="4795"/>
                </a:lnTo>
                <a:lnTo>
                  <a:pt x="6004" y="4838"/>
                </a:lnTo>
                <a:lnTo>
                  <a:pt x="6020" y="4880"/>
                </a:lnTo>
                <a:lnTo>
                  <a:pt x="6036" y="4924"/>
                </a:lnTo>
                <a:lnTo>
                  <a:pt x="6049" y="4967"/>
                </a:lnTo>
                <a:lnTo>
                  <a:pt x="6063" y="5011"/>
                </a:lnTo>
                <a:lnTo>
                  <a:pt x="6075" y="5055"/>
                </a:lnTo>
                <a:lnTo>
                  <a:pt x="6085" y="5100"/>
                </a:lnTo>
                <a:lnTo>
                  <a:pt x="6095" y="5144"/>
                </a:lnTo>
                <a:lnTo>
                  <a:pt x="6104" y="5189"/>
                </a:lnTo>
                <a:lnTo>
                  <a:pt x="6111" y="5234"/>
                </a:lnTo>
                <a:lnTo>
                  <a:pt x="6117" y="5280"/>
                </a:lnTo>
                <a:lnTo>
                  <a:pt x="6123" y="5324"/>
                </a:lnTo>
                <a:lnTo>
                  <a:pt x="6127" y="5370"/>
                </a:lnTo>
                <a:lnTo>
                  <a:pt x="6130" y="5417"/>
                </a:lnTo>
                <a:lnTo>
                  <a:pt x="6131" y="5463"/>
                </a:lnTo>
                <a:lnTo>
                  <a:pt x="6132" y="5509"/>
                </a:lnTo>
                <a:lnTo>
                  <a:pt x="6132" y="9605"/>
                </a:lnTo>
                <a:lnTo>
                  <a:pt x="6132" y="9643"/>
                </a:lnTo>
                <a:lnTo>
                  <a:pt x="6130" y="9682"/>
                </a:lnTo>
                <a:lnTo>
                  <a:pt x="6129" y="9719"/>
                </a:lnTo>
                <a:lnTo>
                  <a:pt x="6126" y="9756"/>
                </a:lnTo>
                <a:lnTo>
                  <a:pt x="6122" y="9793"/>
                </a:lnTo>
                <a:lnTo>
                  <a:pt x="6117" y="9829"/>
                </a:lnTo>
                <a:lnTo>
                  <a:pt x="6112" y="9866"/>
                </a:lnTo>
                <a:lnTo>
                  <a:pt x="6107" y="9901"/>
                </a:lnTo>
                <a:lnTo>
                  <a:pt x="6099" y="9937"/>
                </a:lnTo>
                <a:lnTo>
                  <a:pt x="6092" y="9972"/>
                </a:lnTo>
                <a:lnTo>
                  <a:pt x="6083" y="10007"/>
                </a:lnTo>
                <a:lnTo>
                  <a:pt x="6074" y="10041"/>
                </a:lnTo>
                <a:lnTo>
                  <a:pt x="6063" y="10075"/>
                </a:lnTo>
                <a:lnTo>
                  <a:pt x="6053" y="10109"/>
                </a:lnTo>
                <a:lnTo>
                  <a:pt x="6041" y="10142"/>
                </a:lnTo>
                <a:lnTo>
                  <a:pt x="6028" y="10175"/>
                </a:lnTo>
                <a:lnTo>
                  <a:pt x="6014" y="10208"/>
                </a:lnTo>
                <a:lnTo>
                  <a:pt x="6001" y="10241"/>
                </a:lnTo>
                <a:lnTo>
                  <a:pt x="5986" y="10273"/>
                </a:lnTo>
                <a:lnTo>
                  <a:pt x="5970" y="10305"/>
                </a:lnTo>
                <a:lnTo>
                  <a:pt x="5953" y="10335"/>
                </a:lnTo>
                <a:lnTo>
                  <a:pt x="5935" y="10366"/>
                </a:lnTo>
                <a:lnTo>
                  <a:pt x="5917" y="10397"/>
                </a:lnTo>
                <a:lnTo>
                  <a:pt x="5898" y="10428"/>
                </a:lnTo>
                <a:lnTo>
                  <a:pt x="5877" y="10458"/>
                </a:lnTo>
                <a:lnTo>
                  <a:pt x="5857" y="10487"/>
                </a:lnTo>
                <a:lnTo>
                  <a:pt x="5835" y="10517"/>
                </a:lnTo>
                <a:lnTo>
                  <a:pt x="5813" y="10546"/>
                </a:lnTo>
                <a:lnTo>
                  <a:pt x="5789" y="10575"/>
                </a:lnTo>
                <a:lnTo>
                  <a:pt x="5766" y="10603"/>
                </a:lnTo>
                <a:lnTo>
                  <a:pt x="5740" y="10632"/>
                </a:lnTo>
                <a:lnTo>
                  <a:pt x="5715" y="10660"/>
                </a:lnTo>
                <a:lnTo>
                  <a:pt x="5688" y="10687"/>
                </a:lnTo>
                <a:lnTo>
                  <a:pt x="5661" y="10714"/>
                </a:lnTo>
                <a:lnTo>
                  <a:pt x="5633" y="10739"/>
                </a:lnTo>
                <a:lnTo>
                  <a:pt x="5606" y="10765"/>
                </a:lnTo>
                <a:lnTo>
                  <a:pt x="5576" y="10790"/>
                </a:lnTo>
                <a:lnTo>
                  <a:pt x="5546" y="10814"/>
                </a:lnTo>
                <a:lnTo>
                  <a:pt x="5516" y="10838"/>
                </a:lnTo>
                <a:lnTo>
                  <a:pt x="5486" y="10860"/>
                </a:lnTo>
                <a:lnTo>
                  <a:pt x="5455" y="10883"/>
                </a:lnTo>
                <a:lnTo>
                  <a:pt x="5422" y="10905"/>
                </a:lnTo>
                <a:lnTo>
                  <a:pt x="5390" y="10925"/>
                </a:lnTo>
                <a:lnTo>
                  <a:pt x="5357" y="10947"/>
                </a:lnTo>
                <a:lnTo>
                  <a:pt x="5323" y="10966"/>
                </a:lnTo>
                <a:lnTo>
                  <a:pt x="5288" y="10985"/>
                </a:lnTo>
                <a:lnTo>
                  <a:pt x="5253" y="11004"/>
                </a:lnTo>
                <a:lnTo>
                  <a:pt x="5218" y="11022"/>
                </a:lnTo>
                <a:lnTo>
                  <a:pt x="5182" y="11039"/>
                </a:lnTo>
                <a:lnTo>
                  <a:pt x="5145" y="11056"/>
                </a:lnTo>
                <a:lnTo>
                  <a:pt x="5108" y="11072"/>
                </a:lnTo>
                <a:lnTo>
                  <a:pt x="5069" y="11087"/>
                </a:lnTo>
                <a:lnTo>
                  <a:pt x="5031" y="11102"/>
                </a:lnTo>
                <a:lnTo>
                  <a:pt x="4992" y="11117"/>
                </a:lnTo>
                <a:lnTo>
                  <a:pt x="4952" y="11130"/>
                </a:lnTo>
                <a:lnTo>
                  <a:pt x="4911" y="11143"/>
                </a:lnTo>
                <a:lnTo>
                  <a:pt x="4871" y="11155"/>
                </a:lnTo>
                <a:lnTo>
                  <a:pt x="4828" y="11167"/>
                </a:lnTo>
                <a:lnTo>
                  <a:pt x="4787" y="11178"/>
                </a:lnTo>
                <a:lnTo>
                  <a:pt x="4743" y="11189"/>
                </a:lnTo>
                <a:lnTo>
                  <a:pt x="4701" y="11199"/>
                </a:lnTo>
                <a:lnTo>
                  <a:pt x="4656" y="11208"/>
                </a:lnTo>
                <a:lnTo>
                  <a:pt x="4612" y="11217"/>
                </a:lnTo>
                <a:lnTo>
                  <a:pt x="4567" y="11225"/>
                </a:lnTo>
                <a:lnTo>
                  <a:pt x="4567" y="16980"/>
                </a:lnTo>
                <a:lnTo>
                  <a:pt x="1510" y="16980"/>
                </a:lnTo>
                <a:lnTo>
                  <a:pt x="1510" y="11225"/>
                </a:lnTo>
                <a:lnTo>
                  <a:pt x="1424" y="11201"/>
                </a:lnTo>
                <a:lnTo>
                  <a:pt x="1340" y="11175"/>
                </a:lnTo>
                <a:lnTo>
                  <a:pt x="1298" y="11161"/>
                </a:lnTo>
                <a:lnTo>
                  <a:pt x="1258" y="11148"/>
                </a:lnTo>
                <a:lnTo>
                  <a:pt x="1218" y="11134"/>
                </a:lnTo>
                <a:lnTo>
                  <a:pt x="1178" y="11120"/>
                </a:lnTo>
                <a:lnTo>
                  <a:pt x="1139" y="11105"/>
                </a:lnTo>
                <a:lnTo>
                  <a:pt x="1101" y="11089"/>
                </a:lnTo>
                <a:lnTo>
                  <a:pt x="1064" y="11074"/>
                </a:lnTo>
                <a:lnTo>
                  <a:pt x="1026" y="11058"/>
                </a:lnTo>
                <a:lnTo>
                  <a:pt x="990" y="11042"/>
                </a:lnTo>
                <a:lnTo>
                  <a:pt x="954" y="11025"/>
                </a:lnTo>
                <a:lnTo>
                  <a:pt x="918" y="11009"/>
                </a:lnTo>
                <a:lnTo>
                  <a:pt x="884" y="10991"/>
                </a:lnTo>
                <a:lnTo>
                  <a:pt x="849" y="10974"/>
                </a:lnTo>
                <a:lnTo>
                  <a:pt x="816" y="10956"/>
                </a:lnTo>
                <a:lnTo>
                  <a:pt x="782" y="10938"/>
                </a:lnTo>
                <a:lnTo>
                  <a:pt x="750" y="10920"/>
                </a:lnTo>
                <a:lnTo>
                  <a:pt x="719" y="10901"/>
                </a:lnTo>
                <a:lnTo>
                  <a:pt x="687" y="10882"/>
                </a:lnTo>
                <a:lnTo>
                  <a:pt x="656" y="10862"/>
                </a:lnTo>
                <a:lnTo>
                  <a:pt x="626" y="10841"/>
                </a:lnTo>
                <a:lnTo>
                  <a:pt x="596" y="10821"/>
                </a:lnTo>
                <a:lnTo>
                  <a:pt x="567" y="10801"/>
                </a:lnTo>
                <a:lnTo>
                  <a:pt x="539" y="10780"/>
                </a:lnTo>
                <a:lnTo>
                  <a:pt x="510" y="10758"/>
                </a:lnTo>
                <a:lnTo>
                  <a:pt x="484" y="10736"/>
                </a:lnTo>
                <a:lnTo>
                  <a:pt x="456" y="10714"/>
                </a:lnTo>
                <a:lnTo>
                  <a:pt x="431" y="10691"/>
                </a:lnTo>
                <a:lnTo>
                  <a:pt x="405" y="10668"/>
                </a:lnTo>
                <a:lnTo>
                  <a:pt x="380" y="10646"/>
                </a:lnTo>
                <a:lnTo>
                  <a:pt x="355" y="10622"/>
                </a:lnTo>
                <a:lnTo>
                  <a:pt x="332" y="10599"/>
                </a:lnTo>
                <a:lnTo>
                  <a:pt x="310" y="10576"/>
                </a:lnTo>
                <a:lnTo>
                  <a:pt x="289" y="10551"/>
                </a:lnTo>
                <a:lnTo>
                  <a:pt x="267" y="10528"/>
                </a:lnTo>
                <a:lnTo>
                  <a:pt x="247" y="10503"/>
                </a:lnTo>
                <a:lnTo>
                  <a:pt x="228" y="10480"/>
                </a:lnTo>
                <a:lnTo>
                  <a:pt x="209" y="10455"/>
                </a:lnTo>
                <a:lnTo>
                  <a:pt x="191" y="10431"/>
                </a:lnTo>
                <a:lnTo>
                  <a:pt x="174" y="10407"/>
                </a:lnTo>
                <a:lnTo>
                  <a:pt x="158" y="10382"/>
                </a:lnTo>
                <a:lnTo>
                  <a:pt x="142" y="10357"/>
                </a:lnTo>
                <a:lnTo>
                  <a:pt x="128" y="10332"/>
                </a:lnTo>
                <a:lnTo>
                  <a:pt x="114" y="10307"/>
                </a:lnTo>
                <a:lnTo>
                  <a:pt x="101" y="10281"/>
                </a:lnTo>
                <a:lnTo>
                  <a:pt x="89" y="10256"/>
                </a:lnTo>
                <a:lnTo>
                  <a:pt x="77" y="10230"/>
                </a:lnTo>
                <a:lnTo>
                  <a:pt x="67" y="10205"/>
                </a:lnTo>
                <a:lnTo>
                  <a:pt x="57" y="10179"/>
                </a:lnTo>
                <a:lnTo>
                  <a:pt x="48" y="10153"/>
                </a:lnTo>
                <a:lnTo>
                  <a:pt x="39" y="10127"/>
                </a:lnTo>
                <a:lnTo>
                  <a:pt x="32" y="10100"/>
                </a:lnTo>
                <a:lnTo>
                  <a:pt x="25" y="10074"/>
                </a:lnTo>
                <a:lnTo>
                  <a:pt x="19" y="10047"/>
                </a:lnTo>
                <a:lnTo>
                  <a:pt x="14" y="10021"/>
                </a:lnTo>
                <a:lnTo>
                  <a:pt x="9" y="9994"/>
                </a:lnTo>
                <a:lnTo>
                  <a:pt x="6" y="9967"/>
                </a:lnTo>
                <a:lnTo>
                  <a:pt x="3" y="9940"/>
                </a:lnTo>
                <a:lnTo>
                  <a:pt x="1" y="9912"/>
                </a:lnTo>
                <a:lnTo>
                  <a:pt x="0" y="9885"/>
                </a:lnTo>
                <a:lnTo>
                  <a:pt x="0" y="9857"/>
                </a:lnTo>
                <a:lnTo>
                  <a:pt x="0" y="5509"/>
                </a:lnTo>
                <a:lnTo>
                  <a:pt x="1" y="5453"/>
                </a:lnTo>
                <a:lnTo>
                  <a:pt x="2" y="5398"/>
                </a:lnTo>
                <a:lnTo>
                  <a:pt x="5" y="5342"/>
                </a:lnTo>
                <a:lnTo>
                  <a:pt x="9" y="5288"/>
                </a:lnTo>
                <a:lnTo>
                  <a:pt x="15" y="5235"/>
                </a:lnTo>
                <a:lnTo>
                  <a:pt x="21" y="5182"/>
                </a:lnTo>
                <a:lnTo>
                  <a:pt x="28" y="5130"/>
                </a:lnTo>
                <a:lnTo>
                  <a:pt x="37" y="5079"/>
                </a:lnTo>
                <a:lnTo>
                  <a:pt x="47" y="5028"/>
                </a:lnTo>
                <a:lnTo>
                  <a:pt x="57" y="4978"/>
                </a:lnTo>
                <a:lnTo>
                  <a:pt x="70" y="4929"/>
                </a:lnTo>
                <a:lnTo>
                  <a:pt x="83" y="4880"/>
                </a:lnTo>
                <a:lnTo>
                  <a:pt x="97" y="4832"/>
                </a:lnTo>
                <a:lnTo>
                  <a:pt x="112" y="4785"/>
                </a:lnTo>
                <a:lnTo>
                  <a:pt x="129" y="4739"/>
                </a:lnTo>
                <a:lnTo>
                  <a:pt x="147" y="4693"/>
                </a:lnTo>
                <a:lnTo>
                  <a:pt x="166" y="4648"/>
                </a:lnTo>
                <a:lnTo>
                  <a:pt x="187" y="4604"/>
                </a:lnTo>
                <a:lnTo>
                  <a:pt x="208" y="4560"/>
                </a:lnTo>
                <a:lnTo>
                  <a:pt x="230" y="4518"/>
                </a:lnTo>
                <a:lnTo>
                  <a:pt x="255" y="4476"/>
                </a:lnTo>
                <a:lnTo>
                  <a:pt x="279" y="4435"/>
                </a:lnTo>
                <a:lnTo>
                  <a:pt x="306" y="4393"/>
                </a:lnTo>
                <a:lnTo>
                  <a:pt x="332" y="4354"/>
                </a:lnTo>
                <a:lnTo>
                  <a:pt x="361" y="4315"/>
                </a:lnTo>
                <a:lnTo>
                  <a:pt x="391" y="4275"/>
                </a:lnTo>
                <a:lnTo>
                  <a:pt x="421" y="4238"/>
                </a:lnTo>
                <a:lnTo>
                  <a:pt x="453" y="4201"/>
                </a:lnTo>
                <a:lnTo>
                  <a:pt x="486" y="4165"/>
                </a:lnTo>
                <a:lnTo>
                  <a:pt x="520" y="4129"/>
                </a:lnTo>
                <a:lnTo>
                  <a:pt x="556" y="4093"/>
                </a:lnTo>
                <a:lnTo>
                  <a:pt x="592" y="4059"/>
                </a:lnTo>
                <a:lnTo>
                  <a:pt x="629" y="4025"/>
                </a:lnTo>
                <a:lnTo>
                  <a:pt x="668" y="3994"/>
                </a:lnTo>
                <a:lnTo>
                  <a:pt x="707" y="3963"/>
                </a:lnTo>
                <a:lnTo>
                  <a:pt x="747" y="3933"/>
                </a:lnTo>
                <a:lnTo>
                  <a:pt x="789" y="3904"/>
                </a:lnTo>
                <a:lnTo>
                  <a:pt x="830" y="3876"/>
                </a:lnTo>
                <a:lnTo>
                  <a:pt x="873" y="3849"/>
                </a:lnTo>
                <a:lnTo>
                  <a:pt x="916" y="3823"/>
                </a:lnTo>
                <a:lnTo>
                  <a:pt x="961" y="3799"/>
                </a:lnTo>
                <a:lnTo>
                  <a:pt x="1005" y="3775"/>
                </a:lnTo>
                <a:lnTo>
                  <a:pt x="1052" y="3752"/>
                </a:lnTo>
                <a:lnTo>
                  <a:pt x="1099" y="3731"/>
                </a:lnTo>
                <a:lnTo>
                  <a:pt x="1146" y="3711"/>
                </a:lnTo>
                <a:lnTo>
                  <a:pt x="1194" y="3691"/>
                </a:lnTo>
                <a:lnTo>
                  <a:pt x="1244" y="3672"/>
                </a:lnTo>
                <a:lnTo>
                  <a:pt x="1294" y="3655"/>
                </a:lnTo>
                <a:lnTo>
                  <a:pt x="1345" y="3640"/>
                </a:lnTo>
                <a:lnTo>
                  <a:pt x="1397" y="3624"/>
                </a:lnTo>
                <a:lnTo>
                  <a:pt x="1450" y="3610"/>
                </a:lnTo>
                <a:lnTo>
                  <a:pt x="1503" y="3597"/>
                </a:lnTo>
                <a:lnTo>
                  <a:pt x="1558" y="3584"/>
                </a:lnTo>
                <a:lnTo>
                  <a:pt x="1614" y="3574"/>
                </a:lnTo>
                <a:lnTo>
                  <a:pt x="1670" y="3564"/>
                </a:lnTo>
                <a:lnTo>
                  <a:pt x="1726" y="3554"/>
                </a:lnTo>
                <a:lnTo>
                  <a:pt x="1785" y="3547"/>
                </a:lnTo>
                <a:lnTo>
                  <a:pt x="1843" y="3540"/>
                </a:lnTo>
                <a:lnTo>
                  <a:pt x="1902" y="3534"/>
                </a:lnTo>
                <a:lnTo>
                  <a:pt x="1963" y="3530"/>
                </a:lnTo>
                <a:lnTo>
                  <a:pt x="2024" y="3526"/>
                </a:lnTo>
                <a:lnTo>
                  <a:pt x="2086" y="3524"/>
                </a:lnTo>
                <a:lnTo>
                  <a:pt x="2149" y="3522"/>
                </a:lnTo>
                <a:lnTo>
                  <a:pt x="2212" y="3522"/>
                </a:lnTo>
                <a:lnTo>
                  <a:pt x="2218" y="3517"/>
                </a:lnTo>
                <a:lnTo>
                  <a:pt x="2224" y="3514"/>
                </a:lnTo>
                <a:lnTo>
                  <a:pt x="2230" y="3513"/>
                </a:lnTo>
                <a:lnTo>
                  <a:pt x="2237" y="3512"/>
                </a:lnTo>
                <a:lnTo>
                  <a:pt x="2243" y="3512"/>
                </a:lnTo>
                <a:lnTo>
                  <a:pt x="2251" y="3512"/>
                </a:lnTo>
                <a:lnTo>
                  <a:pt x="2261" y="3512"/>
                </a:lnTo>
                <a:lnTo>
                  <a:pt x="2274" y="3512"/>
                </a:lnTo>
                <a:lnTo>
                  <a:pt x="2312" y="3514"/>
                </a:lnTo>
                <a:lnTo>
                  <a:pt x="2353" y="3516"/>
                </a:lnTo>
                <a:lnTo>
                  <a:pt x="2393" y="3517"/>
                </a:lnTo>
                <a:lnTo>
                  <a:pt x="2435" y="3519"/>
                </a:lnTo>
                <a:lnTo>
                  <a:pt x="2479" y="3520"/>
                </a:lnTo>
                <a:lnTo>
                  <a:pt x="2522" y="3520"/>
                </a:lnTo>
                <a:lnTo>
                  <a:pt x="2568" y="3522"/>
                </a:lnTo>
                <a:lnTo>
                  <a:pt x="2615" y="3522"/>
                </a:lnTo>
                <a:lnTo>
                  <a:pt x="2616" y="3516"/>
                </a:lnTo>
                <a:lnTo>
                  <a:pt x="2617" y="3511"/>
                </a:lnTo>
                <a:lnTo>
                  <a:pt x="2620" y="3505"/>
                </a:lnTo>
                <a:lnTo>
                  <a:pt x="2623" y="3498"/>
                </a:lnTo>
                <a:lnTo>
                  <a:pt x="2634" y="3483"/>
                </a:lnTo>
                <a:lnTo>
                  <a:pt x="2649" y="3466"/>
                </a:lnTo>
                <a:lnTo>
                  <a:pt x="2663" y="3450"/>
                </a:lnTo>
                <a:lnTo>
                  <a:pt x="2674" y="3439"/>
                </a:lnTo>
                <a:lnTo>
                  <a:pt x="2678" y="3434"/>
                </a:lnTo>
                <a:lnTo>
                  <a:pt x="2683" y="3431"/>
                </a:lnTo>
                <a:lnTo>
                  <a:pt x="2686" y="3430"/>
                </a:lnTo>
                <a:lnTo>
                  <a:pt x="2688" y="3429"/>
                </a:lnTo>
                <a:lnTo>
                  <a:pt x="2651" y="3417"/>
                </a:lnTo>
                <a:lnTo>
                  <a:pt x="2614" y="3406"/>
                </a:lnTo>
                <a:lnTo>
                  <a:pt x="2578" y="3393"/>
                </a:lnTo>
                <a:lnTo>
                  <a:pt x="2542" y="3380"/>
                </a:lnTo>
                <a:lnTo>
                  <a:pt x="2506" y="3366"/>
                </a:lnTo>
                <a:lnTo>
                  <a:pt x="2471" y="3351"/>
                </a:lnTo>
                <a:lnTo>
                  <a:pt x="2436" y="3337"/>
                </a:lnTo>
                <a:lnTo>
                  <a:pt x="2402" y="3322"/>
                </a:lnTo>
                <a:lnTo>
                  <a:pt x="2368" y="3306"/>
                </a:lnTo>
                <a:lnTo>
                  <a:pt x="2336" y="3289"/>
                </a:lnTo>
                <a:lnTo>
                  <a:pt x="2303" y="3272"/>
                </a:lnTo>
                <a:lnTo>
                  <a:pt x="2271" y="3255"/>
                </a:lnTo>
                <a:lnTo>
                  <a:pt x="2239" y="3237"/>
                </a:lnTo>
                <a:lnTo>
                  <a:pt x="2208" y="3218"/>
                </a:lnTo>
                <a:lnTo>
                  <a:pt x="2177" y="3198"/>
                </a:lnTo>
                <a:lnTo>
                  <a:pt x="2147" y="3178"/>
                </a:lnTo>
                <a:lnTo>
                  <a:pt x="2117" y="3158"/>
                </a:lnTo>
                <a:lnTo>
                  <a:pt x="2087" y="3137"/>
                </a:lnTo>
                <a:lnTo>
                  <a:pt x="2058" y="3115"/>
                </a:lnTo>
                <a:lnTo>
                  <a:pt x="2030" y="3093"/>
                </a:lnTo>
                <a:lnTo>
                  <a:pt x="2002" y="3071"/>
                </a:lnTo>
                <a:lnTo>
                  <a:pt x="1975" y="3047"/>
                </a:lnTo>
                <a:lnTo>
                  <a:pt x="1948" y="3024"/>
                </a:lnTo>
                <a:lnTo>
                  <a:pt x="1921" y="3000"/>
                </a:lnTo>
                <a:lnTo>
                  <a:pt x="1895" y="2975"/>
                </a:lnTo>
                <a:lnTo>
                  <a:pt x="1869" y="2950"/>
                </a:lnTo>
                <a:lnTo>
                  <a:pt x="1844" y="2924"/>
                </a:lnTo>
                <a:lnTo>
                  <a:pt x="1820" y="2898"/>
                </a:lnTo>
                <a:lnTo>
                  <a:pt x="1795" y="2871"/>
                </a:lnTo>
                <a:lnTo>
                  <a:pt x="1771" y="2843"/>
                </a:lnTo>
                <a:lnTo>
                  <a:pt x="1747" y="2816"/>
                </a:lnTo>
                <a:lnTo>
                  <a:pt x="1725" y="2787"/>
                </a:lnTo>
                <a:lnTo>
                  <a:pt x="1703" y="2757"/>
                </a:lnTo>
                <a:lnTo>
                  <a:pt x="1682" y="2729"/>
                </a:lnTo>
                <a:lnTo>
                  <a:pt x="1660" y="2699"/>
                </a:lnTo>
                <a:lnTo>
                  <a:pt x="1640" y="2669"/>
                </a:lnTo>
                <a:lnTo>
                  <a:pt x="1621" y="2638"/>
                </a:lnTo>
                <a:lnTo>
                  <a:pt x="1603" y="2608"/>
                </a:lnTo>
                <a:lnTo>
                  <a:pt x="1585" y="2578"/>
                </a:lnTo>
                <a:lnTo>
                  <a:pt x="1568" y="2547"/>
                </a:lnTo>
                <a:lnTo>
                  <a:pt x="1551" y="2516"/>
                </a:lnTo>
                <a:lnTo>
                  <a:pt x="1535" y="2484"/>
                </a:lnTo>
                <a:lnTo>
                  <a:pt x="1520" y="2452"/>
                </a:lnTo>
                <a:lnTo>
                  <a:pt x="1506" y="2420"/>
                </a:lnTo>
                <a:lnTo>
                  <a:pt x="1493" y="2388"/>
                </a:lnTo>
                <a:lnTo>
                  <a:pt x="1479" y="2356"/>
                </a:lnTo>
                <a:lnTo>
                  <a:pt x="1467" y="2324"/>
                </a:lnTo>
                <a:lnTo>
                  <a:pt x="1455" y="2291"/>
                </a:lnTo>
                <a:lnTo>
                  <a:pt x="1445" y="2258"/>
                </a:lnTo>
                <a:lnTo>
                  <a:pt x="1434" y="2225"/>
                </a:lnTo>
                <a:lnTo>
                  <a:pt x="1425" y="2191"/>
                </a:lnTo>
                <a:lnTo>
                  <a:pt x="1416" y="2157"/>
                </a:lnTo>
                <a:lnTo>
                  <a:pt x="1408" y="2123"/>
                </a:lnTo>
                <a:lnTo>
                  <a:pt x="1400" y="2089"/>
                </a:lnTo>
                <a:lnTo>
                  <a:pt x="1394" y="2054"/>
                </a:lnTo>
                <a:lnTo>
                  <a:pt x="1389" y="2018"/>
                </a:lnTo>
                <a:lnTo>
                  <a:pt x="1383" y="1983"/>
                </a:lnTo>
                <a:lnTo>
                  <a:pt x="1378" y="1948"/>
                </a:lnTo>
                <a:lnTo>
                  <a:pt x="1375" y="1912"/>
                </a:lnTo>
                <a:lnTo>
                  <a:pt x="1372" y="1876"/>
                </a:lnTo>
                <a:lnTo>
                  <a:pt x="1368" y="1840"/>
                </a:lnTo>
                <a:lnTo>
                  <a:pt x="1367" y="1804"/>
                </a:lnTo>
                <a:lnTo>
                  <a:pt x="1366" y="1767"/>
                </a:lnTo>
                <a:lnTo>
                  <a:pt x="1365" y="1729"/>
                </a:lnTo>
                <a:lnTo>
                  <a:pt x="1366" y="1686"/>
                </a:lnTo>
                <a:lnTo>
                  <a:pt x="1367" y="1641"/>
                </a:lnTo>
                <a:lnTo>
                  <a:pt x="1370" y="1598"/>
                </a:lnTo>
                <a:lnTo>
                  <a:pt x="1374" y="1555"/>
                </a:lnTo>
                <a:lnTo>
                  <a:pt x="1378" y="1511"/>
                </a:lnTo>
                <a:lnTo>
                  <a:pt x="1383" y="1469"/>
                </a:lnTo>
                <a:lnTo>
                  <a:pt x="1390" y="1427"/>
                </a:lnTo>
                <a:lnTo>
                  <a:pt x="1397" y="1386"/>
                </a:lnTo>
                <a:lnTo>
                  <a:pt x="1405" y="1345"/>
                </a:lnTo>
                <a:lnTo>
                  <a:pt x="1415" y="1304"/>
                </a:lnTo>
                <a:lnTo>
                  <a:pt x="1426" y="1264"/>
                </a:lnTo>
                <a:lnTo>
                  <a:pt x="1437" y="1223"/>
                </a:lnTo>
                <a:lnTo>
                  <a:pt x="1449" y="1184"/>
                </a:lnTo>
                <a:lnTo>
                  <a:pt x="1463" y="1145"/>
                </a:lnTo>
                <a:lnTo>
                  <a:pt x="1477" y="1106"/>
                </a:lnTo>
                <a:lnTo>
                  <a:pt x="1493" y="1068"/>
                </a:lnTo>
                <a:lnTo>
                  <a:pt x="1508" y="1030"/>
                </a:lnTo>
                <a:lnTo>
                  <a:pt x="1527" y="993"/>
                </a:lnTo>
                <a:lnTo>
                  <a:pt x="1545" y="955"/>
                </a:lnTo>
                <a:lnTo>
                  <a:pt x="1564" y="919"/>
                </a:lnTo>
                <a:lnTo>
                  <a:pt x="1585" y="883"/>
                </a:lnTo>
                <a:lnTo>
                  <a:pt x="1606" y="847"/>
                </a:lnTo>
                <a:lnTo>
                  <a:pt x="1628" y="811"/>
                </a:lnTo>
                <a:lnTo>
                  <a:pt x="1652" y="776"/>
                </a:lnTo>
                <a:lnTo>
                  <a:pt x="1676" y="742"/>
                </a:lnTo>
                <a:lnTo>
                  <a:pt x="1702" y="708"/>
                </a:lnTo>
                <a:lnTo>
                  <a:pt x="1728" y="674"/>
                </a:lnTo>
                <a:lnTo>
                  <a:pt x="1756" y="640"/>
                </a:lnTo>
                <a:lnTo>
                  <a:pt x="1783" y="607"/>
                </a:lnTo>
                <a:lnTo>
                  <a:pt x="1813" y="574"/>
                </a:lnTo>
                <a:lnTo>
                  <a:pt x="1844" y="542"/>
                </a:lnTo>
                <a:lnTo>
                  <a:pt x="1875" y="510"/>
                </a:lnTo>
                <a:lnTo>
                  <a:pt x="1907" y="478"/>
                </a:lnTo>
                <a:lnTo>
                  <a:pt x="1940" y="448"/>
                </a:lnTo>
                <a:lnTo>
                  <a:pt x="1971" y="419"/>
                </a:lnTo>
                <a:lnTo>
                  <a:pt x="2005" y="390"/>
                </a:lnTo>
                <a:lnTo>
                  <a:pt x="2038" y="362"/>
                </a:lnTo>
                <a:lnTo>
                  <a:pt x="2072" y="336"/>
                </a:lnTo>
                <a:lnTo>
                  <a:pt x="2106" y="311"/>
                </a:lnTo>
                <a:lnTo>
                  <a:pt x="2141" y="287"/>
                </a:lnTo>
                <a:lnTo>
                  <a:pt x="2176" y="263"/>
                </a:lnTo>
                <a:lnTo>
                  <a:pt x="2211" y="240"/>
                </a:lnTo>
                <a:lnTo>
                  <a:pt x="2247" y="219"/>
                </a:lnTo>
                <a:lnTo>
                  <a:pt x="2284" y="199"/>
                </a:lnTo>
                <a:lnTo>
                  <a:pt x="2320" y="179"/>
                </a:lnTo>
                <a:lnTo>
                  <a:pt x="2357" y="160"/>
                </a:lnTo>
                <a:lnTo>
                  <a:pt x="2395" y="143"/>
                </a:lnTo>
                <a:lnTo>
                  <a:pt x="2432" y="127"/>
                </a:lnTo>
                <a:lnTo>
                  <a:pt x="2470" y="111"/>
                </a:lnTo>
                <a:lnTo>
                  <a:pt x="2510" y="98"/>
                </a:lnTo>
                <a:lnTo>
                  <a:pt x="2549" y="84"/>
                </a:lnTo>
                <a:lnTo>
                  <a:pt x="2588" y="71"/>
                </a:lnTo>
                <a:lnTo>
                  <a:pt x="2628" y="60"/>
                </a:lnTo>
                <a:lnTo>
                  <a:pt x="2668" y="50"/>
                </a:lnTo>
                <a:lnTo>
                  <a:pt x="2709" y="40"/>
                </a:lnTo>
                <a:lnTo>
                  <a:pt x="2750" y="32"/>
                </a:lnTo>
                <a:lnTo>
                  <a:pt x="2791" y="24"/>
                </a:lnTo>
                <a:lnTo>
                  <a:pt x="2833" y="18"/>
                </a:lnTo>
                <a:lnTo>
                  <a:pt x="2876" y="13"/>
                </a:lnTo>
                <a:lnTo>
                  <a:pt x="2918" y="7"/>
                </a:lnTo>
                <a:lnTo>
                  <a:pt x="2962" y="4"/>
                </a:lnTo>
                <a:lnTo>
                  <a:pt x="3005" y="2"/>
                </a:lnTo>
                <a:lnTo>
                  <a:pt x="3049" y="1"/>
                </a:lnTo>
                <a:lnTo>
                  <a:pt x="3094" y="0"/>
                </a:lnTo>
                <a:lnTo>
                  <a:pt x="3138" y="1"/>
                </a:lnTo>
                <a:lnTo>
                  <a:pt x="3183" y="2"/>
                </a:lnTo>
                <a:lnTo>
                  <a:pt x="3226" y="4"/>
                </a:lnTo>
                <a:lnTo>
                  <a:pt x="3270" y="7"/>
                </a:lnTo>
                <a:lnTo>
                  <a:pt x="3312" y="13"/>
                </a:lnTo>
                <a:lnTo>
                  <a:pt x="3356" y="18"/>
                </a:lnTo>
                <a:lnTo>
                  <a:pt x="3397" y="24"/>
                </a:lnTo>
                <a:lnTo>
                  <a:pt x="3440" y="32"/>
                </a:lnTo>
                <a:lnTo>
                  <a:pt x="3481" y="40"/>
                </a:lnTo>
                <a:lnTo>
                  <a:pt x="3521" y="50"/>
                </a:lnTo>
                <a:lnTo>
                  <a:pt x="3563" y="60"/>
                </a:lnTo>
                <a:lnTo>
                  <a:pt x="3602" y="71"/>
                </a:lnTo>
                <a:lnTo>
                  <a:pt x="3643" y="84"/>
                </a:lnTo>
                <a:lnTo>
                  <a:pt x="3682" y="98"/>
                </a:lnTo>
                <a:lnTo>
                  <a:pt x="3721" y="111"/>
                </a:lnTo>
                <a:lnTo>
                  <a:pt x="3759" y="127"/>
                </a:lnTo>
                <a:lnTo>
                  <a:pt x="3798" y="143"/>
                </a:lnTo>
                <a:lnTo>
                  <a:pt x="3835" y="160"/>
                </a:lnTo>
                <a:lnTo>
                  <a:pt x="3873" y="179"/>
                </a:lnTo>
                <a:lnTo>
                  <a:pt x="3909" y="199"/>
                </a:lnTo>
                <a:lnTo>
                  <a:pt x="3946" y="219"/>
                </a:lnTo>
                <a:lnTo>
                  <a:pt x="3982" y="240"/>
                </a:lnTo>
                <a:lnTo>
                  <a:pt x="4017" y="263"/>
                </a:lnTo>
                <a:lnTo>
                  <a:pt x="4053" y="287"/>
                </a:lnTo>
                <a:lnTo>
                  <a:pt x="4088" y="311"/>
                </a:lnTo>
                <a:lnTo>
                  <a:pt x="4122" y="336"/>
                </a:lnTo>
                <a:lnTo>
                  <a:pt x="4156" y="362"/>
                </a:lnTo>
                <a:lnTo>
                  <a:pt x="4190" y="390"/>
                </a:lnTo>
                <a:lnTo>
                  <a:pt x="4223" y="419"/>
                </a:lnTo>
                <a:lnTo>
                  <a:pt x="4256" y="448"/>
                </a:lnTo>
                <a:lnTo>
                  <a:pt x="4289" y="478"/>
                </a:lnTo>
                <a:lnTo>
                  <a:pt x="4321" y="510"/>
                </a:lnTo>
                <a:lnTo>
                  <a:pt x="4353" y="542"/>
                </a:lnTo>
                <a:lnTo>
                  <a:pt x="4383" y="574"/>
                </a:lnTo>
                <a:lnTo>
                  <a:pt x="4412" y="607"/>
                </a:lnTo>
                <a:lnTo>
                  <a:pt x="4440" y="640"/>
                </a:lnTo>
                <a:lnTo>
                  <a:pt x="4467" y="674"/>
                </a:lnTo>
                <a:lnTo>
                  <a:pt x="4493" y="708"/>
                </a:lnTo>
                <a:lnTo>
                  <a:pt x="4518" y="742"/>
                </a:lnTo>
                <a:lnTo>
                  <a:pt x="4543" y="776"/>
                </a:lnTo>
                <a:lnTo>
                  <a:pt x="4566" y="811"/>
                </a:lnTo>
                <a:lnTo>
                  <a:pt x="4588" y="847"/>
                </a:lnTo>
                <a:lnTo>
                  <a:pt x="4610" y="883"/>
                </a:lnTo>
                <a:lnTo>
                  <a:pt x="4630" y="919"/>
                </a:lnTo>
                <a:lnTo>
                  <a:pt x="4649" y="955"/>
                </a:lnTo>
                <a:lnTo>
                  <a:pt x="4667" y="993"/>
                </a:lnTo>
                <a:lnTo>
                  <a:pt x="4685" y="1030"/>
                </a:lnTo>
                <a:lnTo>
                  <a:pt x="4701" y="1068"/>
                </a:lnTo>
                <a:lnTo>
                  <a:pt x="4716" y="1106"/>
                </a:lnTo>
                <a:lnTo>
                  <a:pt x="4731" y="1145"/>
                </a:lnTo>
                <a:lnTo>
                  <a:pt x="4745" y="1184"/>
                </a:lnTo>
                <a:lnTo>
                  <a:pt x="4756" y="1223"/>
                </a:lnTo>
                <a:lnTo>
                  <a:pt x="4768" y="1264"/>
                </a:lnTo>
                <a:lnTo>
                  <a:pt x="4779" y="1304"/>
                </a:lnTo>
                <a:lnTo>
                  <a:pt x="4788" y="1345"/>
                </a:lnTo>
                <a:lnTo>
                  <a:pt x="4797" y="1386"/>
                </a:lnTo>
                <a:lnTo>
                  <a:pt x="4803" y="1427"/>
                </a:lnTo>
                <a:lnTo>
                  <a:pt x="4810" y="1469"/>
                </a:lnTo>
                <a:lnTo>
                  <a:pt x="4816" y="1511"/>
                </a:lnTo>
                <a:lnTo>
                  <a:pt x="4820" y="1555"/>
                </a:lnTo>
                <a:lnTo>
                  <a:pt x="4823" y="1598"/>
                </a:lnTo>
                <a:lnTo>
                  <a:pt x="4825" y="1641"/>
                </a:lnTo>
                <a:lnTo>
                  <a:pt x="4827" y="1686"/>
                </a:lnTo>
                <a:lnTo>
                  <a:pt x="4827" y="1729"/>
                </a:lnTo>
                <a:lnTo>
                  <a:pt x="4827" y="1768"/>
                </a:lnTo>
                <a:lnTo>
                  <a:pt x="4826" y="1806"/>
                </a:lnTo>
                <a:lnTo>
                  <a:pt x="4824" y="1843"/>
                </a:lnTo>
                <a:lnTo>
                  <a:pt x="4822" y="1880"/>
                </a:lnTo>
                <a:lnTo>
                  <a:pt x="4818" y="1917"/>
                </a:lnTo>
                <a:lnTo>
                  <a:pt x="4814" y="1954"/>
                </a:lnTo>
                <a:lnTo>
                  <a:pt x="4808" y="1990"/>
                </a:lnTo>
                <a:lnTo>
                  <a:pt x="4803" y="2027"/>
                </a:lnTo>
                <a:lnTo>
                  <a:pt x="4797" y="2062"/>
                </a:lnTo>
                <a:lnTo>
                  <a:pt x="4789" y="2098"/>
                </a:lnTo>
                <a:lnTo>
                  <a:pt x="4781" y="2134"/>
                </a:lnTo>
                <a:lnTo>
                  <a:pt x="4772" y="2169"/>
                </a:lnTo>
                <a:lnTo>
                  <a:pt x="4763" y="2204"/>
                </a:lnTo>
                <a:lnTo>
                  <a:pt x="4752" y="2240"/>
                </a:lnTo>
                <a:lnTo>
                  <a:pt x="4740" y="2274"/>
                </a:lnTo>
                <a:lnTo>
                  <a:pt x="4729" y="2308"/>
                </a:lnTo>
                <a:lnTo>
                  <a:pt x="4716" y="2342"/>
                </a:lnTo>
                <a:lnTo>
                  <a:pt x="4702" y="2376"/>
                </a:lnTo>
                <a:lnTo>
                  <a:pt x="4688" y="2410"/>
                </a:lnTo>
                <a:lnTo>
                  <a:pt x="4673" y="2443"/>
                </a:lnTo>
                <a:lnTo>
                  <a:pt x="4657" y="2476"/>
                </a:lnTo>
                <a:lnTo>
                  <a:pt x="4641" y="2508"/>
                </a:lnTo>
                <a:lnTo>
                  <a:pt x="4624" y="2541"/>
                </a:lnTo>
                <a:lnTo>
                  <a:pt x="4605" y="2573"/>
                </a:lnTo>
                <a:lnTo>
                  <a:pt x="4586" y="2606"/>
                </a:lnTo>
                <a:lnTo>
                  <a:pt x="4566" y="2638"/>
                </a:lnTo>
                <a:lnTo>
                  <a:pt x="4546" y="2669"/>
                </a:lnTo>
                <a:lnTo>
                  <a:pt x="4525" y="2701"/>
                </a:lnTo>
                <a:lnTo>
                  <a:pt x="4502" y="2732"/>
                </a:lnTo>
                <a:lnTo>
                  <a:pt x="4480" y="2763"/>
                </a:lnTo>
                <a:lnTo>
                  <a:pt x="4456" y="2793"/>
                </a:lnTo>
                <a:lnTo>
                  <a:pt x="4431" y="2824"/>
                </a:lnTo>
                <a:lnTo>
                  <a:pt x="4407" y="2853"/>
                </a:lnTo>
                <a:lnTo>
                  <a:pt x="4381" y="2883"/>
                </a:lnTo>
                <a:lnTo>
                  <a:pt x="4356" y="2910"/>
                </a:lnTo>
                <a:lnTo>
                  <a:pt x="4329" y="2938"/>
                </a:lnTo>
                <a:lnTo>
                  <a:pt x="4303" y="2965"/>
                </a:lnTo>
                <a:lnTo>
                  <a:pt x="4276" y="2991"/>
                </a:lnTo>
                <a:lnTo>
                  <a:pt x="4249" y="3017"/>
                </a:lnTo>
                <a:lnTo>
                  <a:pt x="4220" y="3041"/>
                </a:lnTo>
                <a:lnTo>
                  <a:pt x="4192" y="3066"/>
                </a:lnTo>
                <a:lnTo>
                  <a:pt x="4164" y="3089"/>
                </a:lnTo>
                <a:lnTo>
                  <a:pt x="4134" y="3112"/>
                </a:lnTo>
                <a:lnTo>
                  <a:pt x="4105" y="3134"/>
                </a:lnTo>
                <a:lnTo>
                  <a:pt x="4075" y="3155"/>
                </a:lnTo>
                <a:lnTo>
                  <a:pt x="4045" y="3176"/>
                </a:lnTo>
                <a:lnTo>
                  <a:pt x="4014" y="3196"/>
                </a:lnTo>
                <a:lnTo>
                  <a:pt x="3982" y="3215"/>
                </a:lnTo>
                <a:lnTo>
                  <a:pt x="3950" y="3233"/>
                </a:lnTo>
                <a:lnTo>
                  <a:pt x="3919" y="3252"/>
                </a:lnTo>
                <a:lnTo>
                  <a:pt x="3887" y="3269"/>
                </a:lnTo>
                <a:lnTo>
                  <a:pt x="3854" y="3286"/>
                </a:lnTo>
                <a:lnTo>
                  <a:pt x="3820" y="3301"/>
                </a:lnTo>
                <a:lnTo>
                  <a:pt x="3786" y="3316"/>
                </a:lnTo>
                <a:lnTo>
                  <a:pt x="3752" y="3331"/>
                </a:lnTo>
                <a:lnTo>
                  <a:pt x="3718" y="3344"/>
                </a:lnTo>
                <a:lnTo>
                  <a:pt x="3683" y="3358"/>
                </a:lnTo>
                <a:lnTo>
                  <a:pt x="3647" y="3370"/>
                </a:lnTo>
                <a:lnTo>
                  <a:pt x="3611" y="3381"/>
                </a:lnTo>
                <a:lnTo>
                  <a:pt x="3575" y="3393"/>
                </a:lnTo>
                <a:lnTo>
                  <a:pt x="3538" y="3402"/>
                </a:lnTo>
                <a:lnTo>
                  <a:pt x="3500" y="3412"/>
                </a:lnTo>
                <a:lnTo>
                  <a:pt x="3463" y="3421"/>
                </a:lnTo>
                <a:lnTo>
                  <a:pt x="3425" y="3429"/>
                </a:lnTo>
                <a:lnTo>
                  <a:pt x="3438" y="3443"/>
                </a:lnTo>
                <a:lnTo>
                  <a:pt x="3449" y="3456"/>
                </a:lnTo>
                <a:lnTo>
                  <a:pt x="3459" y="3468"/>
                </a:lnTo>
                <a:lnTo>
                  <a:pt x="3466" y="3480"/>
                </a:lnTo>
                <a:lnTo>
                  <a:pt x="3473" y="3491"/>
                </a:lnTo>
                <a:lnTo>
                  <a:pt x="3477" y="3501"/>
                </a:lnTo>
                <a:lnTo>
                  <a:pt x="3479" y="3512"/>
                </a:lnTo>
                <a:lnTo>
                  <a:pt x="3480" y="3522"/>
                </a:lnTo>
                <a:close/>
              </a:path>
            </a:pathLst>
          </a:custGeom>
          <a:solidFill>
            <a:schemeClr val="bg1">
              <a:lumMod val="75000"/>
            </a:schemeClr>
          </a:solidFill>
          <a:ln w="9525">
            <a:noFill/>
            <a:round/>
            <a:headEnd/>
            <a:tailEnd/>
          </a:ln>
        </p:spPr>
        <p:txBody>
          <a:bodyPr/>
          <a:lstStyle>
            <a:defPPr>
              <a:defRPr lang="en-US"/>
            </a:defPPr>
            <a:lvl1pPr marL="0" algn="l" defTabSz="1018824" rtl="0" eaLnBrk="1" latinLnBrk="0" hangingPunct="1">
              <a:defRPr sz="2000" kern="1200">
                <a:solidFill>
                  <a:schemeClr val="tx1"/>
                </a:solidFill>
                <a:latin typeface="+mn-lt"/>
                <a:ea typeface="+mn-ea"/>
                <a:cs typeface="+mn-cs"/>
              </a:defRPr>
            </a:lvl1pPr>
            <a:lvl2pPr marL="509412" algn="l" defTabSz="1018824" rtl="0" eaLnBrk="1" latinLnBrk="0" hangingPunct="1">
              <a:defRPr sz="2000" kern="1200">
                <a:solidFill>
                  <a:schemeClr val="tx1"/>
                </a:solidFill>
                <a:latin typeface="+mn-lt"/>
                <a:ea typeface="+mn-ea"/>
                <a:cs typeface="+mn-cs"/>
              </a:defRPr>
            </a:lvl2pPr>
            <a:lvl3pPr marL="1018824" algn="l" defTabSz="1018824" rtl="0" eaLnBrk="1" latinLnBrk="0" hangingPunct="1">
              <a:defRPr sz="2000" kern="1200">
                <a:solidFill>
                  <a:schemeClr val="tx1"/>
                </a:solidFill>
                <a:latin typeface="+mn-lt"/>
                <a:ea typeface="+mn-ea"/>
                <a:cs typeface="+mn-cs"/>
              </a:defRPr>
            </a:lvl3pPr>
            <a:lvl4pPr marL="1528237" algn="l" defTabSz="1018824" rtl="0" eaLnBrk="1" latinLnBrk="0" hangingPunct="1">
              <a:defRPr sz="2000" kern="1200">
                <a:solidFill>
                  <a:schemeClr val="tx1"/>
                </a:solidFill>
                <a:latin typeface="+mn-lt"/>
                <a:ea typeface="+mn-ea"/>
                <a:cs typeface="+mn-cs"/>
              </a:defRPr>
            </a:lvl4pPr>
            <a:lvl5pPr marL="2037649" algn="l" defTabSz="1018824" rtl="0" eaLnBrk="1" latinLnBrk="0" hangingPunct="1">
              <a:defRPr sz="2000" kern="1200">
                <a:solidFill>
                  <a:schemeClr val="tx1"/>
                </a:solidFill>
                <a:latin typeface="+mn-lt"/>
                <a:ea typeface="+mn-ea"/>
                <a:cs typeface="+mn-cs"/>
              </a:defRPr>
            </a:lvl5pPr>
            <a:lvl6pPr marL="2547061" algn="l" defTabSz="1018824" rtl="0" eaLnBrk="1" latinLnBrk="0" hangingPunct="1">
              <a:defRPr sz="2000" kern="1200">
                <a:solidFill>
                  <a:schemeClr val="tx1"/>
                </a:solidFill>
                <a:latin typeface="+mn-lt"/>
                <a:ea typeface="+mn-ea"/>
                <a:cs typeface="+mn-cs"/>
              </a:defRPr>
            </a:lvl6pPr>
            <a:lvl7pPr marL="3056473" algn="l" defTabSz="1018824" rtl="0" eaLnBrk="1" latinLnBrk="0" hangingPunct="1">
              <a:defRPr sz="2000" kern="1200">
                <a:solidFill>
                  <a:schemeClr val="tx1"/>
                </a:solidFill>
                <a:latin typeface="+mn-lt"/>
                <a:ea typeface="+mn-ea"/>
                <a:cs typeface="+mn-cs"/>
              </a:defRPr>
            </a:lvl7pPr>
            <a:lvl8pPr marL="3565886" algn="l" defTabSz="1018824" rtl="0" eaLnBrk="1" latinLnBrk="0" hangingPunct="1">
              <a:defRPr sz="2000" kern="1200">
                <a:solidFill>
                  <a:schemeClr val="tx1"/>
                </a:solidFill>
                <a:latin typeface="+mn-lt"/>
                <a:ea typeface="+mn-ea"/>
                <a:cs typeface="+mn-cs"/>
              </a:defRPr>
            </a:lvl8pPr>
            <a:lvl9pPr marL="4075298" algn="l" defTabSz="1018824" rtl="0" eaLnBrk="1" latinLnBrk="0" hangingPunct="1">
              <a:defRPr sz="2000" kern="1200">
                <a:solidFill>
                  <a:schemeClr val="tx1"/>
                </a:solidFill>
                <a:latin typeface="+mn-lt"/>
                <a:ea typeface="+mn-ea"/>
                <a:cs typeface="+mn-cs"/>
              </a:defRPr>
            </a:lvl9pPr>
          </a:lstStyle>
          <a:p>
            <a:pPr marL="0" marR="0" lvl="0" indent="0" algn="l" defTabSz="1018824" rtl="0" eaLnBrk="1" fontAlgn="auto" latinLnBrk="0" hangingPunct="1">
              <a:lnSpc>
                <a:spcPct val="100000"/>
              </a:lnSpc>
              <a:spcBef>
                <a:spcPts val="0"/>
              </a:spcBef>
              <a:spcAft>
                <a:spcPts val="0"/>
              </a:spcAft>
              <a:buClrTx/>
              <a:buSzTx/>
              <a:buFontTx/>
              <a:buNone/>
              <a:tabLst/>
              <a:defRPr/>
            </a:pPr>
            <a:endParaRPr kumimoji="0" lang="en-GB" sz="1589"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2" name="Freeform 13">
            <a:extLst>
              <a:ext uri="{FF2B5EF4-FFF2-40B4-BE49-F238E27FC236}">
                <a16:creationId xmlns:a16="http://schemas.microsoft.com/office/drawing/2014/main" id="{FEED7181-1397-4DB4-8F10-AABC861AFC4C}"/>
              </a:ext>
            </a:extLst>
          </p:cNvPr>
          <p:cNvSpPr>
            <a:spLocks/>
          </p:cNvSpPr>
          <p:nvPr/>
        </p:nvSpPr>
        <p:spPr bwMode="auto">
          <a:xfrm>
            <a:off x="8643027" y="4857075"/>
            <a:ext cx="197037" cy="470851"/>
          </a:xfrm>
          <a:custGeom>
            <a:avLst/>
            <a:gdLst>
              <a:gd name="T0" fmla="*/ 13344091 w 6132"/>
              <a:gd name="T1" fmla="*/ 10441401 h 16980"/>
              <a:gd name="T2" fmla="*/ 14439013 w 6132"/>
              <a:gd name="T3" fmla="*/ 10808942 h 16980"/>
              <a:gd name="T4" fmla="*/ 15478309 w 6132"/>
              <a:gd name="T5" fmla="*/ 11467619 h 16980"/>
              <a:gd name="T6" fmla="*/ 16450295 w 6132"/>
              <a:gd name="T7" fmla="*/ 12408541 h 16980"/>
              <a:gd name="T8" fmla="*/ 17214401 w 6132"/>
              <a:gd name="T9" fmla="*/ 13481773 h 16980"/>
              <a:gd name="T10" fmla="*/ 17709159 w 6132"/>
              <a:gd name="T11" fmla="*/ 14605004 h 16980"/>
              <a:gd name="T12" fmla="*/ 17937493 w 6132"/>
              <a:gd name="T13" fmla="*/ 15789994 h 16980"/>
              <a:gd name="T14" fmla="*/ 17922884 w 6132"/>
              <a:gd name="T15" fmla="*/ 28795453 h 16980"/>
              <a:gd name="T16" fmla="*/ 17720901 w 6132"/>
              <a:gd name="T17" fmla="*/ 29724608 h 16980"/>
              <a:gd name="T18" fmla="*/ 17322724 w 6132"/>
              <a:gd name="T19" fmla="*/ 30571448 h 16980"/>
              <a:gd name="T20" fmla="*/ 16731329 w 6132"/>
              <a:gd name="T21" fmla="*/ 31344758 h 16980"/>
              <a:gd name="T22" fmla="*/ 15970146 w 6132"/>
              <a:gd name="T23" fmla="*/ 32000508 h 16980"/>
              <a:gd name="T24" fmla="*/ 15062602 w 6132"/>
              <a:gd name="T25" fmla="*/ 32509198 h 16980"/>
              <a:gd name="T26" fmla="*/ 14014483 w 6132"/>
              <a:gd name="T27" fmla="*/ 32867899 h 16980"/>
              <a:gd name="T28" fmla="*/ 4168927 w 6132"/>
              <a:gd name="T29" fmla="*/ 32935519 h 16980"/>
              <a:gd name="T30" fmla="*/ 3003722 w 6132"/>
              <a:gd name="T31" fmla="*/ 32515054 h 16980"/>
              <a:gd name="T32" fmla="*/ 2104943 w 6132"/>
              <a:gd name="T33" fmla="*/ 32053432 h 16980"/>
              <a:gd name="T34" fmla="*/ 1334994 w 6132"/>
              <a:gd name="T35" fmla="*/ 31503585 h 16980"/>
              <a:gd name="T36" fmla="*/ 723146 w 6132"/>
              <a:gd name="T37" fmla="*/ 30883136 h 16980"/>
              <a:gd name="T38" fmla="*/ 295697 w 6132"/>
              <a:gd name="T39" fmla="*/ 30230369 h 16980"/>
              <a:gd name="T40" fmla="*/ 55622 w 6132"/>
              <a:gd name="T41" fmla="*/ 29542302 h 16980"/>
              <a:gd name="T42" fmla="*/ 2922 w 6132"/>
              <a:gd name="T43" fmla="*/ 16034064 h 16980"/>
              <a:gd name="T44" fmla="*/ 166867 w 6132"/>
              <a:gd name="T45" fmla="*/ 14637376 h 16980"/>
              <a:gd name="T46" fmla="*/ 608925 w 6132"/>
              <a:gd name="T47" fmla="*/ 13408297 h 16980"/>
              <a:gd name="T48" fmla="*/ 1326228 w 6132"/>
              <a:gd name="T49" fmla="*/ 12352689 h 16980"/>
              <a:gd name="T50" fmla="*/ 2309902 w 6132"/>
              <a:gd name="T51" fmla="*/ 11479386 h 16980"/>
              <a:gd name="T52" fmla="*/ 3495559 w 6132"/>
              <a:gd name="T53" fmla="*/ 10853081 h 16980"/>
              <a:gd name="T54" fmla="*/ 4889097 w 6132"/>
              <a:gd name="T55" fmla="*/ 10479630 h 16980"/>
              <a:gd name="T56" fmla="*/ 6475906 w 6132"/>
              <a:gd name="T57" fmla="*/ 10356104 h 16980"/>
              <a:gd name="T58" fmla="*/ 6768627 w 6132"/>
              <a:gd name="T59" fmla="*/ 10332625 h 16980"/>
              <a:gd name="T60" fmla="*/ 7661564 w 6132"/>
              <a:gd name="T61" fmla="*/ 10323786 h 16980"/>
              <a:gd name="T62" fmla="*/ 7863602 w 6132"/>
              <a:gd name="T63" fmla="*/ 10085627 h 16980"/>
              <a:gd name="T64" fmla="*/ 7032131 w 6132"/>
              <a:gd name="T65" fmla="*/ 9768029 h 16980"/>
              <a:gd name="T66" fmla="*/ 6197794 w 6132"/>
              <a:gd name="T67" fmla="*/ 9285801 h 16980"/>
              <a:gd name="T68" fmla="*/ 5471726 w 6132"/>
              <a:gd name="T69" fmla="*/ 8674191 h 16980"/>
              <a:gd name="T70" fmla="*/ 4859825 w 6132"/>
              <a:gd name="T71" fmla="*/ 7936181 h 16980"/>
              <a:gd name="T72" fmla="*/ 4409002 w 6132"/>
              <a:gd name="T73" fmla="*/ 7115803 h 16980"/>
              <a:gd name="T74" fmla="*/ 4122070 w 6132"/>
              <a:gd name="T75" fmla="*/ 6242499 h 16980"/>
              <a:gd name="T76" fmla="*/ 4002059 w 6132"/>
              <a:gd name="T77" fmla="*/ 5304506 h 16980"/>
              <a:gd name="T78" fmla="*/ 4069369 w 6132"/>
              <a:gd name="T79" fmla="*/ 4195974 h 16980"/>
              <a:gd name="T80" fmla="*/ 4370910 w 6132"/>
              <a:gd name="T81" fmla="*/ 3140364 h 16980"/>
              <a:gd name="T82" fmla="*/ 4906682 w 6132"/>
              <a:gd name="T83" fmla="*/ 2181765 h 16980"/>
              <a:gd name="T84" fmla="*/ 5679553 w 6132"/>
              <a:gd name="T85" fmla="*/ 1317301 h 16980"/>
              <a:gd name="T86" fmla="*/ 6578332 w 6132"/>
              <a:gd name="T87" fmla="*/ 643928 h 16980"/>
              <a:gd name="T88" fmla="*/ 7576670 w 6132"/>
              <a:gd name="T89" fmla="*/ 208768 h 16980"/>
              <a:gd name="T90" fmla="*/ 8671588 w 6132"/>
              <a:gd name="T91" fmla="*/ 11767 h 16980"/>
              <a:gd name="T92" fmla="*/ 9825105 w 6132"/>
              <a:gd name="T93" fmla="*/ 52924 h 16980"/>
              <a:gd name="T94" fmla="*/ 10893673 w 6132"/>
              <a:gd name="T95" fmla="*/ 326384 h 16980"/>
              <a:gd name="T96" fmla="*/ 11865659 w 6132"/>
              <a:gd name="T97" fmla="*/ 843912 h 16980"/>
              <a:gd name="T98" fmla="*/ 12743931 w 6132"/>
              <a:gd name="T99" fmla="*/ 1593689 h 16980"/>
              <a:gd name="T100" fmla="*/ 13431908 w 6132"/>
              <a:gd name="T101" fmla="*/ 2490525 h 16980"/>
              <a:gd name="T102" fmla="*/ 13891551 w 6132"/>
              <a:gd name="T103" fmla="*/ 3481443 h 16980"/>
              <a:gd name="T104" fmla="*/ 14111119 w 6132"/>
              <a:gd name="T105" fmla="*/ 4572353 h 16980"/>
              <a:gd name="T106" fmla="*/ 14105275 w 6132"/>
              <a:gd name="T107" fmla="*/ 5636746 h 16980"/>
              <a:gd name="T108" fmla="*/ 13912057 w 6132"/>
              <a:gd name="T109" fmla="*/ 6586506 h 16980"/>
              <a:gd name="T110" fmla="*/ 13537309 w 6132"/>
              <a:gd name="T111" fmla="*/ 7471577 h 16980"/>
              <a:gd name="T112" fmla="*/ 12972265 w 6132"/>
              <a:gd name="T113" fmla="*/ 8303722 h 16980"/>
              <a:gd name="T114" fmla="*/ 12272601 w 6132"/>
              <a:gd name="T115" fmla="*/ 9015324 h 16980"/>
              <a:gd name="T116" fmla="*/ 11473326 w 6132"/>
              <a:gd name="T117" fmla="*/ 9562188 h 16980"/>
              <a:gd name="T118" fmla="*/ 10571626 w 6132"/>
              <a:gd name="T119" fmla="*/ 9941550 h 16980"/>
              <a:gd name="T120" fmla="*/ 10147098 w 6132"/>
              <a:gd name="T121" fmla="*/ 10232633 h 1698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6132"/>
              <a:gd name="T184" fmla="*/ 0 h 16980"/>
              <a:gd name="T185" fmla="*/ 6132 w 6132"/>
              <a:gd name="T186" fmla="*/ 16980 h 16980"/>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6132" h="16980">
                <a:moveTo>
                  <a:pt x="3480" y="3522"/>
                </a:moveTo>
                <a:lnTo>
                  <a:pt x="4254" y="3522"/>
                </a:lnTo>
                <a:lnTo>
                  <a:pt x="4298" y="3522"/>
                </a:lnTo>
                <a:lnTo>
                  <a:pt x="4342" y="3524"/>
                </a:lnTo>
                <a:lnTo>
                  <a:pt x="4386" y="3527"/>
                </a:lnTo>
                <a:lnTo>
                  <a:pt x="4429" y="3531"/>
                </a:lnTo>
                <a:lnTo>
                  <a:pt x="4473" y="3536"/>
                </a:lnTo>
                <a:lnTo>
                  <a:pt x="4515" y="3543"/>
                </a:lnTo>
                <a:lnTo>
                  <a:pt x="4558" y="3551"/>
                </a:lnTo>
                <a:lnTo>
                  <a:pt x="4601" y="3560"/>
                </a:lnTo>
                <a:lnTo>
                  <a:pt x="4643" y="3570"/>
                </a:lnTo>
                <a:lnTo>
                  <a:pt x="4685" y="3582"/>
                </a:lnTo>
                <a:lnTo>
                  <a:pt x="4727" y="3595"/>
                </a:lnTo>
                <a:lnTo>
                  <a:pt x="4769" y="3609"/>
                </a:lnTo>
                <a:lnTo>
                  <a:pt x="4809" y="3624"/>
                </a:lnTo>
                <a:lnTo>
                  <a:pt x="4851" y="3640"/>
                </a:lnTo>
                <a:lnTo>
                  <a:pt x="4892" y="3658"/>
                </a:lnTo>
                <a:lnTo>
                  <a:pt x="4932" y="3676"/>
                </a:lnTo>
                <a:lnTo>
                  <a:pt x="4973" y="3696"/>
                </a:lnTo>
                <a:lnTo>
                  <a:pt x="5013" y="3717"/>
                </a:lnTo>
                <a:lnTo>
                  <a:pt x="5052" y="3739"/>
                </a:lnTo>
                <a:lnTo>
                  <a:pt x="5093" y="3763"/>
                </a:lnTo>
                <a:lnTo>
                  <a:pt x="5132" y="3788"/>
                </a:lnTo>
                <a:lnTo>
                  <a:pt x="5171" y="3814"/>
                </a:lnTo>
                <a:lnTo>
                  <a:pt x="5210" y="3842"/>
                </a:lnTo>
                <a:lnTo>
                  <a:pt x="5249" y="3870"/>
                </a:lnTo>
                <a:lnTo>
                  <a:pt x="5287" y="3900"/>
                </a:lnTo>
                <a:lnTo>
                  <a:pt x="5325" y="3931"/>
                </a:lnTo>
                <a:lnTo>
                  <a:pt x="5364" y="3963"/>
                </a:lnTo>
                <a:lnTo>
                  <a:pt x="5401" y="3997"/>
                </a:lnTo>
                <a:lnTo>
                  <a:pt x="5438" y="4031"/>
                </a:lnTo>
                <a:lnTo>
                  <a:pt x="5475" y="4067"/>
                </a:lnTo>
                <a:lnTo>
                  <a:pt x="5512" y="4104"/>
                </a:lnTo>
                <a:lnTo>
                  <a:pt x="5549" y="4142"/>
                </a:lnTo>
                <a:lnTo>
                  <a:pt x="5584" y="4181"/>
                </a:lnTo>
                <a:lnTo>
                  <a:pt x="5619" y="4220"/>
                </a:lnTo>
                <a:lnTo>
                  <a:pt x="5652" y="4260"/>
                </a:lnTo>
                <a:lnTo>
                  <a:pt x="5685" y="4300"/>
                </a:lnTo>
                <a:lnTo>
                  <a:pt x="5716" y="4339"/>
                </a:lnTo>
                <a:lnTo>
                  <a:pt x="5747" y="4379"/>
                </a:lnTo>
                <a:lnTo>
                  <a:pt x="5775" y="4420"/>
                </a:lnTo>
                <a:lnTo>
                  <a:pt x="5803" y="4460"/>
                </a:lnTo>
                <a:lnTo>
                  <a:pt x="5830" y="4502"/>
                </a:lnTo>
                <a:lnTo>
                  <a:pt x="5855" y="4543"/>
                </a:lnTo>
                <a:lnTo>
                  <a:pt x="5880" y="4585"/>
                </a:lnTo>
                <a:lnTo>
                  <a:pt x="5904" y="4626"/>
                </a:lnTo>
                <a:lnTo>
                  <a:pt x="5925" y="4667"/>
                </a:lnTo>
                <a:lnTo>
                  <a:pt x="5946" y="4710"/>
                </a:lnTo>
                <a:lnTo>
                  <a:pt x="5967" y="4752"/>
                </a:lnTo>
                <a:lnTo>
                  <a:pt x="5986" y="4795"/>
                </a:lnTo>
                <a:lnTo>
                  <a:pt x="6004" y="4838"/>
                </a:lnTo>
                <a:lnTo>
                  <a:pt x="6020" y="4880"/>
                </a:lnTo>
                <a:lnTo>
                  <a:pt x="6036" y="4924"/>
                </a:lnTo>
                <a:lnTo>
                  <a:pt x="6049" y="4967"/>
                </a:lnTo>
                <a:lnTo>
                  <a:pt x="6063" y="5011"/>
                </a:lnTo>
                <a:lnTo>
                  <a:pt x="6075" y="5055"/>
                </a:lnTo>
                <a:lnTo>
                  <a:pt x="6085" y="5100"/>
                </a:lnTo>
                <a:lnTo>
                  <a:pt x="6095" y="5144"/>
                </a:lnTo>
                <a:lnTo>
                  <a:pt x="6104" y="5189"/>
                </a:lnTo>
                <a:lnTo>
                  <a:pt x="6111" y="5234"/>
                </a:lnTo>
                <a:lnTo>
                  <a:pt x="6117" y="5280"/>
                </a:lnTo>
                <a:lnTo>
                  <a:pt x="6123" y="5324"/>
                </a:lnTo>
                <a:lnTo>
                  <a:pt x="6127" y="5370"/>
                </a:lnTo>
                <a:lnTo>
                  <a:pt x="6130" y="5417"/>
                </a:lnTo>
                <a:lnTo>
                  <a:pt x="6131" y="5463"/>
                </a:lnTo>
                <a:lnTo>
                  <a:pt x="6132" y="5509"/>
                </a:lnTo>
                <a:lnTo>
                  <a:pt x="6132" y="9605"/>
                </a:lnTo>
                <a:lnTo>
                  <a:pt x="6132" y="9643"/>
                </a:lnTo>
                <a:lnTo>
                  <a:pt x="6130" y="9682"/>
                </a:lnTo>
                <a:lnTo>
                  <a:pt x="6129" y="9719"/>
                </a:lnTo>
                <a:lnTo>
                  <a:pt x="6126" y="9756"/>
                </a:lnTo>
                <a:lnTo>
                  <a:pt x="6122" y="9793"/>
                </a:lnTo>
                <a:lnTo>
                  <a:pt x="6117" y="9829"/>
                </a:lnTo>
                <a:lnTo>
                  <a:pt x="6112" y="9866"/>
                </a:lnTo>
                <a:lnTo>
                  <a:pt x="6107" y="9901"/>
                </a:lnTo>
                <a:lnTo>
                  <a:pt x="6099" y="9937"/>
                </a:lnTo>
                <a:lnTo>
                  <a:pt x="6092" y="9972"/>
                </a:lnTo>
                <a:lnTo>
                  <a:pt x="6083" y="10007"/>
                </a:lnTo>
                <a:lnTo>
                  <a:pt x="6074" y="10041"/>
                </a:lnTo>
                <a:lnTo>
                  <a:pt x="6063" y="10075"/>
                </a:lnTo>
                <a:lnTo>
                  <a:pt x="6053" y="10109"/>
                </a:lnTo>
                <a:lnTo>
                  <a:pt x="6041" y="10142"/>
                </a:lnTo>
                <a:lnTo>
                  <a:pt x="6028" y="10175"/>
                </a:lnTo>
                <a:lnTo>
                  <a:pt x="6014" y="10208"/>
                </a:lnTo>
                <a:lnTo>
                  <a:pt x="6001" y="10241"/>
                </a:lnTo>
                <a:lnTo>
                  <a:pt x="5986" y="10273"/>
                </a:lnTo>
                <a:lnTo>
                  <a:pt x="5970" y="10305"/>
                </a:lnTo>
                <a:lnTo>
                  <a:pt x="5953" y="10335"/>
                </a:lnTo>
                <a:lnTo>
                  <a:pt x="5935" y="10366"/>
                </a:lnTo>
                <a:lnTo>
                  <a:pt x="5917" y="10397"/>
                </a:lnTo>
                <a:lnTo>
                  <a:pt x="5898" y="10428"/>
                </a:lnTo>
                <a:lnTo>
                  <a:pt x="5877" y="10458"/>
                </a:lnTo>
                <a:lnTo>
                  <a:pt x="5857" y="10487"/>
                </a:lnTo>
                <a:lnTo>
                  <a:pt x="5835" y="10517"/>
                </a:lnTo>
                <a:lnTo>
                  <a:pt x="5813" y="10546"/>
                </a:lnTo>
                <a:lnTo>
                  <a:pt x="5789" y="10575"/>
                </a:lnTo>
                <a:lnTo>
                  <a:pt x="5766" y="10603"/>
                </a:lnTo>
                <a:lnTo>
                  <a:pt x="5740" y="10632"/>
                </a:lnTo>
                <a:lnTo>
                  <a:pt x="5715" y="10660"/>
                </a:lnTo>
                <a:lnTo>
                  <a:pt x="5688" y="10687"/>
                </a:lnTo>
                <a:lnTo>
                  <a:pt x="5661" y="10714"/>
                </a:lnTo>
                <a:lnTo>
                  <a:pt x="5633" y="10739"/>
                </a:lnTo>
                <a:lnTo>
                  <a:pt x="5606" y="10765"/>
                </a:lnTo>
                <a:lnTo>
                  <a:pt x="5576" y="10790"/>
                </a:lnTo>
                <a:lnTo>
                  <a:pt x="5546" y="10814"/>
                </a:lnTo>
                <a:lnTo>
                  <a:pt x="5516" y="10838"/>
                </a:lnTo>
                <a:lnTo>
                  <a:pt x="5486" y="10860"/>
                </a:lnTo>
                <a:lnTo>
                  <a:pt x="5455" y="10883"/>
                </a:lnTo>
                <a:lnTo>
                  <a:pt x="5422" y="10905"/>
                </a:lnTo>
                <a:lnTo>
                  <a:pt x="5390" y="10925"/>
                </a:lnTo>
                <a:lnTo>
                  <a:pt x="5357" y="10947"/>
                </a:lnTo>
                <a:lnTo>
                  <a:pt x="5323" y="10966"/>
                </a:lnTo>
                <a:lnTo>
                  <a:pt x="5288" y="10985"/>
                </a:lnTo>
                <a:lnTo>
                  <a:pt x="5253" y="11004"/>
                </a:lnTo>
                <a:lnTo>
                  <a:pt x="5218" y="11022"/>
                </a:lnTo>
                <a:lnTo>
                  <a:pt x="5182" y="11039"/>
                </a:lnTo>
                <a:lnTo>
                  <a:pt x="5145" y="11056"/>
                </a:lnTo>
                <a:lnTo>
                  <a:pt x="5108" y="11072"/>
                </a:lnTo>
                <a:lnTo>
                  <a:pt x="5069" y="11087"/>
                </a:lnTo>
                <a:lnTo>
                  <a:pt x="5031" y="11102"/>
                </a:lnTo>
                <a:lnTo>
                  <a:pt x="4992" y="11117"/>
                </a:lnTo>
                <a:lnTo>
                  <a:pt x="4952" y="11130"/>
                </a:lnTo>
                <a:lnTo>
                  <a:pt x="4911" y="11143"/>
                </a:lnTo>
                <a:lnTo>
                  <a:pt x="4871" y="11155"/>
                </a:lnTo>
                <a:lnTo>
                  <a:pt x="4828" y="11167"/>
                </a:lnTo>
                <a:lnTo>
                  <a:pt x="4787" y="11178"/>
                </a:lnTo>
                <a:lnTo>
                  <a:pt x="4743" y="11189"/>
                </a:lnTo>
                <a:lnTo>
                  <a:pt x="4701" y="11199"/>
                </a:lnTo>
                <a:lnTo>
                  <a:pt x="4656" y="11208"/>
                </a:lnTo>
                <a:lnTo>
                  <a:pt x="4612" y="11217"/>
                </a:lnTo>
                <a:lnTo>
                  <a:pt x="4567" y="11225"/>
                </a:lnTo>
                <a:lnTo>
                  <a:pt x="4567" y="16980"/>
                </a:lnTo>
                <a:lnTo>
                  <a:pt x="1510" y="16980"/>
                </a:lnTo>
                <a:lnTo>
                  <a:pt x="1510" y="11225"/>
                </a:lnTo>
                <a:lnTo>
                  <a:pt x="1424" y="11201"/>
                </a:lnTo>
                <a:lnTo>
                  <a:pt x="1340" y="11175"/>
                </a:lnTo>
                <a:lnTo>
                  <a:pt x="1298" y="11161"/>
                </a:lnTo>
                <a:lnTo>
                  <a:pt x="1258" y="11148"/>
                </a:lnTo>
                <a:lnTo>
                  <a:pt x="1218" y="11134"/>
                </a:lnTo>
                <a:lnTo>
                  <a:pt x="1178" y="11120"/>
                </a:lnTo>
                <a:lnTo>
                  <a:pt x="1139" y="11105"/>
                </a:lnTo>
                <a:lnTo>
                  <a:pt x="1101" y="11089"/>
                </a:lnTo>
                <a:lnTo>
                  <a:pt x="1064" y="11074"/>
                </a:lnTo>
                <a:lnTo>
                  <a:pt x="1026" y="11058"/>
                </a:lnTo>
                <a:lnTo>
                  <a:pt x="990" y="11042"/>
                </a:lnTo>
                <a:lnTo>
                  <a:pt x="954" y="11025"/>
                </a:lnTo>
                <a:lnTo>
                  <a:pt x="918" y="11009"/>
                </a:lnTo>
                <a:lnTo>
                  <a:pt x="884" y="10991"/>
                </a:lnTo>
                <a:lnTo>
                  <a:pt x="849" y="10974"/>
                </a:lnTo>
                <a:lnTo>
                  <a:pt x="816" y="10956"/>
                </a:lnTo>
                <a:lnTo>
                  <a:pt x="782" y="10938"/>
                </a:lnTo>
                <a:lnTo>
                  <a:pt x="750" y="10920"/>
                </a:lnTo>
                <a:lnTo>
                  <a:pt x="719" y="10901"/>
                </a:lnTo>
                <a:lnTo>
                  <a:pt x="687" y="10882"/>
                </a:lnTo>
                <a:lnTo>
                  <a:pt x="656" y="10862"/>
                </a:lnTo>
                <a:lnTo>
                  <a:pt x="626" y="10841"/>
                </a:lnTo>
                <a:lnTo>
                  <a:pt x="596" y="10821"/>
                </a:lnTo>
                <a:lnTo>
                  <a:pt x="567" y="10801"/>
                </a:lnTo>
                <a:lnTo>
                  <a:pt x="539" y="10780"/>
                </a:lnTo>
                <a:lnTo>
                  <a:pt x="510" y="10758"/>
                </a:lnTo>
                <a:lnTo>
                  <a:pt x="484" y="10736"/>
                </a:lnTo>
                <a:lnTo>
                  <a:pt x="456" y="10714"/>
                </a:lnTo>
                <a:lnTo>
                  <a:pt x="431" y="10691"/>
                </a:lnTo>
                <a:lnTo>
                  <a:pt x="405" y="10668"/>
                </a:lnTo>
                <a:lnTo>
                  <a:pt x="380" y="10646"/>
                </a:lnTo>
                <a:lnTo>
                  <a:pt x="355" y="10622"/>
                </a:lnTo>
                <a:lnTo>
                  <a:pt x="332" y="10599"/>
                </a:lnTo>
                <a:lnTo>
                  <a:pt x="310" y="10576"/>
                </a:lnTo>
                <a:lnTo>
                  <a:pt x="289" y="10551"/>
                </a:lnTo>
                <a:lnTo>
                  <a:pt x="267" y="10528"/>
                </a:lnTo>
                <a:lnTo>
                  <a:pt x="247" y="10503"/>
                </a:lnTo>
                <a:lnTo>
                  <a:pt x="228" y="10480"/>
                </a:lnTo>
                <a:lnTo>
                  <a:pt x="209" y="10455"/>
                </a:lnTo>
                <a:lnTo>
                  <a:pt x="191" y="10431"/>
                </a:lnTo>
                <a:lnTo>
                  <a:pt x="174" y="10407"/>
                </a:lnTo>
                <a:lnTo>
                  <a:pt x="158" y="10382"/>
                </a:lnTo>
                <a:lnTo>
                  <a:pt x="142" y="10357"/>
                </a:lnTo>
                <a:lnTo>
                  <a:pt x="128" y="10332"/>
                </a:lnTo>
                <a:lnTo>
                  <a:pt x="114" y="10307"/>
                </a:lnTo>
                <a:lnTo>
                  <a:pt x="101" y="10281"/>
                </a:lnTo>
                <a:lnTo>
                  <a:pt x="89" y="10256"/>
                </a:lnTo>
                <a:lnTo>
                  <a:pt x="77" y="10230"/>
                </a:lnTo>
                <a:lnTo>
                  <a:pt x="67" y="10205"/>
                </a:lnTo>
                <a:lnTo>
                  <a:pt x="57" y="10179"/>
                </a:lnTo>
                <a:lnTo>
                  <a:pt x="48" y="10153"/>
                </a:lnTo>
                <a:lnTo>
                  <a:pt x="39" y="10127"/>
                </a:lnTo>
                <a:lnTo>
                  <a:pt x="32" y="10100"/>
                </a:lnTo>
                <a:lnTo>
                  <a:pt x="25" y="10074"/>
                </a:lnTo>
                <a:lnTo>
                  <a:pt x="19" y="10047"/>
                </a:lnTo>
                <a:lnTo>
                  <a:pt x="14" y="10021"/>
                </a:lnTo>
                <a:lnTo>
                  <a:pt x="9" y="9994"/>
                </a:lnTo>
                <a:lnTo>
                  <a:pt x="6" y="9967"/>
                </a:lnTo>
                <a:lnTo>
                  <a:pt x="3" y="9940"/>
                </a:lnTo>
                <a:lnTo>
                  <a:pt x="1" y="9912"/>
                </a:lnTo>
                <a:lnTo>
                  <a:pt x="0" y="9885"/>
                </a:lnTo>
                <a:lnTo>
                  <a:pt x="0" y="9857"/>
                </a:lnTo>
                <a:lnTo>
                  <a:pt x="0" y="5509"/>
                </a:lnTo>
                <a:lnTo>
                  <a:pt x="1" y="5453"/>
                </a:lnTo>
                <a:lnTo>
                  <a:pt x="2" y="5398"/>
                </a:lnTo>
                <a:lnTo>
                  <a:pt x="5" y="5342"/>
                </a:lnTo>
                <a:lnTo>
                  <a:pt x="9" y="5288"/>
                </a:lnTo>
                <a:lnTo>
                  <a:pt x="15" y="5235"/>
                </a:lnTo>
                <a:lnTo>
                  <a:pt x="21" y="5182"/>
                </a:lnTo>
                <a:lnTo>
                  <a:pt x="28" y="5130"/>
                </a:lnTo>
                <a:lnTo>
                  <a:pt x="37" y="5079"/>
                </a:lnTo>
                <a:lnTo>
                  <a:pt x="47" y="5028"/>
                </a:lnTo>
                <a:lnTo>
                  <a:pt x="57" y="4978"/>
                </a:lnTo>
                <a:lnTo>
                  <a:pt x="70" y="4929"/>
                </a:lnTo>
                <a:lnTo>
                  <a:pt x="83" y="4880"/>
                </a:lnTo>
                <a:lnTo>
                  <a:pt x="97" y="4832"/>
                </a:lnTo>
                <a:lnTo>
                  <a:pt x="112" y="4785"/>
                </a:lnTo>
                <a:lnTo>
                  <a:pt x="129" y="4739"/>
                </a:lnTo>
                <a:lnTo>
                  <a:pt x="147" y="4693"/>
                </a:lnTo>
                <a:lnTo>
                  <a:pt x="166" y="4648"/>
                </a:lnTo>
                <a:lnTo>
                  <a:pt x="187" y="4604"/>
                </a:lnTo>
                <a:lnTo>
                  <a:pt x="208" y="4560"/>
                </a:lnTo>
                <a:lnTo>
                  <a:pt x="230" y="4518"/>
                </a:lnTo>
                <a:lnTo>
                  <a:pt x="255" y="4476"/>
                </a:lnTo>
                <a:lnTo>
                  <a:pt x="279" y="4435"/>
                </a:lnTo>
                <a:lnTo>
                  <a:pt x="306" y="4393"/>
                </a:lnTo>
                <a:lnTo>
                  <a:pt x="332" y="4354"/>
                </a:lnTo>
                <a:lnTo>
                  <a:pt x="361" y="4315"/>
                </a:lnTo>
                <a:lnTo>
                  <a:pt x="391" y="4275"/>
                </a:lnTo>
                <a:lnTo>
                  <a:pt x="421" y="4238"/>
                </a:lnTo>
                <a:lnTo>
                  <a:pt x="453" y="4201"/>
                </a:lnTo>
                <a:lnTo>
                  <a:pt x="486" y="4165"/>
                </a:lnTo>
                <a:lnTo>
                  <a:pt x="520" y="4129"/>
                </a:lnTo>
                <a:lnTo>
                  <a:pt x="556" y="4093"/>
                </a:lnTo>
                <a:lnTo>
                  <a:pt x="592" y="4059"/>
                </a:lnTo>
                <a:lnTo>
                  <a:pt x="629" y="4025"/>
                </a:lnTo>
                <a:lnTo>
                  <a:pt x="668" y="3994"/>
                </a:lnTo>
                <a:lnTo>
                  <a:pt x="707" y="3963"/>
                </a:lnTo>
                <a:lnTo>
                  <a:pt x="747" y="3933"/>
                </a:lnTo>
                <a:lnTo>
                  <a:pt x="789" y="3904"/>
                </a:lnTo>
                <a:lnTo>
                  <a:pt x="830" y="3876"/>
                </a:lnTo>
                <a:lnTo>
                  <a:pt x="873" y="3849"/>
                </a:lnTo>
                <a:lnTo>
                  <a:pt x="916" y="3823"/>
                </a:lnTo>
                <a:lnTo>
                  <a:pt x="961" y="3799"/>
                </a:lnTo>
                <a:lnTo>
                  <a:pt x="1005" y="3775"/>
                </a:lnTo>
                <a:lnTo>
                  <a:pt x="1052" y="3752"/>
                </a:lnTo>
                <a:lnTo>
                  <a:pt x="1099" y="3731"/>
                </a:lnTo>
                <a:lnTo>
                  <a:pt x="1146" y="3711"/>
                </a:lnTo>
                <a:lnTo>
                  <a:pt x="1194" y="3691"/>
                </a:lnTo>
                <a:lnTo>
                  <a:pt x="1244" y="3672"/>
                </a:lnTo>
                <a:lnTo>
                  <a:pt x="1294" y="3655"/>
                </a:lnTo>
                <a:lnTo>
                  <a:pt x="1345" y="3640"/>
                </a:lnTo>
                <a:lnTo>
                  <a:pt x="1397" y="3624"/>
                </a:lnTo>
                <a:lnTo>
                  <a:pt x="1450" y="3610"/>
                </a:lnTo>
                <a:lnTo>
                  <a:pt x="1503" y="3597"/>
                </a:lnTo>
                <a:lnTo>
                  <a:pt x="1558" y="3584"/>
                </a:lnTo>
                <a:lnTo>
                  <a:pt x="1614" y="3574"/>
                </a:lnTo>
                <a:lnTo>
                  <a:pt x="1670" y="3564"/>
                </a:lnTo>
                <a:lnTo>
                  <a:pt x="1726" y="3554"/>
                </a:lnTo>
                <a:lnTo>
                  <a:pt x="1785" y="3547"/>
                </a:lnTo>
                <a:lnTo>
                  <a:pt x="1843" y="3540"/>
                </a:lnTo>
                <a:lnTo>
                  <a:pt x="1902" y="3534"/>
                </a:lnTo>
                <a:lnTo>
                  <a:pt x="1963" y="3530"/>
                </a:lnTo>
                <a:lnTo>
                  <a:pt x="2024" y="3526"/>
                </a:lnTo>
                <a:lnTo>
                  <a:pt x="2086" y="3524"/>
                </a:lnTo>
                <a:lnTo>
                  <a:pt x="2149" y="3522"/>
                </a:lnTo>
                <a:lnTo>
                  <a:pt x="2212" y="3522"/>
                </a:lnTo>
                <a:lnTo>
                  <a:pt x="2218" y="3517"/>
                </a:lnTo>
                <a:lnTo>
                  <a:pt x="2224" y="3514"/>
                </a:lnTo>
                <a:lnTo>
                  <a:pt x="2230" y="3513"/>
                </a:lnTo>
                <a:lnTo>
                  <a:pt x="2237" y="3512"/>
                </a:lnTo>
                <a:lnTo>
                  <a:pt x="2243" y="3512"/>
                </a:lnTo>
                <a:lnTo>
                  <a:pt x="2251" y="3512"/>
                </a:lnTo>
                <a:lnTo>
                  <a:pt x="2261" y="3512"/>
                </a:lnTo>
                <a:lnTo>
                  <a:pt x="2274" y="3512"/>
                </a:lnTo>
                <a:lnTo>
                  <a:pt x="2312" y="3514"/>
                </a:lnTo>
                <a:lnTo>
                  <a:pt x="2353" y="3516"/>
                </a:lnTo>
                <a:lnTo>
                  <a:pt x="2393" y="3517"/>
                </a:lnTo>
                <a:lnTo>
                  <a:pt x="2435" y="3519"/>
                </a:lnTo>
                <a:lnTo>
                  <a:pt x="2479" y="3520"/>
                </a:lnTo>
                <a:lnTo>
                  <a:pt x="2522" y="3520"/>
                </a:lnTo>
                <a:lnTo>
                  <a:pt x="2568" y="3522"/>
                </a:lnTo>
                <a:lnTo>
                  <a:pt x="2615" y="3522"/>
                </a:lnTo>
                <a:lnTo>
                  <a:pt x="2616" y="3516"/>
                </a:lnTo>
                <a:lnTo>
                  <a:pt x="2617" y="3511"/>
                </a:lnTo>
                <a:lnTo>
                  <a:pt x="2620" y="3505"/>
                </a:lnTo>
                <a:lnTo>
                  <a:pt x="2623" y="3498"/>
                </a:lnTo>
                <a:lnTo>
                  <a:pt x="2634" y="3483"/>
                </a:lnTo>
                <a:lnTo>
                  <a:pt x="2649" y="3466"/>
                </a:lnTo>
                <a:lnTo>
                  <a:pt x="2663" y="3450"/>
                </a:lnTo>
                <a:lnTo>
                  <a:pt x="2674" y="3439"/>
                </a:lnTo>
                <a:lnTo>
                  <a:pt x="2678" y="3434"/>
                </a:lnTo>
                <a:lnTo>
                  <a:pt x="2683" y="3431"/>
                </a:lnTo>
                <a:lnTo>
                  <a:pt x="2686" y="3430"/>
                </a:lnTo>
                <a:lnTo>
                  <a:pt x="2688" y="3429"/>
                </a:lnTo>
                <a:lnTo>
                  <a:pt x="2651" y="3417"/>
                </a:lnTo>
                <a:lnTo>
                  <a:pt x="2614" y="3406"/>
                </a:lnTo>
                <a:lnTo>
                  <a:pt x="2578" y="3393"/>
                </a:lnTo>
                <a:lnTo>
                  <a:pt x="2542" y="3380"/>
                </a:lnTo>
                <a:lnTo>
                  <a:pt x="2506" y="3366"/>
                </a:lnTo>
                <a:lnTo>
                  <a:pt x="2471" y="3351"/>
                </a:lnTo>
                <a:lnTo>
                  <a:pt x="2436" y="3337"/>
                </a:lnTo>
                <a:lnTo>
                  <a:pt x="2402" y="3322"/>
                </a:lnTo>
                <a:lnTo>
                  <a:pt x="2368" y="3306"/>
                </a:lnTo>
                <a:lnTo>
                  <a:pt x="2336" y="3289"/>
                </a:lnTo>
                <a:lnTo>
                  <a:pt x="2303" y="3272"/>
                </a:lnTo>
                <a:lnTo>
                  <a:pt x="2271" y="3255"/>
                </a:lnTo>
                <a:lnTo>
                  <a:pt x="2239" y="3237"/>
                </a:lnTo>
                <a:lnTo>
                  <a:pt x="2208" y="3218"/>
                </a:lnTo>
                <a:lnTo>
                  <a:pt x="2177" y="3198"/>
                </a:lnTo>
                <a:lnTo>
                  <a:pt x="2147" y="3178"/>
                </a:lnTo>
                <a:lnTo>
                  <a:pt x="2117" y="3158"/>
                </a:lnTo>
                <a:lnTo>
                  <a:pt x="2087" y="3137"/>
                </a:lnTo>
                <a:lnTo>
                  <a:pt x="2058" y="3115"/>
                </a:lnTo>
                <a:lnTo>
                  <a:pt x="2030" y="3093"/>
                </a:lnTo>
                <a:lnTo>
                  <a:pt x="2002" y="3071"/>
                </a:lnTo>
                <a:lnTo>
                  <a:pt x="1975" y="3047"/>
                </a:lnTo>
                <a:lnTo>
                  <a:pt x="1948" y="3024"/>
                </a:lnTo>
                <a:lnTo>
                  <a:pt x="1921" y="3000"/>
                </a:lnTo>
                <a:lnTo>
                  <a:pt x="1895" y="2975"/>
                </a:lnTo>
                <a:lnTo>
                  <a:pt x="1869" y="2950"/>
                </a:lnTo>
                <a:lnTo>
                  <a:pt x="1844" y="2924"/>
                </a:lnTo>
                <a:lnTo>
                  <a:pt x="1820" y="2898"/>
                </a:lnTo>
                <a:lnTo>
                  <a:pt x="1795" y="2871"/>
                </a:lnTo>
                <a:lnTo>
                  <a:pt x="1771" y="2843"/>
                </a:lnTo>
                <a:lnTo>
                  <a:pt x="1747" y="2816"/>
                </a:lnTo>
                <a:lnTo>
                  <a:pt x="1725" y="2787"/>
                </a:lnTo>
                <a:lnTo>
                  <a:pt x="1703" y="2757"/>
                </a:lnTo>
                <a:lnTo>
                  <a:pt x="1682" y="2729"/>
                </a:lnTo>
                <a:lnTo>
                  <a:pt x="1660" y="2699"/>
                </a:lnTo>
                <a:lnTo>
                  <a:pt x="1640" y="2669"/>
                </a:lnTo>
                <a:lnTo>
                  <a:pt x="1621" y="2638"/>
                </a:lnTo>
                <a:lnTo>
                  <a:pt x="1603" y="2608"/>
                </a:lnTo>
                <a:lnTo>
                  <a:pt x="1585" y="2578"/>
                </a:lnTo>
                <a:lnTo>
                  <a:pt x="1568" y="2547"/>
                </a:lnTo>
                <a:lnTo>
                  <a:pt x="1551" y="2516"/>
                </a:lnTo>
                <a:lnTo>
                  <a:pt x="1535" y="2484"/>
                </a:lnTo>
                <a:lnTo>
                  <a:pt x="1520" y="2452"/>
                </a:lnTo>
                <a:lnTo>
                  <a:pt x="1506" y="2420"/>
                </a:lnTo>
                <a:lnTo>
                  <a:pt x="1493" y="2388"/>
                </a:lnTo>
                <a:lnTo>
                  <a:pt x="1479" y="2356"/>
                </a:lnTo>
                <a:lnTo>
                  <a:pt x="1467" y="2324"/>
                </a:lnTo>
                <a:lnTo>
                  <a:pt x="1455" y="2291"/>
                </a:lnTo>
                <a:lnTo>
                  <a:pt x="1445" y="2258"/>
                </a:lnTo>
                <a:lnTo>
                  <a:pt x="1434" y="2225"/>
                </a:lnTo>
                <a:lnTo>
                  <a:pt x="1425" y="2191"/>
                </a:lnTo>
                <a:lnTo>
                  <a:pt x="1416" y="2157"/>
                </a:lnTo>
                <a:lnTo>
                  <a:pt x="1408" y="2123"/>
                </a:lnTo>
                <a:lnTo>
                  <a:pt x="1400" y="2089"/>
                </a:lnTo>
                <a:lnTo>
                  <a:pt x="1394" y="2054"/>
                </a:lnTo>
                <a:lnTo>
                  <a:pt x="1389" y="2018"/>
                </a:lnTo>
                <a:lnTo>
                  <a:pt x="1383" y="1983"/>
                </a:lnTo>
                <a:lnTo>
                  <a:pt x="1378" y="1948"/>
                </a:lnTo>
                <a:lnTo>
                  <a:pt x="1375" y="1912"/>
                </a:lnTo>
                <a:lnTo>
                  <a:pt x="1372" y="1876"/>
                </a:lnTo>
                <a:lnTo>
                  <a:pt x="1368" y="1840"/>
                </a:lnTo>
                <a:lnTo>
                  <a:pt x="1367" y="1804"/>
                </a:lnTo>
                <a:lnTo>
                  <a:pt x="1366" y="1767"/>
                </a:lnTo>
                <a:lnTo>
                  <a:pt x="1365" y="1729"/>
                </a:lnTo>
                <a:lnTo>
                  <a:pt x="1366" y="1686"/>
                </a:lnTo>
                <a:lnTo>
                  <a:pt x="1367" y="1641"/>
                </a:lnTo>
                <a:lnTo>
                  <a:pt x="1370" y="1598"/>
                </a:lnTo>
                <a:lnTo>
                  <a:pt x="1374" y="1555"/>
                </a:lnTo>
                <a:lnTo>
                  <a:pt x="1378" y="1511"/>
                </a:lnTo>
                <a:lnTo>
                  <a:pt x="1383" y="1469"/>
                </a:lnTo>
                <a:lnTo>
                  <a:pt x="1390" y="1427"/>
                </a:lnTo>
                <a:lnTo>
                  <a:pt x="1397" y="1386"/>
                </a:lnTo>
                <a:lnTo>
                  <a:pt x="1405" y="1345"/>
                </a:lnTo>
                <a:lnTo>
                  <a:pt x="1415" y="1304"/>
                </a:lnTo>
                <a:lnTo>
                  <a:pt x="1426" y="1264"/>
                </a:lnTo>
                <a:lnTo>
                  <a:pt x="1437" y="1223"/>
                </a:lnTo>
                <a:lnTo>
                  <a:pt x="1449" y="1184"/>
                </a:lnTo>
                <a:lnTo>
                  <a:pt x="1463" y="1145"/>
                </a:lnTo>
                <a:lnTo>
                  <a:pt x="1477" y="1106"/>
                </a:lnTo>
                <a:lnTo>
                  <a:pt x="1493" y="1068"/>
                </a:lnTo>
                <a:lnTo>
                  <a:pt x="1508" y="1030"/>
                </a:lnTo>
                <a:lnTo>
                  <a:pt x="1527" y="993"/>
                </a:lnTo>
                <a:lnTo>
                  <a:pt x="1545" y="955"/>
                </a:lnTo>
                <a:lnTo>
                  <a:pt x="1564" y="919"/>
                </a:lnTo>
                <a:lnTo>
                  <a:pt x="1585" y="883"/>
                </a:lnTo>
                <a:lnTo>
                  <a:pt x="1606" y="847"/>
                </a:lnTo>
                <a:lnTo>
                  <a:pt x="1628" y="811"/>
                </a:lnTo>
                <a:lnTo>
                  <a:pt x="1652" y="776"/>
                </a:lnTo>
                <a:lnTo>
                  <a:pt x="1676" y="742"/>
                </a:lnTo>
                <a:lnTo>
                  <a:pt x="1702" y="708"/>
                </a:lnTo>
                <a:lnTo>
                  <a:pt x="1728" y="674"/>
                </a:lnTo>
                <a:lnTo>
                  <a:pt x="1756" y="640"/>
                </a:lnTo>
                <a:lnTo>
                  <a:pt x="1783" y="607"/>
                </a:lnTo>
                <a:lnTo>
                  <a:pt x="1813" y="574"/>
                </a:lnTo>
                <a:lnTo>
                  <a:pt x="1844" y="542"/>
                </a:lnTo>
                <a:lnTo>
                  <a:pt x="1875" y="510"/>
                </a:lnTo>
                <a:lnTo>
                  <a:pt x="1907" y="478"/>
                </a:lnTo>
                <a:lnTo>
                  <a:pt x="1940" y="448"/>
                </a:lnTo>
                <a:lnTo>
                  <a:pt x="1971" y="419"/>
                </a:lnTo>
                <a:lnTo>
                  <a:pt x="2005" y="390"/>
                </a:lnTo>
                <a:lnTo>
                  <a:pt x="2038" y="362"/>
                </a:lnTo>
                <a:lnTo>
                  <a:pt x="2072" y="336"/>
                </a:lnTo>
                <a:lnTo>
                  <a:pt x="2106" y="311"/>
                </a:lnTo>
                <a:lnTo>
                  <a:pt x="2141" y="287"/>
                </a:lnTo>
                <a:lnTo>
                  <a:pt x="2176" y="263"/>
                </a:lnTo>
                <a:lnTo>
                  <a:pt x="2211" y="240"/>
                </a:lnTo>
                <a:lnTo>
                  <a:pt x="2247" y="219"/>
                </a:lnTo>
                <a:lnTo>
                  <a:pt x="2284" y="199"/>
                </a:lnTo>
                <a:lnTo>
                  <a:pt x="2320" y="179"/>
                </a:lnTo>
                <a:lnTo>
                  <a:pt x="2357" y="160"/>
                </a:lnTo>
                <a:lnTo>
                  <a:pt x="2395" y="143"/>
                </a:lnTo>
                <a:lnTo>
                  <a:pt x="2432" y="127"/>
                </a:lnTo>
                <a:lnTo>
                  <a:pt x="2470" y="111"/>
                </a:lnTo>
                <a:lnTo>
                  <a:pt x="2510" y="98"/>
                </a:lnTo>
                <a:lnTo>
                  <a:pt x="2549" y="84"/>
                </a:lnTo>
                <a:lnTo>
                  <a:pt x="2588" y="71"/>
                </a:lnTo>
                <a:lnTo>
                  <a:pt x="2628" y="60"/>
                </a:lnTo>
                <a:lnTo>
                  <a:pt x="2668" y="50"/>
                </a:lnTo>
                <a:lnTo>
                  <a:pt x="2709" y="40"/>
                </a:lnTo>
                <a:lnTo>
                  <a:pt x="2750" y="32"/>
                </a:lnTo>
                <a:lnTo>
                  <a:pt x="2791" y="24"/>
                </a:lnTo>
                <a:lnTo>
                  <a:pt x="2833" y="18"/>
                </a:lnTo>
                <a:lnTo>
                  <a:pt x="2876" y="13"/>
                </a:lnTo>
                <a:lnTo>
                  <a:pt x="2918" y="7"/>
                </a:lnTo>
                <a:lnTo>
                  <a:pt x="2962" y="4"/>
                </a:lnTo>
                <a:lnTo>
                  <a:pt x="3005" y="2"/>
                </a:lnTo>
                <a:lnTo>
                  <a:pt x="3049" y="1"/>
                </a:lnTo>
                <a:lnTo>
                  <a:pt x="3094" y="0"/>
                </a:lnTo>
                <a:lnTo>
                  <a:pt x="3138" y="1"/>
                </a:lnTo>
                <a:lnTo>
                  <a:pt x="3183" y="2"/>
                </a:lnTo>
                <a:lnTo>
                  <a:pt x="3226" y="4"/>
                </a:lnTo>
                <a:lnTo>
                  <a:pt x="3270" y="7"/>
                </a:lnTo>
                <a:lnTo>
                  <a:pt x="3312" y="13"/>
                </a:lnTo>
                <a:lnTo>
                  <a:pt x="3356" y="18"/>
                </a:lnTo>
                <a:lnTo>
                  <a:pt x="3397" y="24"/>
                </a:lnTo>
                <a:lnTo>
                  <a:pt x="3440" y="32"/>
                </a:lnTo>
                <a:lnTo>
                  <a:pt x="3481" y="40"/>
                </a:lnTo>
                <a:lnTo>
                  <a:pt x="3521" y="50"/>
                </a:lnTo>
                <a:lnTo>
                  <a:pt x="3563" y="60"/>
                </a:lnTo>
                <a:lnTo>
                  <a:pt x="3602" y="71"/>
                </a:lnTo>
                <a:lnTo>
                  <a:pt x="3643" y="84"/>
                </a:lnTo>
                <a:lnTo>
                  <a:pt x="3682" y="98"/>
                </a:lnTo>
                <a:lnTo>
                  <a:pt x="3721" y="111"/>
                </a:lnTo>
                <a:lnTo>
                  <a:pt x="3759" y="127"/>
                </a:lnTo>
                <a:lnTo>
                  <a:pt x="3798" y="143"/>
                </a:lnTo>
                <a:lnTo>
                  <a:pt x="3835" y="160"/>
                </a:lnTo>
                <a:lnTo>
                  <a:pt x="3873" y="179"/>
                </a:lnTo>
                <a:lnTo>
                  <a:pt x="3909" y="199"/>
                </a:lnTo>
                <a:lnTo>
                  <a:pt x="3946" y="219"/>
                </a:lnTo>
                <a:lnTo>
                  <a:pt x="3982" y="240"/>
                </a:lnTo>
                <a:lnTo>
                  <a:pt x="4017" y="263"/>
                </a:lnTo>
                <a:lnTo>
                  <a:pt x="4053" y="287"/>
                </a:lnTo>
                <a:lnTo>
                  <a:pt x="4088" y="311"/>
                </a:lnTo>
                <a:lnTo>
                  <a:pt x="4122" y="336"/>
                </a:lnTo>
                <a:lnTo>
                  <a:pt x="4156" y="362"/>
                </a:lnTo>
                <a:lnTo>
                  <a:pt x="4190" y="390"/>
                </a:lnTo>
                <a:lnTo>
                  <a:pt x="4223" y="419"/>
                </a:lnTo>
                <a:lnTo>
                  <a:pt x="4256" y="448"/>
                </a:lnTo>
                <a:lnTo>
                  <a:pt x="4289" y="478"/>
                </a:lnTo>
                <a:lnTo>
                  <a:pt x="4321" y="510"/>
                </a:lnTo>
                <a:lnTo>
                  <a:pt x="4353" y="542"/>
                </a:lnTo>
                <a:lnTo>
                  <a:pt x="4383" y="574"/>
                </a:lnTo>
                <a:lnTo>
                  <a:pt x="4412" y="607"/>
                </a:lnTo>
                <a:lnTo>
                  <a:pt x="4440" y="640"/>
                </a:lnTo>
                <a:lnTo>
                  <a:pt x="4467" y="674"/>
                </a:lnTo>
                <a:lnTo>
                  <a:pt x="4493" y="708"/>
                </a:lnTo>
                <a:lnTo>
                  <a:pt x="4518" y="742"/>
                </a:lnTo>
                <a:lnTo>
                  <a:pt x="4543" y="776"/>
                </a:lnTo>
                <a:lnTo>
                  <a:pt x="4566" y="811"/>
                </a:lnTo>
                <a:lnTo>
                  <a:pt x="4588" y="847"/>
                </a:lnTo>
                <a:lnTo>
                  <a:pt x="4610" y="883"/>
                </a:lnTo>
                <a:lnTo>
                  <a:pt x="4630" y="919"/>
                </a:lnTo>
                <a:lnTo>
                  <a:pt x="4649" y="955"/>
                </a:lnTo>
                <a:lnTo>
                  <a:pt x="4667" y="993"/>
                </a:lnTo>
                <a:lnTo>
                  <a:pt x="4685" y="1030"/>
                </a:lnTo>
                <a:lnTo>
                  <a:pt x="4701" y="1068"/>
                </a:lnTo>
                <a:lnTo>
                  <a:pt x="4716" y="1106"/>
                </a:lnTo>
                <a:lnTo>
                  <a:pt x="4731" y="1145"/>
                </a:lnTo>
                <a:lnTo>
                  <a:pt x="4745" y="1184"/>
                </a:lnTo>
                <a:lnTo>
                  <a:pt x="4756" y="1223"/>
                </a:lnTo>
                <a:lnTo>
                  <a:pt x="4768" y="1264"/>
                </a:lnTo>
                <a:lnTo>
                  <a:pt x="4779" y="1304"/>
                </a:lnTo>
                <a:lnTo>
                  <a:pt x="4788" y="1345"/>
                </a:lnTo>
                <a:lnTo>
                  <a:pt x="4797" y="1386"/>
                </a:lnTo>
                <a:lnTo>
                  <a:pt x="4803" y="1427"/>
                </a:lnTo>
                <a:lnTo>
                  <a:pt x="4810" y="1469"/>
                </a:lnTo>
                <a:lnTo>
                  <a:pt x="4816" y="1511"/>
                </a:lnTo>
                <a:lnTo>
                  <a:pt x="4820" y="1555"/>
                </a:lnTo>
                <a:lnTo>
                  <a:pt x="4823" y="1598"/>
                </a:lnTo>
                <a:lnTo>
                  <a:pt x="4825" y="1641"/>
                </a:lnTo>
                <a:lnTo>
                  <a:pt x="4827" y="1686"/>
                </a:lnTo>
                <a:lnTo>
                  <a:pt x="4827" y="1729"/>
                </a:lnTo>
                <a:lnTo>
                  <a:pt x="4827" y="1768"/>
                </a:lnTo>
                <a:lnTo>
                  <a:pt x="4826" y="1806"/>
                </a:lnTo>
                <a:lnTo>
                  <a:pt x="4824" y="1843"/>
                </a:lnTo>
                <a:lnTo>
                  <a:pt x="4822" y="1880"/>
                </a:lnTo>
                <a:lnTo>
                  <a:pt x="4818" y="1917"/>
                </a:lnTo>
                <a:lnTo>
                  <a:pt x="4814" y="1954"/>
                </a:lnTo>
                <a:lnTo>
                  <a:pt x="4808" y="1990"/>
                </a:lnTo>
                <a:lnTo>
                  <a:pt x="4803" y="2027"/>
                </a:lnTo>
                <a:lnTo>
                  <a:pt x="4797" y="2062"/>
                </a:lnTo>
                <a:lnTo>
                  <a:pt x="4789" y="2098"/>
                </a:lnTo>
                <a:lnTo>
                  <a:pt x="4781" y="2134"/>
                </a:lnTo>
                <a:lnTo>
                  <a:pt x="4772" y="2169"/>
                </a:lnTo>
                <a:lnTo>
                  <a:pt x="4763" y="2204"/>
                </a:lnTo>
                <a:lnTo>
                  <a:pt x="4752" y="2240"/>
                </a:lnTo>
                <a:lnTo>
                  <a:pt x="4740" y="2274"/>
                </a:lnTo>
                <a:lnTo>
                  <a:pt x="4729" y="2308"/>
                </a:lnTo>
                <a:lnTo>
                  <a:pt x="4716" y="2342"/>
                </a:lnTo>
                <a:lnTo>
                  <a:pt x="4702" y="2376"/>
                </a:lnTo>
                <a:lnTo>
                  <a:pt x="4688" y="2410"/>
                </a:lnTo>
                <a:lnTo>
                  <a:pt x="4673" y="2443"/>
                </a:lnTo>
                <a:lnTo>
                  <a:pt x="4657" y="2476"/>
                </a:lnTo>
                <a:lnTo>
                  <a:pt x="4641" y="2508"/>
                </a:lnTo>
                <a:lnTo>
                  <a:pt x="4624" y="2541"/>
                </a:lnTo>
                <a:lnTo>
                  <a:pt x="4605" y="2573"/>
                </a:lnTo>
                <a:lnTo>
                  <a:pt x="4586" y="2606"/>
                </a:lnTo>
                <a:lnTo>
                  <a:pt x="4566" y="2638"/>
                </a:lnTo>
                <a:lnTo>
                  <a:pt x="4546" y="2669"/>
                </a:lnTo>
                <a:lnTo>
                  <a:pt x="4525" y="2701"/>
                </a:lnTo>
                <a:lnTo>
                  <a:pt x="4502" y="2732"/>
                </a:lnTo>
                <a:lnTo>
                  <a:pt x="4480" y="2763"/>
                </a:lnTo>
                <a:lnTo>
                  <a:pt x="4456" y="2793"/>
                </a:lnTo>
                <a:lnTo>
                  <a:pt x="4431" y="2824"/>
                </a:lnTo>
                <a:lnTo>
                  <a:pt x="4407" y="2853"/>
                </a:lnTo>
                <a:lnTo>
                  <a:pt x="4381" y="2883"/>
                </a:lnTo>
                <a:lnTo>
                  <a:pt x="4356" y="2910"/>
                </a:lnTo>
                <a:lnTo>
                  <a:pt x="4329" y="2938"/>
                </a:lnTo>
                <a:lnTo>
                  <a:pt x="4303" y="2965"/>
                </a:lnTo>
                <a:lnTo>
                  <a:pt x="4276" y="2991"/>
                </a:lnTo>
                <a:lnTo>
                  <a:pt x="4249" y="3017"/>
                </a:lnTo>
                <a:lnTo>
                  <a:pt x="4220" y="3041"/>
                </a:lnTo>
                <a:lnTo>
                  <a:pt x="4192" y="3066"/>
                </a:lnTo>
                <a:lnTo>
                  <a:pt x="4164" y="3089"/>
                </a:lnTo>
                <a:lnTo>
                  <a:pt x="4134" y="3112"/>
                </a:lnTo>
                <a:lnTo>
                  <a:pt x="4105" y="3134"/>
                </a:lnTo>
                <a:lnTo>
                  <a:pt x="4075" y="3155"/>
                </a:lnTo>
                <a:lnTo>
                  <a:pt x="4045" y="3176"/>
                </a:lnTo>
                <a:lnTo>
                  <a:pt x="4014" y="3196"/>
                </a:lnTo>
                <a:lnTo>
                  <a:pt x="3982" y="3215"/>
                </a:lnTo>
                <a:lnTo>
                  <a:pt x="3950" y="3233"/>
                </a:lnTo>
                <a:lnTo>
                  <a:pt x="3919" y="3252"/>
                </a:lnTo>
                <a:lnTo>
                  <a:pt x="3887" y="3269"/>
                </a:lnTo>
                <a:lnTo>
                  <a:pt x="3854" y="3286"/>
                </a:lnTo>
                <a:lnTo>
                  <a:pt x="3820" y="3301"/>
                </a:lnTo>
                <a:lnTo>
                  <a:pt x="3786" y="3316"/>
                </a:lnTo>
                <a:lnTo>
                  <a:pt x="3752" y="3331"/>
                </a:lnTo>
                <a:lnTo>
                  <a:pt x="3718" y="3344"/>
                </a:lnTo>
                <a:lnTo>
                  <a:pt x="3683" y="3358"/>
                </a:lnTo>
                <a:lnTo>
                  <a:pt x="3647" y="3370"/>
                </a:lnTo>
                <a:lnTo>
                  <a:pt x="3611" y="3381"/>
                </a:lnTo>
                <a:lnTo>
                  <a:pt x="3575" y="3393"/>
                </a:lnTo>
                <a:lnTo>
                  <a:pt x="3538" y="3402"/>
                </a:lnTo>
                <a:lnTo>
                  <a:pt x="3500" y="3412"/>
                </a:lnTo>
                <a:lnTo>
                  <a:pt x="3463" y="3421"/>
                </a:lnTo>
                <a:lnTo>
                  <a:pt x="3425" y="3429"/>
                </a:lnTo>
                <a:lnTo>
                  <a:pt x="3438" y="3443"/>
                </a:lnTo>
                <a:lnTo>
                  <a:pt x="3449" y="3456"/>
                </a:lnTo>
                <a:lnTo>
                  <a:pt x="3459" y="3468"/>
                </a:lnTo>
                <a:lnTo>
                  <a:pt x="3466" y="3480"/>
                </a:lnTo>
                <a:lnTo>
                  <a:pt x="3473" y="3491"/>
                </a:lnTo>
                <a:lnTo>
                  <a:pt x="3477" y="3501"/>
                </a:lnTo>
                <a:lnTo>
                  <a:pt x="3479" y="3512"/>
                </a:lnTo>
                <a:lnTo>
                  <a:pt x="3480" y="3522"/>
                </a:lnTo>
                <a:close/>
              </a:path>
            </a:pathLst>
          </a:custGeom>
          <a:solidFill>
            <a:schemeClr val="bg1">
              <a:lumMod val="75000"/>
            </a:schemeClr>
          </a:solidFill>
          <a:ln w="9525">
            <a:noFill/>
            <a:round/>
            <a:headEnd/>
            <a:tailEnd/>
          </a:ln>
        </p:spPr>
        <p:txBody>
          <a:bodyPr/>
          <a:lstStyle>
            <a:defPPr>
              <a:defRPr lang="en-US"/>
            </a:defPPr>
            <a:lvl1pPr marL="0" algn="l" defTabSz="1018824" rtl="0" eaLnBrk="1" latinLnBrk="0" hangingPunct="1">
              <a:defRPr sz="2000" kern="1200">
                <a:solidFill>
                  <a:schemeClr val="tx1"/>
                </a:solidFill>
                <a:latin typeface="+mn-lt"/>
                <a:ea typeface="+mn-ea"/>
                <a:cs typeface="+mn-cs"/>
              </a:defRPr>
            </a:lvl1pPr>
            <a:lvl2pPr marL="509412" algn="l" defTabSz="1018824" rtl="0" eaLnBrk="1" latinLnBrk="0" hangingPunct="1">
              <a:defRPr sz="2000" kern="1200">
                <a:solidFill>
                  <a:schemeClr val="tx1"/>
                </a:solidFill>
                <a:latin typeface="+mn-lt"/>
                <a:ea typeface="+mn-ea"/>
                <a:cs typeface="+mn-cs"/>
              </a:defRPr>
            </a:lvl2pPr>
            <a:lvl3pPr marL="1018824" algn="l" defTabSz="1018824" rtl="0" eaLnBrk="1" latinLnBrk="0" hangingPunct="1">
              <a:defRPr sz="2000" kern="1200">
                <a:solidFill>
                  <a:schemeClr val="tx1"/>
                </a:solidFill>
                <a:latin typeface="+mn-lt"/>
                <a:ea typeface="+mn-ea"/>
                <a:cs typeface="+mn-cs"/>
              </a:defRPr>
            </a:lvl3pPr>
            <a:lvl4pPr marL="1528237" algn="l" defTabSz="1018824" rtl="0" eaLnBrk="1" latinLnBrk="0" hangingPunct="1">
              <a:defRPr sz="2000" kern="1200">
                <a:solidFill>
                  <a:schemeClr val="tx1"/>
                </a:solidFill>
                <a:latin typeface="+mn-lt"/>
                <a:ea typeface="+mn-ea"/>
                <a:cs typeface="+mn-cs"/>
              </a:defRPr>
            </a:lvl4pPr>
            <a:lvl5pPr marL="2037649" algn="l" defTabSz="1018824" rtl="0" eaLnBrk="1" latinLnBrk="0" hangingPunct="1">
              <a:defRPr sz="2000" kern="1200">
                <a:solidFill>
                  <a:schemeClr val="tx1"/>
                </a:solidFill>
                <a:latin typeface="+mn-lt"/>
                <a:ea typeface="+mn-ea"/>
                <a:cs typeface="+mn-cs"/>
              </a:defRPr>
            </a:lvl5pPr>
            <a:lvl6pPr marL="2547061" algn="l" defTabSz="1018824" rtl="0" eaLnBrk="1" latinLnBrk="0" hangingPunct="1">
              <a:defRPr sz="2000" kern="1200">
                <a:solidFill>
                  <a:schemeClr val="tx1"/>
                </a:solidFill>
                <a:latin typeface="+mn-lt"/>
                <a:ea typeface="+mn-ea"/>
                <a:cs typeface="+mn-cs"/>
              </a:defRPr>
            </a:lvl6pPr>
            <a:lvl7pPr marL="3056473" algn="l" defTabSz="1018824" rtl="0" eaLnBrk="1" latinLnBrk="0" hangingPunct="1">
              <a:defRPr sz="2000" kern="1200">
                <a:solidFill>
                  <a:schemeClr val="tx1"/>
                </a:solidFill>
                <a:latin typeface="+mn-lt"/>
                <a:ea typeface="+mn-ea"/>
                <a:cs typeface="+mn-cs"/>
              </a:defRPr>
            </a:lvl7pPr>
            <a:lvl8pPr marL="3565886" algn="l" defTabSz="1018824" rtl="0" eaLnBrk="1" latinLnBrk="0" hangingPunct="1">
              <a:defRPr sz="2000" kern="1200">
                <a:solidFill>
                  <a:schemeClr val="tx1"/>
                </a:solidFill>
                <a:latin typeface="+mn-lt"/>
                <a:ea typeface="+mn-ea"/>
                <a:cs typeface="+mn-cs"/>
              </a:defRPr>
            </a:lvl8pPr>
            <a:lvl9pPr marL="4075298" algn="l" defTabSz="1018824" rtl="0" eaLnBrk="1" latinLnBrk="0" hangingPunct="1">
              <a:defRPr sz="2000" kern="1200">
                <a:solidFill>
                  <a:schemeClr val="tx1"/>
                </a:solidFill>
                <a:latin typeface="+mn-lt"/>
                <a:ea typeface="+mn-ea"/>
                <a:cs typeface="+mn-cs"/>
              </a:defRPr>
            </a:lvl9pPr>
          </a:lstStyle>
          <a:p>
            <a:pPr marL="0" marR="0" lvl="0" indent="0" algn="l" defTabSz="1018824" rtl="0" eaLnBrk="1" fontAlgn="auto" latinLnBrk="0" hangingPunct="1">
              <a:lnSpc>
                <a:spcPct val="100000"/>
              </a:lnSpc>
              <a:spcBef>
                <a:spcPts val="0"/>
              </a:spcBef>
              <a:spcAft>
                <a:spcPts val="0"/>
              </a:spcAft>
              <a:buClrTx/>
              <a:buSzTx/>
              <a:buFontTx/>
              <a:buNone/>
              <a:tabLst/>
              <a:defRPr/>
            </a:pPr>
            <a:endParaRPr kumimoji="0" lang="en-GB" sz="1589"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3" name="Freeform 14">
            <a:extLst>
              <a:ext uri="{FF2B5EF4-FFF2-40B4-BE49-F238E27FC236}">
                <a16:creationId xmlns:a16="http://schemas.microsoft.com/office/drawing/2014/main" id="{B9412FBC-D332-4F2A-BC1C-7B4D37EF7520}"/>
              </a:ext>
            </a:extLst>
          </p:cNvPr>
          <p:cNvSpPr>
            <a:spLocks/>
          </p:cNvSpPr>
          <p:nvPr/>
        </p:nvSpPr>
        <p:spPr bwMode="auto">
          <a:xfrm>
            <a:off x="9385525" y="4857075"/>
            <a:ext cx="197037" cy="470851"/>
          </a:xfrm>
          <a:custGeom>
            <a:avLst/>
            <a:gdLst>
              <a:gd name="T0" fmla="*/ 13344091 w 6132"/>
              <a:gd name="T1" fmla="*/ 10441401 h 16980"/>
              <a:gd name="T2" fmla="*/ 14439013 w 6132"/>
              <a:gd name="T3" fmla="*/ 10808942 h 16980"/>
              <a:gd name="T4" fmla="*/ 15478309 w 6132"/>
              <a:gd name="T5" fmla="*/ 11467619 h 16980"/>
              <a:gd name="T6" fmla="*/ 16450295 w 6132"/>
              <a:gd name="T7" fmla="*/ 12408541 h 16980"/>
              <a:gd name="T8" fmla="*/ 17214401 w 6132"/>
              <a:gd name="T9" fmla="*/ 13481773 h 16980"/>
              <a:gd name="T10" fmla="*/ 17709159 w 6132"/>
              <a:gd name="T11" fmla="*/ 14605004 h 16980"/>
              <a:gd name="T12" fmla="*/ 17937493 w 6132"/>
              <a:gd name="T13" fmla="*/ 15789994 h 16980"/>
              <a:gd name="T14" fmla="*/ 17922884 w 6132"/>
              <a:gd name="T15" fmla="*/ 28795453 h 16980"/>
              <a:gd name="T16" fmla="*/ 17720901 w 6132"/>
              <a:gd name="T17" fmla="*/ 29724608 h 16980"/>
              <a:gd name="T18" fmla="*/ 17322724 w 6132"/>
              <a:gd name="T19" fmla="*/ 30571448 h 16980"/>
              <a:gd name="T20" fmla="*/ 16731329 w 6132"/>
              <a:gd name="T21" fmla="*/ 31344758 h 16980"/>
              <a:gd name="T22" fmla="*/ 15970146 w 6132"/>
              <a:gd name="T23" fmla="*/ 32000508 h 16980"/>
              <a:gd name="T24" fmla="*/ 15062602 w 6132"/>
              <a:gd name="T25" fmla="*/ 32509198 h 16980"/>
              <a:gd name="T26" fmla="*/ 14014483 w 6132"/>
              <a:gd name="T27" fmla="*/ 32867899 h 16980"/>
              <a:gd name="T28" fmla="*/ 4168927 w 6132"/>
              <a:gd name="T29" fmla="*/ 32935519 h 16980"/>
              <a:gd name="T30" fmla="*/ 3003722 w 6132"/>
              <a:gd name="T31" fmla="*/ 32515054 h 16980"/>
              <a:gd name="T32" fmla="*/ 2104943 w 6132"/>
              <a:gd name="T33" fmla="*/ 32053432 h 16980"/>
              <a:gd name="T34" fmla="*/ 1334994 w 6132"/>
              <a:gd name="T35" fmla="*/ 31503585 h 16980"/>
              <a:gd name="T36" fmla="*/ 723146 w 6132"/>
              <a:gd name="T37" fmla="*/ 30883136 h 16980"/>
              <a:gd name="T38" fmla="*/ 295697 w 6132"/>
              <a:gd name="T39" fmla="*/ 30230369 h 16980"/>
              <a:gd name="T40" fmla="*/ 55622 w 6132"/>
              <a:gd name="T41" fmla="*/ 29542302 h 16980"/>
              <a:gd name="T42" fmla="*/ 2922 w 6132"/>
              <a:gd name="T43" fmla="*/ 16034064 h 16980"/>
              <a:gd name="T44" fmla="*/ 166867 w 6132"/>
              <a:gd name="T45" fmla="*/ 14637376 h 16980"/>
              <a:gd name="T46" fmla="*/ 608925 w 6132"/>
              <a:gd name="T47" fmla="*/ 13408297 h 16980"/>
              <a:gd name="T48" fmla="*/ 1326228 w 6132"/>
              <a:gd name="T49" fmla="*/ 12352689 h 16980"/>
              <a:gd name="T50" fmla="*/ 2309902 w 6132"/>
              <a:gd name="T51" fmla="*/ 11479386 h 16980"/>
              <a:gd name="T52" fmla="*/ 3495559 w 6132"/>
              <a:gd name="T53" fmla="*/ 10853081 h 16980"/>
              <a:gd name="T54" fmla="*/ 4889097 w 6132"/>
              <a:gd name="T55" fmla="*/ 10479630 h 16980"/>
              <a:gd name="T56" fmla="*/ 6475906 w 6132"/>
              <a:gd name="T57" fmla="*/ 10356104 h 16980"/>
              <a:gd name="T58" fmla="*/ 6768627 w 6132"/>
              <a:gd name="T59" fmla="*/ 10332625 h 16980"/>
              <a:gd name="T60" fmla="*/ 7661564 w 6132"/>
              <a:gd name="T61" fmla="*/ 10323786 h 16980"/>
              <a:gd name="T62" fmla="*/ 7863602 w 6132"/>
              <a:gd name="T63" fmla="*/ 10085627 h 16980"/>
              <a:gd name="T64" fmla="*/ 7032131 w 6132"/>
              <a:gd name="T65" fmla="*/ 9768029 h 16980"/>
              <a:gd name="T66" fmla="*/ 6197794 w 6132"/>
              <a:gd name="T67" fmla="*/ 9285801 h 16980"/>
              <a:gd name="T68" fmla="*/ 5471726 w 6132"/>
              <a:gd name="T69" fmla="*/ 8674191 h 16980"/>
              <a:gd name="T70" fmla="*/ 4859825 w 6132"/>
              <a:gd name="T71" fmla="*/ 7936181 h 16980"/>
              <a:gd name="T72" fmla="*/ 4409002 w 6132"/>
              <a:gd name="T73" fmla="*/ 7115803 h 16980"/>
              <a:gd name="T74" fmla="*/ 4122070 w 6132"/>
              <a:gd name="T75" fmla="*/ 6242499 h 16980"/>
              <a:gd name="T76" fmla="*/ 4002059 w 6132"/>
              <a:gd name="T77" fmla="*/ 5304506 h 16980"/>
              <a:gd name="T78" fmla="*/ 4069369 w 6132"/>
              <a:gd name="T79" fmla="*/ 4195974 h 16980"/>
              <a:gd name="T80" fmla="*/ 4370910 w 6132"/>
              <a:gd name="T81" fmla="*/ 3140364 h 16980"/>
              <a:gd name="T82" fmla="*/ 4906682 w 6132"/>
              <a:gd name="T83" fmla="*/ 2181765 h 16980"/>
              <a:gd name="T84" fmla="*/ 5679553 w 6132"/>
              <a:gd name="T85" fmla="*/ 1317301 h 16980"/>
              <a:gd name="T86" fmla="*/ 6578332 w 6132"/>
              <a:gd name="T87" fmla="*/ 643928 h 16980"/>
              <a:gd name="T88" fmla="*/ 7576670 w 6132"/>
              <a:gd name="T89" fmla="*/ 208768 h 16980"/>
              <a:gd name="T90" fmla="*/ 8671588 w 6132"/>
              <a:gd name="T91" fmla="*/ 11767 h 16980"/>
              <a:gd name="T92" fmla="*/ 9825105 w 6132"/>
              <a:gd name="T93" fmla="*/ 52924 h 16980"/>
              <a:gd name="T94" fmla="*/ 10893673 w 6132"/>
              <a:gd name="T95" fmla="*/ 326384 h 16980"/>
              <a:gd name="T96" fmla="*/ 11865659 w 6132"/>
              <a:gd name="T97" fmla="*/ 843912 h 16980"/>
              <a:gd name="T98" fmla="*/ 12743931 w 6132"/>
              <a:gd name="T99" fmla="*/ 1593689 h 16980"/>
              <a:gd name="T100" fmla="*/ 13431908 w 6132"/>
              <a:gd name="T101" fmla="*/ 2490525 h 16980"/>
              <a:gd name="T102" fmla="*/ 13891551 w 6132"/>
              <a:gd name="T103" fmla="*/ 3481443 h 16980"/>
              <a:gd name="T104" fmla="*/ 14111119 w 6132"/>
              <a:gd name="T105" fmla="*/ 4572353 h 16980"/>
              <a:gd name="T106" fmla="*/ 14105275 w 6132"/>
              <a:gd name="T107" fmla="*/ 5636746 h 16980"/>
              <a:gd name="T108" fmla="*/ 13912057 w 6132"/>
              <a:gd name="T109" fmla="*/ 6586506 h 16980"/>
              <a:gd name="T110" fmla="*/ 13537309 w 6132"/>
              <a:gd name="T111" fmla="*/ 7471577 h 16980"/>
              <a:gd name="T112" fmla="*/ 12972265 w 6132"/>
              <a:gd name="T113" fmla="*/ 8303722 h 16980"/>
              <a:gd name="T114" fmla="*/ 12272601 w 6132"/>
              <a:gd name="T115" fmla="*/ 9015324 h 16980"/>
              <a:gd name="T116" fmla="*/ 11473326 w 6132"/>
              <a:gd name="T117" fmla="*/ 9562188 h 16980"/>
              <a:gd name="T118" fmla="*/ 10571626 w 6132"/>
              <a:gd name="T119" fmla="*/ 9941550 h 16980"/>
              <a:gd name="T120" fmla="*/ 10147098 w 6132"/>
              <a:gd name="T121" fmla="*/ 10232633 h 1698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6132"/>
              <a:gd name="T184" fmla="*/ 0 h 16980"/>
              <a:gd name="T185" fmla="*/ 6132 w 6132"/>
              <a:gd name="T186" fmla="*/ 16980 h 16980"/>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6132" h="16980">
                <a:moveTo>
                  <a:pt x="3480" y="3522"/>
                </a:moveTo>
                <a:lnTo>
                  <a:pt x="4254" y="3522"/>
                </a:lnTo>
                <a:lnTo>
                  <a:pt x="4298" y="3522"/>
                </a:lnTo>
                <a:lnTo>
                  <a:pt x="4342" y="3524"/>
                </a:lnTo>
                <a:lnTo>
                  <a:pt x="4386" y="3527"/>
                </a:lnTo>
                <a:lnTo>
                  <a:pt x="4429" y="3531"/>
                </a:lnTo>
                <a:lnTo>
                  <a:pt x="4473" y="3536"/>
                </a:lnTo>
                <a:lnTo>
                  <a:pt x="4515" y="3543"/>
                </a:lnTo>
                <a:lnTo>
                  <a:pt x="4558" y="3551"/>
                </a:lnTo>
                <a:lnTo>
                  <a:pt x="4601" y="3560"/>
                </a:lnTo>
                <a:lnTo>
                  <a:pt x="4643" y="3570"/>
                </a:lnTo>
                <a:lnTo>
                  <a:pt x="4685" y="3582"/>
                </a:lnTo>
                <a:lnTo>
                  <a:pt x="4727" y="3595"/>
                </a:lnTo>
                <a:lnTo>
                  <a:pt x="4769" y="3609"/>
                </a:lnTo>
                <a:lnTo>
                  <a:pt x="4809" y="3624"/>
                </a:lnTo>
                <a:lnTo>
                  <a:pt x="4851" y="3640"/>
                </a:lnTo>
                <a:lnTo>
                  <a:pt x="4892" y="3658"/>
                </a:lnTo>
                <a:lnTo>
                  <a:pt x="4932" y="3676"/>
                </a:lnTo>
                <a:lnTo>
                  <a:pt x="4973" y="3696"/>
                </a:lnTo>
                <a:lnTo>
                  <a:pt x="5013" y="3717"/>
                </a:lnTo>
                <a:lnTo>
                  <a:pt x="5052" y="3739"/>
                </a:lnTo>
                <a:lnTo>
                  <a:pt x="5093" y="3763"/>
                </a:lnTo>
                <a:lnTo>
                  <a:pt x="5132" y="3788"/>
                </a:lnTo>
                <a:lnTo>
                  <a:pt x="5171" y="3814"/>
                </a:lnTo>
                <a:lnTo>
                  <a:pt x="5210" y="3842"/>
                </a:lnTo>
                <a:lnTo>
                  <a:pt x="5249" y="3870"/>
                </a:lnTo>
                <a:lnTo>
                  <a:pt x="5287" y="3900"/>
                </a:lnTo>
                <a:lnTo>
                  <a:pt x="5325" y="3931"/>
                </a:lnTo>
                <a:lnTo>
                  <a:pt x="5364" y="3963"/>
                </a:lnTo>
                <a:lnTo>
                  <a:pt x="5401" y="3997"/>
                </a:lnTo>
                <a:lnTo>
                  <a:pt x="5438" y="4031"/>
                </a:lnTo>
                <a:lnTo>
                  <a:pt x="5475" y="4067"/>
                </a:lnTo>
                <a:lnTo>
                  <a:pt x="5512" y="4104"/>
                </a:lnTo>
                <a:lnTo>
                  <a:pt x="5549" y="4142"/>
                </a:lnTo>
                <a:lnTo>
                  <a:pt x="5584" y="4181"/>
                </a:lnTo>
                <a:lnTo>
                  <a:pt x="5619" y="4220"/>
                </a:lnTo>
                <a:lnTo>
                  <a:pt x="5652" y="4260"/>
                </a:lnTo>
                <a:lnTo>
                  <a:pt x="5685" y="4300"/>
                </a:lnTo>
                <a:lnTo>
                  <a:pt x="5716" y="4339"/>
                </a:lnTo>
                <a:lnTo>
                  <a:pt x="5747" y="4379"/>
                </a:lnTo>
                <a:lnTo>
                  <a:pt x="5775" y="4420"/>
                </a:lnTo>
                <a:lnTo>
                  <a:pt x="5803" y="4460"/>
                </a:lnTo>
                <a:lnTo>
                  <a:pt x="5830" y="4502"/>
                </a:lnTo>
                <a:lnTo>
                  <a:pt x="5855" y="4543"/>
                </a:lnTo>
                <a:lnTo>
                  <a:pt x="5880" y="4585"/>
                </a:lnTo>
                <a:lnTo>
                  <a:pt x="5904" y="4626"/>
                </a:lnTo>
                <a:lnTo>
                  <a:pt x="5925" y="4667"/>
                </a:lnTo>
                <a:lnTo>
                  <a:pt x="5946" y="4710"/>
                </a:lnTo>
                <a:lnTo>
                  <a:pt x="5967" y="4752"/>
                </a:lnTo>
                <a:lnTo>
                  <a:pt x="5986" y="4795"/>
                </a:lnTo>
                <a:lnTo>
                  <a:pt x="6004" y="4838"/>
                </a:lnTo>
                <a:lnTo>
                  <a:pt x="6020" y="4880"/>
                </a:lnTo>
                <a:lnTo>
                  <a:pt x="6036" y="4924"/>
                </a:lnTo>
                <a:lnTo>
                  <a:pt x="6049" y="4967"/>
                </a:lnTo>
                <a:lnTo>
                  <a:pt x="6063" y="5011"/>
                </a:lnTo>
                <a:lnTo>
                  <a:pt x="6075" y="5055"/>
                </a:lnTo>
                <a:lnTo>
                  <a:pt x="6085" y="5100"/>
                </a:lnTo>
                <a:lnTo>
                  <a:pt x="6095" y="5144"/>
                </a:lnTo>
                <a:lnTo>
                  <a:pt x="6104" y="5189"/>
                </a:lnTo>
                <a:lnTo>
                  <a:pt x="6111" y="5234"/>
                </a:lnTo>
                <a:lnTo>
                  <a:pt x="6117" y="5280"/>
                </a:lnTo>
                <a:lnTo>
                  <a:pt x="6123" y="5324"/>
                </a:lnTo>
                <a:lnTo>
                  <a:pt x="6127" y="5370"/>
                </a:lnTo>
                <a:lnTo>
                  <a:pt x="6130" y="5417"/>
                </a:lnTo>
                <a:lnTo>
                  <a:pt x="6131" y="5463"/>
                </a:lnTo>
                <a:lnTo>
                  <a:pt x="6132" y="5509"/>
                </a:lnTo>
                <a:lnTo>
                  <a:pt x="6132" y="9605"/>
                </a:lnTo>
                <a:lnTo>
                  <a:pt x="6132" y="9643"/>
                </a:lnTo>
                <a:lnTo>
                  <a:pt x="6130" y="9682"/>
                </a:lnTo>
                <a:lnTo>
                  <a:pt x="6129" y="9719"/>
                </a:lnTo>
                <a:lnTo>
                  <a:pt x="6126" y="9756"/>
                </a:lnTo>
                <a:lnTo>
                  <a:pt x="6122" y="9793"/>
                </a:lnTo>
                <a:lnTo>
                  <a:pt x="6117" y="9829"/>
                </a:lnTo>
                <a:lnTo>
                  <a:pt x="6112" y="9866"/>
                </a:lnTo>
                <a:lnTo>
                  <a:pt x="6107" y="9901"/>
                </a:lnTo>
                <a:lnTo>
                  <a:pt x="6099" y="9937"/>
                </a:lnTo>
                <a:lnTo>
                  <a:pt x="6092" y="9972"/>
                </a:lnTo>
                <a:lnTo>
                  <a:pt x="6083" y="10007"/>
                </a:lnTo>
                <a:lnTo>
                  <a:pt x="6074" y="10041"/>
                </a:lnTo>
                <a:lnTo>
                  <a:pt x="6063" y="10075"/>
                </a:lnTo>
                <a:lnTo>
                  <a:pt x="6053" y="10109"/>
                </a:lnTo>
                <a:lnTo>
                  <a:pt x="6041" y="10142"/>
                </a:lnTo>
                <a:lnTo>
                  <a:pt x="6028" y="10175"/>
                </a:lnTo>
                <a:lnTo>
                  <a:pt x="6014" y="10208"/>
                </a:lnTo>
                <a:lnTo>
                  <a:pt x="6001" y="10241"/>
                </a:lnTo>
                <a:lnTo>
                  <a:pt x="5986" y="10273"/>
                </a:lnTo>
                <a:lnTo>
                  <a:pt x="5970" y="10305"/>
                </a:lnTo>
                <a:lnTo>
                  <a:pt x="5953" y="10335"/>
                </a:lnTo>
                <a:lnTo>
                  <a:pt x="5935" y="10366"/>
                </a:lnTo>
                <a:lnTo>
                  <a:pt x="5917" y="10397"/>
                </a:lnTo>
                <a:lnTo>
                  <a:pt x="5898" y="10428"/>
                </a:lnTo>
                <a:lnTo>
                  <a:pt x="5877" y="10458"/>
                </a:lnTo>
                <a:lnTo>
                  <a:pt x="5857" y="10487"/>
                </a:lnTo>
                <a:lnTo>
                  <a:pt x="5835" y="10517"/>
                </a:lnTo>
                <a:lnTo>
                  <a:pt x="5813" y="10546"/>
                </a:lnTo>
                <a:lnTo>
                  <a:pt x="5789" y="10575"/>
                </a:lnTo>
                <a:lnTo>
                  <a:pt x="5766" y="10603"/>
                </a:lnTo>
                <a:lnTo>
                  <a:pt x="5740" y="10632"/>
                </a:lnTo>
                <a:lnTo>
                  <a:pt x="5715" y="10660"/>
                </a:lnTo>
                <a:lnTo>
                  <a:pt x="5688" y="10687"/>
                </a:lnTo>
                <a:lnTo>
                  <a:pt x="5661" y="10714"/>
                </a:lnTo>
                <a:lnTo>
                  <a:pt x="5633" y="10739"/>
                </a:lnTo>
                <a:lnTo>
                  <a:pt x="5606" y="10765"/>
                </a:lnTo>
                <a:lnTo>
                  <a:pt x="5576" y="10790"/>
                </a:lnTo>
                <a:lnTo>
                  <a:pt x="5546" y="10814"/>
                </a:lnTo>
                <a:lnTo>
                  <a:pt x="5516" y="10838"/>
                </a:lnTo>
                <a:lnTo>
                  <a:pt x="5486" y="10860"/>
                </a:lnTo>
                <a:lnTo>
                  <a:pt x="5455" y="10883"/>
                </a:lnTo>
                <a:lnTo>
                  <a:pt x="5422" y="10905"/>
                </a:lnTo>
                <a:lnTo>
                  <a:pt x="5390" y="10925"/>
                </a:lnTo>
                <a:lnTo>
                  <a:pt x="5357" y="10947"/>
                </a:lnTo>
                <a:lnTo>
                  <a:pt x="5323" y="10966"/>
                </a:lnTo>
                <a:lnTo>
                  <a:pt x="5288" y="10985"/>
                </a:lnTo>
                <a:lnTo>
                  <a:pt x="5253" y="11004"/>
                </a:lnTo>
                <a:lnTo>
                  <a:pt x="5218" y="11022"/>
                </a:lnTo>
                <a:lnTo>
                  <a:pt x="5182" y="11039"/>
                </a:lnTo>
                <a:lnTo>
                  <a:pt x="5145" y="11056"/>
                </a:lnTo>
                <a:lnTo>
                  <a:pt x="5108" y="11072"/>
                </a:lnTo>
                <a:lnTo>
                  <a:pt x="5069" y="11087"/>
                </a:lnTo>
                <a:lnTo>
                  <a:pt x="5031" y="11102"/>
                </a:lnTo>
                <a:lnTo>
                  <a:pt x="4992" y="11117"/>
                </a:lnTo>
                <a:lnTo>
                  <a:pt x="4952" y="11130"/>
                </a:lnTo>
                <a:lnTo>
                  <a:pt x="4911" y="11143"/>
                </a:lnTo>
                <a:lnTo>
                  <a:pt x="4871" y="11155"/>
                </a:lnTo>
                <a:lnTo>
                  <a:pt x="4828" y="11167"/>
                </a:lnTo>
                <a:lnTo>
                  <a:pt x="4787" y="11178"/>
                </a:lnTo>
                <a:lnTo>
                  <a:pt x="4743" y="11189"/>
                </a:lnTo>
                <a:lnTo>
                  <a:pt x="4701" y="11199"/>
                </a:lnTo>
                <a:lnTo>
                  <a:pt x="4656" y="11208"/>
                </a:lnTo>
                <a:lnTo>
                  <a:pt x="4612" y="11217"/>
                </a:lnTo>
                <a:lnTo>
                  <a:pt x="4567" y="11225"/>
                </a:lnTo>
                <a:lnTo>
                  <a:pt x="4567" y="16980"/>
                </a:lnTo>
                <a:lnTo>
                  <a:pt x="1510" y="16980"/>
                </a:lnTo>
                <a:lnTo>
                  <a:pt x="1510" y="11225"/>
                </a:lnTo>
                <a:lnTo>
                  <a:pt x="1424" y="11201"/>
                </a:lnTo>
                <a:lnTo>
                  <a:pt x="1340" y="11175"/>
                </a:lnTo>
                <a:lnTo>
                  <a:pt x="1298" y="11161"/>
                </a:lnTo>
                <a:lnTo>
                  <a:pt x="1258" y="11148"/>
                </a:lnTo>
                <a:lnTo>
                  <a:pt x="1218" y="11134"/>
                </a:lnTo>
                <a:lnTo>
                  <a:pt x="1178" y="11120"/>
                </a:lnTo>
                <a:lnTo>
                  <a:pt x="1139" y="11105"/>
                </a:lnTo>
                <a:lnTo>
                  <a:pt x="1101" y="11089"/>
                </a:lnTo>
                <a:lnTo>
                  <a:pt x="1064" y="11074"/>
                </a:lnTo>
                <a:lnTo>
                  <a:pt x="1026" y="11058"/>
                </a:lnTo>
                <a:lnTo>
                  <a:pt x="990" y="11042"/>
                </a:lnTo>
                <a:lnTo>
                  <a:pt x="954" y="11025"/>
                </a:lnTo>
                <a:lnTo>
                  <a:pt x="918" y="11009"/>
                </a:lnTo>
                <a:lnTo>
                  <a:pt x="884" y="10991"/>
                </a:lnTo>
                <a:lnTo>
                  <a:pt x="849" y="10974"/>
                </a:lnTo>
                <a:lnTo>
                  <a:pt x="816" y="10956"/>
                </a:lnTo>
                <a:lnTo>
                  <a:pt x="782" y="10938"/>
                </a:lnTo>
                <a:lnTo>
                  <a:pt x="750" y="10920"/>
                </a:lnTo>
                <a:lnTo>
                  <a:pt x="719" y="10901"/>
                </a:lnTo>
                <a:lnTo>
                  <a:pt x="687" y="10882"/>
                </a:lnTo>
                <a:lnTo>
                  <a:pt x="656" y="10862"/>
                </a:lnTo>
                <a:lnTo>
                  <a:pt x="626" y="10841"/>
                </a:lnTo>
                <a:lnTo>
                  <a:pt x="596" y="10821"/>
                </a:lnTo>
                <a:lnTo>
                  <a:pt x="567" y="10801"/>
                </a:lnTo>
                <a:lnTo>
                  <a:pt x="539" y="10780"/>
                </a:lnTo>
                <a:lnTo>
                  <a:pt x="510" y="10758"/>
                </a:lnTo>
                <a:lnTo>
                  <a:pt x="484" y="10736"/>
                </a:lnTo>
                <a:lnTo>
                  <a:pt x="456" y="10714"/>
                </a:lnTo>
                <a:lnTo>
                  <a:pt x="431" y="10691"/>
                </a:lnTo>
                <a:lnTo>
                  <a:pt x="405" y="10668"/>
                </a:lnTo>
                <a:lnTo>
                  <a:pt x="380" y="10646"/>
                </a:lnTo>
                <a:lnTo>
                  <a:pt x="355" y="10622"/>
                </a:lnTo>
                <a:lnTo>
                  <a:pt x="332" y="10599"/>
                </a:lnTo>
                <a:lnTo>
                  <a:pt x="310" y="10576"/>
                </a:lnTo>
                <a:lnTo>
                  <a:pt x="289" y="10551"/>
                </a:lnTo>
                <a:lnTo>
                  <a:pt x="267" y="10528"/>
                </a:lnTo>
                <a:lnTo>
                  <a:pt x="247" y="10503"/>
                </a:lnTo>
                <a:lnTo>
                  <a:pt x="228" y="10480"/>
                </a:lnTo>
                <a:lnTo>
                  <a:pt x="209" y="10455"/>
                </a:lnTo>
                <a:lnTo>
                  <a:pt x="191" y="10431"/>
                </a:lnTo>
                <a:lnTo>
                  <a:pt x="174" y="10407"/>
                </a:lnTo>
                <a:lnTo>
                  <a:pt x="158" y="10382"/>
                </a:lnTo>
                <a:lnTo>
                  <a:pt x="142" y="10357"/>
                </a:lnTo>
                <a:lnTo>
                  <a:pt x="128" y="10332"/>
                </a:lnTo>
                <a:lnTo>
                  <a:pt x="114" y="10307"/>
                </a:lnTo>
                <a:lnTo>
                  <a:pt x="101" y="10281"/>
                </a:lnTo>
                <a:lnTo>
                  <a:pt x="89" y="10256"/>
                </a:lnTo>
                <a:lnTo>
                  <a:pt x="77" y="10230"/>
                </a:lnTo>
                <a:lnTo>
                  <a:pt x="67" y="10205"/>
                </a:lnTo>
                <a:lnTo>
                  <a:pt x="57" y="10179"/>
                </a:lnTo>
                <a:lnTo>
                  <a:pt x="48" y="10153"/>
                </a:lnTo>
                <a:lnTo>
                  <a:pt x="39" y="10127"/>
                </a:lnTo>
                <a:lnTo>
                  <a:pt x="32" y="10100"/>
                </a:lnTo>
                <a:lnTo>
                  <a:pt x="25" y="10074"/>
                </a:lnTo>
                <a:lnTo>
                  <a:pt x="19" y="10047"/>
                </a:lnTo>
                <a:lnTo>
                  <a:pt x="14" y="10021"/>
                </a:lnTo>
                <a:lnTo>
                  <a:pt x="9" y="9994"/>
                </a:lnTo>
                <a:lnTo>
                  <a:pt x="6" y="9967"/>
                </a:lnTo>
                <a:lnTo>
                  <a:pt x="3" y="9940"/>
                </a:lnTo>
                <a:lnTo>
                  <a:pt x="1" y="9912"/>
                </a:lnTo>
                <a:lnTo>
                  <a:pt x="0" y="9885"/>
                </a:lnTo>
                <a:lnTo>
                  <a:pt x="0" y="9857"/>
                </a:lnTo>
                <a:lnTo>
                  <a:pt x="0" y="5509"/>
                </a:lnTo>
                <a:lnTo>
                  <a:pt x="1" y="5453"/>
                </a:lnTo>
                <a:lnTo>
                  <a:pt x="2" y="5398"/>
                </a:lnTo>
                <a:lnTo>
                  <a:pt x="5" y="5342"/>
                </a:lnTo>
                <a:lnTo>
                  <a:pt x="9" y="5288"/>
                </a:lnTo>
                <a:lnTo>
                  <a:pt x="15" y="5235"/>
                </a:lnTo>
                <a:lnTo>
                  <a:pt x="21" y="5182"/>
                </a:lnTo>
                <a:lnTo>
                  <a:pt x="28" y="5130"/>
                </a:lnTo>
                <a:lnTo>
                  <a:pt x="37" y="5079"/>
                </a:lnTo>
                <a:lnTo>
                  <a:pt x="47" y="5028"/>
                </a:lnTo>
                <a:lnTo>
                  <a:pt x="57" y="4978"/>
                </a:lnTo>
                <a:lnTo>
                  <a:pt x="70" y="4929"/>
                </a:lnTo>
                <a:lnTo>
                  <a:pt x="83" y="4880"/>
                </a:lnTo>
                <a:lnTo>
                  <a:pt x="97" y="4832"/>
                </a:lnTo>
                <a:lnTo>
                  <a:pt x="112" y="4785"/>
                </a:lnTo>
                <a:lnTo>
                  <a:pt x="129" y="4739"/>
                </a:lnTo>
                <a:lnTo>
                  <a:pt x="147" y="4693"/>
                </a:lnTo>
                <a:lnTo>
                  <a:pt x="166" y="4648"/>
                </a:lnTo>
                <a:lnTo>
                  <a:pt x="187" y="4604"/>
                </a:lnTo>
                <a:lnTo>
                  <a:pt x="208" y="4560"/>
                </a:lnTo>
                <a:lnTo>
                  <a:pt x="230" y="4518"/>
                </a:lnTo>
                <a:lnTo>
                  <a:pt x="255" y="4476"/>
                </a:lnTo>
                <a:lnTo>
                  <a:pt x="279" y="4435"/>
                </a:lnTo>
                <a:lnTo>
                  <a:pt x="306" y="4393"/>
                </a:lnTo>
                <a:lnTo>
                  <a:pt x="332" y="4354"/>
                </a:lnTo>
                <a:lnTo>
                  <a:pt x="361" y="4315"/>
                </a:lnTo>
                <a:lnTo>
                  <a:pt x="391" y="4275"/>
                </a:lnTo>
                <a:lnTo>
                  <a:pt x="421" y="4238"/>
                </a:lnTo>
                <a:lnTo>
                  <a:pt x="453" y="4201"/>
                </a:lnTo>
                <a:lnTo>
                  <a:pt x="486" y="4165"/>
                </a:lnTo>
                <a:lnTo>
                  <a:pt x="520" y="4129"/>
                </a:lnTo>
                <a:lnTo>
                  <a:pt x="556" y="4093"/>
                </a:lnTo>
                <a:lnTo>
                  <a:pt x="592" y="4059"/>
                </a:lnTo>
                <a:lnTo>
                  <a:pt x="629" y="4025"/>
                </a:lnTo>
                <a:lnTo>
                  <a:pt x="668" y="3994"/>
                </a:lnTo>
                <a:lnTo>
                  <a:pt x="707" y="3963"/>
                </a:lnTo>
                <a:lnTo>
                  <a:pt x="747" y="3933"/>
                </a:lnTo>
                <a:lnTo>
                  <a:pt x="789" y="3904"/>
                </a:lnTo>
                <a:lnTo>
                  <a:pt x="830" y="3876"/>
                </a:lnTo>
                <a:lnTo>
                  <a:pt x="873" y="3849"/>
                </a:lnTo>
                <a:lnTo>
                  <a:pt x="916" y="3823"/>
                </a:lnTo>
                <a:lnTo>
                  <a:pt x="961" y="3799"/>
                </a:lnTo>
                <a:lnTo>
                  <a:pt x="1005" y="3775"/>
                </a:lnTo>
                <a:lnTo>
                  <a:pt x="1052" y="3752"/>
                </a:lnTo>
                <a:lnTo>
                  <a:pt x="1099" y="3731"/>
                </a:lnTo>
                <a:lnTo>
                  <a:pt x="1146" y="3711"/>
                </a:lnTo>
                <a:lnTo>
                  <a:pt x="1194" y="3691"/>
                </a:lnTo>
                <a:lnTo>
                  <a:pt x="1244" y="3672"/>
                </a:lnTo>
                <a:lnTo>
                  <a:pt x="1294" y="3655"/>
                </a:lnTo>
                <a:lnTo>
                  <a:pt x="1345" y="3640"/>
                </a:lnTo>
                <a:lnTo>
                  <a:pt x="1397" y="3624"/>
                </a:lnTo>
                <a:lnTo>
                  <a:pt x="1450" y="3610"/>
                </a:lnTo>
                <a:lnTo>
                  <a:pt x="1503" y="3597"/>
                </a:lnTo>
                <a:lnTo>
                  <a:pt x="1558" y="3584"/>
                </a:lnTo>
                <a:lnTo>
                  <a:pt x="1614" y="3574"/>
                </a:lnTo>
                <a:lnTo>
                  <a:pt x="1670" y="3564"/>
                </a:lnTo>
                <a:lnTo>
                  <a:pt x="1726" y="3554"/>
                </a:lnTo>
                <a:lnTo>
                  <a:pt x="1785" y="3547"/>
                </a:lnTo>
                <a:lnTo>
                  <a:pt x="1843" y="3540"/>
                </a:lnTo>
                <a:lnTo>
                  <a:pt x="1902" y="3534"/>
                </a:lnTo>
                <a:lnTo>
                  <a:pt x="1963" y="3530"/>
                </a:lnTo>
                <a:lnTo>
                  <a:pt x="2024" y="3526"/>
                </a:lnTo>
                <a:lnTo>
                  <a:pt x="2086" y="3524"/>
                </a:lnTo>
                <a:lnTo>
                  <a:pt x="2149" y="3522"/>
                </a:lnTo>
                <a:lnTo>
                  <a:pt x="2212" y="3522"/>
                </a:lnTo>
                <a:lnTo>
                  <a:pt x="2218" y="3517"/>
                </a:lnTo>
                <a:lnTo>
                  <a:pt x="2224" y="3514"/>
                </a:lnTo>
                <a:lnTo>
                  <a:pt x="2230" y="3513"/>
                </a:lnTo>
                <a:lnTo>
                  <a:pt x="2237" y="3512"/>
                </a:lnTo>
                <a:lnTo>
                  <a:pt x="2243" y="3512"/>
                </a:lnTo>
                <a:lnTo>
                  <a:pt x="2251" y="3512"/>
                </a:lnTo>
                <a:lnTo>
                  <a:pt x="2261" y="3512"/>
                </a:lnTo>
                <a:lnTo>
                  <a:pt x="2274" y="3512"/>
                </a:lnTo>
                <a:lnTo>
                  <a:pt x="2312" y="3514"/>
                </a:lnTo>
                <a:lnTo>
                  <a:pt x="2353" y="3516"/>
                </a:lnTo>
                <a:lnTo>
                  <a:pt x="2393" y="3517"/>
                </a:lnTo>
                <a:lnTo>
                  <a:pt x="2435" y="3519"/>
                </a:lnTo>
                <a:lnTo>
                  <a:pt x="2479" y="3520"/>
                </a:lnTo>
                <a:lnTo>
                  <a:pt x="2522" y="3520"/>
                </a:lnTo>
                <a:lnTo>
                  <a:pt x="2568" y="3522"/>
                </a:lnTo>
                <a:lnTo>
                  <a:pt x="2615" y="3522"/>
                </a:lnTo>
                <a:lnTo>
                  <a:pt x="2616" y="3516"/>
                </a:lnTo>
                <a:lnTo>
                  <a:pt x="2617" y="3511"/>
                </a:lnTo>
                <a:lnTo>
                  <a:pt x="2620" y="3505"/>
                </a:lnTo>
                <a:lnTo>
                  <a:pt x="2623" y="3498"/>
                </a:lnTo>
                <a:lnTo>
                  <a:pt x="2634" y="3483"/>
                </a:lnTo>
                <a:lnTo>
                  <a:pt x="2649" y="3466"/>
                </a:lnTo>
                <a:lnTo>
                  <a:pt x="2663" y="3450"/>
                </a:lnTo>
                <a:lnTo>
                  <a:pt x="2674" y="3439"/>
                </a:lnTo>
                <a:lnTo>
                  <a:pt x="2678" y="3434"/>
                </a:lnTo>
                <a:lnTo>
                  <a:pt x="2683" y="3431"/>
                </a:lnTo>
                <a:lnTo>
                  <a:pt x="2686" y="3430"/>
                </a:lnTo>
                <a:lnTo>
                  <a:pt x="2688" y="3429"/>
                </a:lnTo>
                <a:lnTo>
                  <a:pt x="2651" y="3417"/>
                </a:lnTo>
                <a:lnTo>
                  <a:pt x="2614" y="3406"/>
                </a:lnTo>
                <a:lnTo>
                  <a:pt x="2578" y="3393"/>
                </a:lnTo>
                <a:lnTo>
                  <a:pt x="2542" y="3380"/>
                </a:lnTo>
                <a:lnTo>
                  <a:pt x="2506" y="3366"/>
                </a:lnTo>
                <a:lnTo>
                  <a:pt x="2471" y="3351"/>
                </a:lnTo>
                <a:lnTo>
                  <a:pt x="2436" y="3337"/>
                </a:lnTo>
                <a:lnTo>
                  <a:pt x="2402" y="3322"/>
                </a:lnTo>
                <a:lnTo>
                  <a:pt x="2368" y="3306"/>
                </a:lnTo>
                <a:lnTo>
                  <a:pt x="2336" y="3289"/>
                </a:lnTo>
                <a:lnTo>
                  <a:pt x="2303" y="3272"/>
                </a:lnTo>
                <a:lnTo>
                  <a:pt x="2271" y="3255"/>
                </a:lnTo>
                <a:lnTo>
                  <a:pt x="2239" y="3237"/>
                </a:lnTo>
                <a:lnTo>
                  <a:pt x="2208" y="3218"/>
                </a:lnTo>
                <a:lnTo>
                  <a:pt x="2177" y="3198"/>
                </a:lnTo>
                <a:lnTo>
                  <a:pt x="2147" y="3178"/>
                </a:lnTo>
                <a:lnTo>
                  <a:pt x="2117" y="3158"/>
                </a:lnTo>
                <a:lnTo>
                  <a:pt x="2087" y="3137"/>
                </a:lnTo>
                <a:lnTo>
                  <a:pt x="2058" y="3115"/>
                </a:lnTo>
                <a:lnTo>
                  <a:pt x="2030" y="3093"/>
                </a:lnTo>
                <a:lnTo>
                  <a:pt x="2002" y="3071"/>
                </a:lnTo>
                <a:lnTo>
                  <a:pt x="1975" y="3047"/>
                </a:lnTo>
                <a:lnTo>
                  <a:pt x="1948" y="3024"/>
                </a:lnTo>
                <a:lnTo>
                  <a:pt x="1921" y="3000"/>
                </a:lnTo>
                <a:lnTo>
                  <a:pt x="1895" y="2975"/>
                </a:lnTo>
                <a:lnTo>
                  <a:pt x="1869" y="2950"/>
                </a:lnTo>
                <a:lnTo>
                  <a:pt x="1844" y="2924"/>
                </a:lnTo>
                <a:lnTo>
                  <a:pt x="1820" y="2898"/>
                </a:lnTo>
                <a:lnTo>
                  <a:pt x="1795" y="2871"/>
                </a:lnTo>
                <a:lnTo>
                  <a:pt x="1771" y="2843"/>
                </a:lnTo>
                <a:lnTo>
                  <a:pt x="1747" y="2816"/>
                </a:lnTo>
                <a:lnTo>
                  <a:pt x="1725" y="2787"/>
                </a:lnTo>
                <a:lnTo>
                  <a:pt x="1703" y="2757"/>
                </a:lnTo>
                <a:lnTo>
                  <a:pt x="1682" y="2729"/>
                </a:lnTo>
                <a:lnTo>
                  <a:pt x="1660" y="2699"/>
                </a:lnTo>
                <a:lnTo>
                  <a:pt x="1640" y="2669"/>
                </a:lnTo>
                <a:lnTo>
                  <a:pt x="1621" y="2638"/>
                </a:lnTo>
                <a:lnTo>
                  <a:pt x="1603" y="2608"/>
                </a:lnTo>
                <a:lnTo>
                  <a:pt x="1585" y="2578"/>
                </a:lnTo>
                <a:lnTo>
                  <a:pt x="1568" y="2547"/>
                </a:lnTo>
                <a:lnTo>
                  <a:pt x="1551" y="2516"/>
                </a:lnTo>
                <a:lnTo>
                  <a:pt x="1535" y="2484"/>
                </a:lnTo>
                <a:lnTo>
                  <a:pt x="1520" y="2452"/>
                </a:lnTo>
                <a:lnTo>
                  <a:pt x="1506" y="2420"/>
                </a:lnTo>
                <a:lnTo>
                  <a:pt x="1493" y="2388"/>
                </a:lnTo>
                <a:lnTo>
                  <a:pt x="1479" y="2356"/>
                </a:lnTo>
                <a:lnTo>
                  <a:pt x="1467" y="2324"/>
                </a:lnTo>
                <a:lnTo>
                  <a:pt x="1455" y="2291"/>
                </a:lnTo>
                <a:lnTo>
                  <a:pt x="1445" y="2258"/>
                </a:lnTo>
                <a:lnTo>
                  <a:pt x="1434" y="2225"/>
                </a:lnTo>
                <a:lnTo>
                  <a:pt x="1425" y="2191"/>
                </a:lnTo>
                <a:lnTo>
                  <a:pt x="1416" y="2157"/>
                </a:lnTo>
                <a:lnTo>
                  <a:pt x="1408" y="2123"/>
                </a:lnTo>
                <a:lnTo>
                  <a:pt x="1400" y="2089"/>
                </a:lnTo>
                <a:lnTo>
                  <a:pt x="1394" y="2054"/>
                </a:lnTo>
                <a:lnTo>
                  <a:pt x="1389" y="2018"/>
                </a:lnTo>
                <a:lnTo>
                  <a:pt x="1383" y="1983"/>
                </a:lnTo>
                <a:lnTo>
                  <a:pt x="1378" y="1948"/>
                </a:lnTo>
                <a:lnTo>
                  <a:pt x="1375" y="1912"/>
                </a:lnTo>
                <a:lnTo>
                  <a:pt x="1372" y="1876"/>
                </a:lnTo>
                <a:lnTo>
                  <a:pt x="1368" y="1840"/>
                </a:lnTo>
                <a:lnTo>
                  <a:pt x="1367" y="1804"/>
                </a:lnTo>
                <a:lnTo>
                  <a:pt x="1366" y="1767"/>
                </a:lnTo>
                <a:lnTo>
                  <a:pt x="1365" y="1729"/>
                </a:lnTo>
                <a:lnTo>
                  <a:pt x="1366" y="1686"/>
                </a:lnTo>
                <a:lnTo>
                  <a:pt x="1367" y="1641"/>
                </a:lnTo>
                <a:lnTo>
                  <a:pt x="1370" y="1598"/>
                </a:lnTo>
                <a:lnTo>
                  <a:pt x="1374" y="1555"/>
                </a:lnTo>
                <a:lnTo>
                  <a:pt x="1378" y="1511"/>
                </a:lnTo>
                <a:lnTo>
                  <a:pt x="1383" y="1469"/>
                </a:lnTo>
                <a:lnTo>
                  <a:pt x="1390" y="1427"/>
                </a:lnTo>
                <a:lnTo>
                  <a:pt x="1397" y="1386"/>
                </a:lnTo>
                <a:lnTo>
                  <a:pt x="1405" y="1345"/>
                </a:lnTo>
                <a:lnTo>
                  <a:pt x="1415" y="1304"/>
                </a:lnTo>
                <a:lnTo>
                  <a:pt x="1426" y="1264"/>
                </a:lnTo>
                <a:lnTo>
                  <a:pt x="1437" y="1223"/>
                </a:lnTo>
                <a:lnTo>
                  <a:pt x="1449" y="1184"/>
                </a:lnTo>
                <a:lnTo>
                  <a:pt x="1463" y="1145"/>
                </a:lnTo>
                <a:lnTo>
                  <a:pt x="1477" y="1106"/>
                </a:lnTo>
                <a:lnTo>
                  <a:pt x="1493" y="1068"/>
                </a:lnTo>
                <a:lnTo>
                  <a:pt x="1508" y="1030"/>
                </a:lnTo>
                <a:lnTo>
                  <a:pt x="1527" y="993"/>
                </a:lnTo>
                <a:lnTo>
                  <a:pt x="1545" y="955"/>
                </a:lnTo>
                <a:lnTo>
                  <a:pt x="1564" y="919"/>
                </a:lnTo>
                <a:lnTo>
                  <a:pt x="1585" y="883"/>
                </a:lnTo>
                <a:lnTo>
                  <a:pt x="1606" y="847"/>
                </a:lnTo>
                <a:lnTo>
                  <a:pt x="1628" y="811"/>
                </a:lnTo>
                <a:lnTo>
                  <a:pt x="1652" y="776"/>
                </a:lnTo>
                <a:lnTo>
                  <a:pt x="1676" y="742"/>
                </a:lnTo>
                <a:lnTo>
                  <a:pt x="1702" y="708"/>
                </a:lnTo>
                <a:lnTo>
                  <a:pt x="1728" y="674"/>
                </a:lnTo>
                <a:lnTo>
                  <a:pt x="1756" y="640"/>
                </a:lnTo>
                <a:lnTo>
                  <a:pt x="1783" y="607"/>
                </a:lnTo>
                <a:lnTo>
                  <a:pt x="1813" y="574"/>
                </a:lnTo>
                <a:lnTo>
                  <a:pt x="1844" y="542"/>
                </a:lnTo>
                <a:lnTo>
                  <a:pt x="1875" y="510"/>
                </a:lnTo>
                <a:lnTo>
                  <a:pt x="1907" y="478"/>
                </a:lnTo>
                <a:lnTo>
                  <a:pt x="1940" y="448"/>
                </a:lnTo>
                <a:lnTo>
                  <a:pt x="1971" y="419"/>
                </a:lnTo>
                <a:lnTo>
                  <a:pt x="2005" y="390"/>
                </a:lnTo>
                <a:lnTo>
                  <a:pt x="2038" y="362"/>
                </a:lnTo>
                <a:lnTo>
                  <a:pt x="2072" y="336"/>
                </a:lnTo>
                <a:lnTo>
                  <a:pt x="2106" y="311"/>
                </a:lnTo>
                <a:lnTo>
                  <a:pt x="2141" y="287"/>
                </a:lnTo>
                <a:lnTo>
                  <a:pt x="2176" y="263"/>
                </a:lnTo>
                <a:lnTo>
                  <a:pt x="2211" y="240"/>
                </a:lnTo>
                <a:lnTo>
                  <a:pt x="2247" y="219"/>
                </a:lnTo>
                <a:lnTo>
                  <a:pt x="2284" y="199"/>
                </a:lnTo>
                <a:lnTo>
                  <a:pt x="2320" y="179"/>
                </a:lnTo>
                <a:lnTo>
                  <a:pt x="2357" y="160"/>
                </a:lnTo>
                <a:lnTo>
                  <a:pt x="2395" y="143"/>
                </a:lnTo>
                <a:lnTo>
                  <a:pt x="2432" y="127"/>
                </a:lnTo>
                <a:lnTo>
                  <a:pt x="2470" y="111"/>
                </a:lnTo>
                <a:lnTo>
                  <a:pt x="2510" y="98"/>
                </a:lnTo>
                <a:lnTo>
                  <a:pt x="2549" y="84"/>
                </a:lnTo>
                <a:lnTo>
                  <a:pt x="2588" y="71"/>
                </a:lnTo>
                <a:lnTo>
                  <a:pt x="2628" y="60"/>
                </a:lnTo>
                <a:lnTo>
                  <a:pt x="2668" y="50"/>
                </a:lnTo>
                <a:lnTo>
                  <a:pt x="2709" y="40"/>
                </a:lnTo>
                <a:lnTo>
                  <a:pt x="2750" y="32"/>
                </a:lnTo>
                <a:lnTo>
                  <a:pt x="2791" y="24"/>
                </a:lnTo>
                <a:lnTo>
                  <a:pt x="2833" y="18"/>
                </a:lnTo>
                <a:lnTo>
                  <a:pt x="2876" y="13"/>
                </a:lnTo>
                <a:lnTo>
                  <a:pt x="2918" y="7"/>
                </a:lnTo>
                <a:lnTo>
                  <a:pt x="2962" y="4"/>
                </a:lnTo>
                <a:lnTo>
                  <a:pt x="3005" y="2"/>
                </a:lnTo>
                <a:lnTo>
                  <a:pt x="3049" y="1"/>
                </a:lnTo>
                <a:lnTo>
                  <a:pt x="3094" y="0"/>
                </a:lnTo>
                <a:lnTo>
                  <a:pt x="3138" y="1"/>
                </a:lnTo>
                <a:lnTo>
                  <a:pt x="3183" y="2"/>
                </a:lnTo>
                <a:lnTo>
                  <a:pt x="3226" y="4"/>
                </a:lnTo>
                <a:lnTo>
                  <a:pt x="3270" y="7"/>
                </a:lnTo>
                <a:lnTo>
                  <a:pt x="3312" y="13"/>
                </a:lnTo>
                <a:lnTo>
                  <a:pt x="3356" y="18"/>
                </a:lnTo>
                <a:lnTo>
                  <a:pt x="3397" y="24"/>
                </a:lnTo>
                <a:lnTo>
                  <a:pt x="3440" y="32"/>
                </a:lnTo>
                <a:lnTo>
                  <a:pt x="3481" y="40"/>
                </a:lnTo>
                <a:lnTo>
                  <a:pt x="3521" y="50"/>
                </a:lnTo>
                <a:lnTo>
                  <a:pt x="3563" y="60"/>
                </a:lnTo>
                <a:lnTo>
                  <a:pt x="3602" y="71"/>
                </a:lnTo>
                <a:lnTo>
                  <a:pt x="3643" y="84"/>
                </a:lnTo>
                <a:lnTo>
                  <a:pt x="3682" y="98"/>
                </a:lnTo>
                <a:lnTo>
                  <a:pt x="3721" y="111"/>
                </a:lnTo>
                <a:lnTo>
                  <a:pt x="3759" y="127"/>
                </a:lnTo>
                <a:lnTo>
                  <a:pt x="3798" y="143"/>
                </a:lnTo>
                <a:lnTo>
                  <a:pt x="3835" y="160"/>
                </a:lnTo>
                <a:lnTo>
                  <a:pt x="3873" y="179"/>
                </a:lnTo>
                <a:lnTo>
                  <a:pt x="3909" y="199"/>
                </a:lnTo>
                <a:lnTo>
                  <a:pt x="3946" y="219"/>
                </a:lnTo>
                <a:lnTo>
                  <a:pt x="3982" y="240"/>
                </a:lnTo>
                <a:lnTo>
                  <a:pt x="4017" y="263"/>
                </a:lnTo>
                <a:lnTo>
                  <a:pt x="4053" y="287"/>
                </a:lnTo>
                <a:lnTo>
                  <a:pt x="4088" y="311"/>
                </a:lnTo>
                <a:lnTo>
                  <a:pt x="4122" y="336"/>
                </a:lnTo>
                <a:lnTo>
                  <a:pt x="4156" y="362"/>
                </a:lnTo>
                <a:lnTo>
                  <a:pt x="4190" y="390"/>
                </a:lnTo>
                <a:lnTo>
                  <a:pt x="4223" y="419"/>
                </a:lnTo>
                <a:lnTo>
                  <a:pt x="4256" y="448"/>
                </a:lnTo>
                <a:lnTo>
                  <a:pt x="4289" y="478"/>
                </a:lnTo>
                <a:lnTo>
                  <a:pt x="4321" y="510"/>
                </a:lnTo>
                <a:lnTo>
                  <a:pt x="4353" y="542"/>
                </a:lnTo>
                <a:lnTo>
                  <a:pt x="4383" y="574"/>
                </a:lnTo>
                <a:lnTo>
                  <a:pt x="4412" y="607"/>
                </a:lnTo>
                <a:lnTo>
                  <a:pt x="4440" y="640"/>
                </a:lnTo>
                <a:lnTo>
                  <a:pt x="4467" y="674"/>
                </a:lnTo>
                <a:lnTo>
                  <a:pt x="4493" y="708"/>
                </a:lnTo>
                <a:lnTo>
                  <a:pt x="4518" y="742"/>
                </a:lnTo>
                <a:lnTo>
                  <a:pt x="4543" y="776"/>
                </a:lnTo>
                <a:lnTo>
                  <a:pt x="4566" y="811"/>
                </a:lnTo>
                <a:lnTo>
                  <a:pt x="4588" y="847"/>
                </a:lnTo>
                <a:lnTo>
                  <a:pt x="4610" y="883"/>
                </a:lnTo>
                <a:lnTo>
                  <a:pt x="4630" y="919"/>
                </a:lnTo>
                <a:lnTo>
                  <a:pt x="4649" y="955"/>
                </a:lnTo>
                <a:lnTo>
                  <a:pt x="4667" y="993"/>
                </a:lnTo>
                <a:lnTo>
                  <a:pt x="4685" y="1030"/>
                </a:lnTo>
                <a:lnTo>
                  <a:pt x="4701" y="1068"/>
                </a:lnTo>
                <a:lnTo>
                  <a:pt x="4716" y="1106"/>
                </a:lnTo>
                <a:lnTo>
                  <a:pt x="4731" y="1145"/>
                </a:lnTo>
                <a:lnTo>
                  <a:pt x="4745" y="1184"/>
                </a:lnTo>
                <a:lnTo>
                  <a:pt x="4756" y="1223"/>
                </a:lnTo>
                <a:lnTo>
                  <a:pt x="4768" y="1264"/>
                </a:lnTo>
                <a:lnTo>
                  <a:pt x="4779" y="1304"/>
                </a:lnTo>
                <a:lnTo>
                  <a:pt x="4788" y="1345"/>
                </a:lnTo>
                <a:lnTo>
                  <a:pt x="4797" y="1386"/>
                </a:lnTo>
                <a:lnTo>
                  <a:pt x="4803" y="1427"/>
                </a:lnTo>
                <a:lnTo>
                  <a:pt x="4810" y="1469"/>
                </a:lnTo>
                <a:lnTo>
                  <a:pt x="4816" y="1511"/>
                </a:lnTo>
                <a:lnTo>
                  <a:pt x="4820" y="1555"/>
                </a:lnTo>
                <a:lnTo>
                  <a:pt x="4823" y="1598"/>
                </a:lnTo>
                <a:lnTo>
                  <a:pt x="4825" y="1641"/>
                </a:lnTo>
                <a:lnTo>
                  <a:pt x="4827" y="1686"/>
                </a:lnTo>
                <a:lnTo>
                  <a:pt x="4827" y="1729"/>
                </a:lnTo>
                <a:lnTo>
                  <a:pt x="4827" y="1768"/>
                </a:lnTo>
                <a:lnTo>
                  <a:pt x="4826" y="1806"/>
                </a:lnTo>
                <a:lnTo>
                  <a:pt x="4824" y="1843"/>
                </a:lnTo>
                <a:lnTo>
                  <a:pt x="4822" y="1880"/>
                </a:lnTo>
                <a:lnTo>
                  <a:pt x="4818" y="1917"/>
                </a:lnTo>
                <a:lnTo>
                  <a:pt x="4814" y="1954"/>
                </a:lnTo>
                <a:lnTo>
                  <a:pt x="4808" y="1990"/>
                </a:lnTo>
                <a:lnTo>
                  <a:pt x="4803" y="2027"/>
                </a:lnTo>
                <a:lnTo>
                  <a:pt x="4797" y="2062"/>
                </a:lnTo>
                <a:lnTo>
                  <a:pt x="4789" y="2098"/>
                </a:lnTo>
                <a:lnTo>
                  <a:pt x="4781" y="2134"/>
                </a:lnTo>
                <a:lnTo>
                  <a:pt x="4772" y="2169"/>
                </a:lnTo>
                <a:lnTo>
                  <a:pt x="4763" y="2204"/>
                </a:lnTo>
                <a:lnTo>
                  <a:pt x="4752" y="2240"/>
                </a:lnTo>
                <a:lnTo>
                  <a:pt x="4740" y="2274"/>
                </a:lnTo>
                <a:lnTo>
                  <a:pt x="4729" y="2308"/>
                </a:lnTo>
                <a:lnTo>
                  <a:pt x="4716" y="2342"/>
                </a:lnTo>
                <a:lnTo>
                  <a:pt x="4702" y="2376"/>
                </a:lnTo>
                <a:lnTo>
                  <a:pt x="4688" y="2410"/>
                </a:lnTo>
                <a:lnTo>
                  <a:pt x="4673" y="2443"/>
                </a:lnTo>
                <a:lnTo>
                  <a:pt x="4657" y="2476"/>
                </a:lnTo>
                <a:lnTo>
                  <a:pt x="4641" y="2508"/>
                </a:lnTo>
                <a:lnTo>
                  <a:pt x="4624" y="2541"/>
                </a:lnTo>
                <a:lnTo>
                  <a:pt x="4605" y="2573"/>
                </a:lnTo>
                <a:lnTo>
                  <a:pt x="4586" y="2606"/>
                </a:lnTo>
                <a:lnTo>
                  <a:pt x="4566" y="2638"/>
                </a:lnTo>
                <a:lnTo>
                  <a:pt x="4546" y="2669"/>
                </a:lnTo>
                <a:lnTo>
                  <a:pt x="4525" y="2701"/>
                </a:lnTo>
                <a:lnTo>
                  <a:pt x="4502" y="2732"/>
                </a:lnTo>
                <a:lnTo>
                  <a:pt x="4480" y="2763"/>
                </a:lnTo>
                <a:lnTo>
                  <a:pt x="4456" y="2793"/>
                </a:lnTo>
                <a:lnTo>
                  <a:pt x="4431" y="2824"/>
                </a:lnTo>
                <a:lnTo>
                  <a:pt x="4407" y="2853"/>
                </a:lnTo>
                <a:lnTo>
                  <a:pt x="4381" y="2883"/>
                </a:lnTo>
                <a:lnTo>
                  <a:pt x="4356" y="2910"/>
                </a:lnTo>
                <a:lnTo>
                  <a:pt x="4329" y="2938"/>
                </a:lnTo>
                <a:lnTo>
                  <a:pt x="4303" y="2965"/>
                </a:lnTo>
                <a:lnTo>
                  <a:pt x="4276" y="2991"/>
                </a:lnTo>
                <a:lnTo>
                  <a:pt x="4249" y="3017"/>
                </a:lnTo>
                <a:lnTo>
                  <a:pt x="4220" y="3041"/>
                </a:lnTo>
                <a:lnTo>
                  <a:pt x="4192" y="3066"/>
                </a:lnTo>
                <a:lnTo>
                  <a:pt x="4164" y="3089"/>
                </a:lnTo>
                <a:lnTo>
                  <a:pt x="4134" y="3112"/>
                </a:lnTo>
                <a:lnTo>
                  <a:pt x="4105" y="3134"/>
                </a:lnTo>
                <a:lnTo>
                  <a:pt x="4075" y="3155"/>
                </a:lnTo>
                <a:lnTo>
                  <a:pt x="4045" y="3176"/>
                </a:lnTo>
                <a:lnTo>
                  <a:pt x="4014" y="3196"/>
                </a:lnTo>
                <a:lnTo>
                  <a:pt x="3982" y="3215"/>
                </a:lnTo>
                <a:lnTo>
                  <a:pt x="3950" y="3233"/>
                </a:lnTo>
                <a:lnTo>
                  <a:pt x="3919" y="3252"/>
                </a:lnTo>
                <a:lnTo>
                  <a:pt x="3887" y="3269"/>
                </a:lnTo>
                <a:lnTo>
                  <a:pt x="3854" y="3286"/>
                </a:lnTo>
                <a:lnTo>
                  <a:pt x="3820" y="3301"/>
                </a:lnTo>
                <a:lnTo>
                  <a:pt x="3786" y="3316"/>
                </a:lnTo>
                <a:lnTo>
                  <a:pt x="3752" y="3331"/>
                </a:lnTo>
                <a:lnTo>
                  <a:pt x="3718" y="3344"/>
                </a:lnTo>
                <a:lnTo>
                  <a:pt x="3683" y="3358"/>
                </a:lnTo>
                <a:lnTo>
                  <a:pt x="3647" y="3370"/>
                </a:lnTo>
                <a:lnTo>
                  <a:pt x="3611" y="3381"/>
                </a:lnTo>
                <a:lnTo>
                  <a:pt x="3575" y="3393"/>
                </a:lnTo>
                <a:lnTo>
                  <a:pt x="3538" y="3402"/>
                </a:lnTo>
                <a:lnTo>
                  <a:pt x="3500" y="3412"/>
                </a:lnTo>
                <a:lnTo>
                  <a:pt x="3463" y="3421"/>
                </a:lnTo>
                <a:lnTo>
                  <a:pt x="3425" y="3429"/>
                </a:lnTo>
                <a:lnTo>
                  <a:pt x="3438" y="3443"/>
                </a:lnTo>
                <a:lnTo>
                  <a:pt x="3449" y="3456"/>
                </a:lnTo>
                <a:lnTo>
                  <a:pt x="3459" y="3468"/>
                </a:lnTo>
                <a:lnTo>
                  <a:pt x="3466" y="3480"/>
                </a:lnTo>
                <a:lnTo>
                  <a:pt x="3473" y="3491"/>
                </a:lnTo>
                <a:lnTo>
                  <a:pt x="3477" y="3501"/>
                </a:lnTo>
                <a:lnTo>
                  <a:pt x="3479" y="3512"/>
                </a:lnTo>
                <a:lnTo>
                  <a:pt x="3480" y="3522"/>
                </a:lnTo>
                <a:close/>
              </a:path>
            </a:pathLst>
          </a:custGeom>
          <a:solidFill>
            <a:schemeClr val="bg1">
              <a:lumMod val="75000"/>
            </a:schemeClr>
          </a:solidFill>
          <a:ln w="9525">
            <a:noFill/>
            <a:round/>
            <a:headEnd/>
            <a:tailEnd/>
          </a:ln>
        </p:spPr>
        <p:txBody>
          <a:bodyPr/>
          <a:lstStyle>
            <a:defPPr>
              <a:defRPr lang="en-US"/>
            </a:defPPr>
            <a:lvl1pPr marL="0" algn="l" defTabSz="1018824" rtl="0" eaLnBrk="1" latinLnBrk="0" hangingPunct="1">
              <a:defRPr sz="2000" kern="1200">
                <a:solidFill>
                  <a:schemeClr val="tx1"/>
                </a:solidFill>
                <a:latin typeface="+mn-lt"/>
                <a:ea typeface="+mn-ea"/>
                <a:cs typeface="+mn-cs"/>
              </a:defRPr>
            </a:lvl1pPr>
            <a:lvl2pPr marL="509412" algn="l" defTabSz="1018824" rtl="0" eaLnBrk="1" latinLnBrk="0" hangingPunct="1">
              <a:defRPr sz="2000" kern="1200">
                <a:solidFill>
                  <a:schemeClr val="tx1"/>
                </a:solidFill>
                <a:latin typeface="+mn-lt"/>
                <a:ea typeface="+mn-ea"/>
                <a:cs typeface="+mn-cs"/>
              </a:defRPr>
            </a:lvl2pPr>
            <a:lvl3pPr marL="1018824" algn="l" defTabSz="1018824" rtl="0" eaLnBrk="1" latinLnBrk="0" hangingPunct="1">
              <a:defRPr sz="2000" kern="1200">
                <a:solidFill>
                  <a:schemeClr val="tx1"/>
                </a:solidFill>
                <a:latin typeface="+mn-lt"/>
                <a:ea typeface="+mn-ea"/>
                <a:cs typeface="+mn-cs"/>
              </a:defRPr>
            </a:lvl3pPr>
            <a:lvl4pPr marL="1528237" algn="l" defTabSz="1018824" rtl="0" eaLnBrk="1" latinLnBrk="0" hangingPunct="1">
              <a:defRPr sz="2000" kern="1200">
                <a:solidFill>
                  <a:schemeClr val="tx1"/>
                </a:solidFill>
                <a:latin typeface="+mn-lt"/>
                <a:ea typeface="+mn-ea"/>
                <a:cs typeface="+mn-cs"/>
              </a:defRPr>
            </a:lvl4pPr>
            <a:lvl5pPr marL="2037649" algn="l" defTabSz="1018824" rtl="0" eaLnBrk="1" latinLnBrk="0" hangingPunct="1">
              <a:defRPr sz="2000" kern="1200">
                <a:solidFill>
                  <a:schemeClr val="tx1"/>
                </a:solidFill>
                <a:latin typeface="+mn-lt"/>
                <a:ea typeface="+mn-ea"/>
                <a:cs typeface="+mn-cs"/>
              </a:defRPr>
            </a:lvl5pPr>
            <a:lvl6pPr marL="2547061" algn="l" defTabSz="1018824" rtl="0" eaLnBrk="1" latinLnBrk="0" hangingPunct="1">
              <a:defRPr sz="2000" kern="1200">
                <a:solidFill>
                  <a:schemeClr val="tx1"/>
                </a:solidFill>
                <a:latin typeface="+mn-lt"/>
                <a:ea typeface="+mn-ea"/>
                <a:cs typeface="+mn-cs"/>
              </a:defRPr>
            </a:lvl6pPr>
            <a:lvl7pPr marL="3056473" algn="l" defTabSz="1018824" rtl="0" eaLnBrk="1" latinLnBrk="0" hangingPunct="1">
              <a:defRPr sz="2000" kern="1200">
                <a:solidFill>
                  <a:schemeClr val="tx1"/>
                </a:solidFill>
                <a:latin typeface="+mn-lt"/>
                <a:ea typeface="+mn-ea"/>
                <a:cs typeface="+mn-cs"/>
              </a:defRPr>
            </a:lvl7pPr>
            <a:lvl8pPr marL="3565886" algn="l" defTabSz="1018824" rtl="0" eaLnBrk="1" latinLnBrk="0" hangingPunct="1">
              <a:defRPr sz="2000" kern="1200">
                <a:solidFill>
                  <a:schemeClr val="tx1"/>
                </a:solidFill>
                <a:latin typeface="+mn-lt"/>
                <a:ea typeface="+mn-ea"/>
                <a:cs typeface="+mn-cs"/>
              </a:defRPr>
            </a:lvl8pPr>
            <a:lvl9pPr marL="4075298" algn="l" defTabSz="1018824" rtl="0" eaLnBrk="1" latinLnBrk="0" hangingPunct="1">
              <a:defRPr sz="2000" kern="1200">
                <a:solidFill>
                  <a:schemeClr val="tx1"/>
                </a:solidFill>
                <a:latin typeface="+mn-lt"/>
                <a:ea typeface="+mn-ea"/>
                <a:cs typeface="+mn-cs"/>
              </a:defRPr>
            </a:lvl9pPr>
          </a:lstStyle>
          <a:p>
            <a:pPr marL="0" marR="0" lvl="0" indent="0" algn="l" defTabSz="1018824" rtl="0" eaLnBrk="1" fontAlgn="auto" latinLnBrk="0" hangingPunct="1">
              <a:lnSpc>
                <a:spcPct val="100000"/>
              </a:lnSpc>
              <a:spcBef>
                <a:spcPts val="0"/>
              </a:spcBef>
              <a:spcAft>
                <a:spcPts val="0"/>
              </a:spcAft>
              <a:buClrTx/>
              <a:buSzTx/>
              <a:buFontTx/>
              <a:buNone/>
              <a:tabLst/>
              <a:defRPr/>
            </a:pPr>
            <a:endParaRPr kumimoji="0" lang="en-GB" sz="1589"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4" name="Freeform 15">
            <a:extLst>
              <a:ext uri="{FF2B5EF4-FFF2-40B4-BE49-F238E27FC236}">
                <a16:creationId xmlns:a16="http://schemas.microsoft.com/office/drawing/2014/main" id="{389A293E-3F8D-4063-B22B-2AA2CB1FD6C8}"/>
              </a:ext>
            </a:extLst>
          </p:cNvPr>
          <p:cNvSpPr>
            <a:spLocks/>
          </p:cNvSpPr>
          <p:nvPr/>
        </p:nvSpPr>
        <p:spPr bwMode="auto">
          <a:xfrm>
            <a:off x="9134513" y="4857075"/>
            <a:ext cx="197037" cy="470851"/>
          </a:xfrm>
          <a:custGeom>
            <a:avLst/>
            <a:gdLst>
              <a:gd name="T0" fmla="*/ 13344091 w 6132"/>
              <a:gd name="T1" fmla="*/ 10441401 h 16980"/>
              <a:gd name="T2" fmla="*/ 14439013 w 6132"/>
              <a:gd name="T3" fmla="*/ 10808942 h 16980"/>
              <a:gd name="T4" fmla="*/ 15478309 w 6132"/>
              <a:gd name="T5" fmla="*/ 11467619 h 16980"/>
              <a:gd name="T6" fmla="*/ 16450295 w 6132"/>
              <a:gd name="T7" fmla="*/ 12408541 h 16980"/>
              <a:gd name="T8" fmla="*/ 17214401 w 6132"/>
              <a:gd name="T9" fmla="*/ 13481773 h 16980"/>
              <a:gd name="T10" fmla="*/ 17709159 w 6132"/>
              <a:gd name="T11" fmla="*/ 14605004 h 16980"/>
              <a:gd name="T12" fmla="*/ 17937493 w 6132"/>
              <a:gd name="T13" fmla="*/ 15789994 h 16980"/>
              <a:gd name="T14" fmla="*/ 17922884 w 6132"/>
              <a:gd name="T15" fmla="*/ 28795453 h 16980"/>
              <a:gd name="T16" fmla="*/ 17720901 w 6132"/>
              <a:gd name="T17" fmla="*/ 29724608 h 16980"/>
              <a:gd name="T18" fmla="*/ 17322724 w 6132"/>
              <a:gd name="T19" fmla="*/ 30571448 h 16980"/>
              <a:gd name="T20" fmla="*/ 16731329 w 6132"/>
              <a:gd name="T21" fmla="*/ 31344758 h 16980"/>
              <a:gd name="T22" fmla="*/ 15970146 w 6132"/>
              <a:gd name="T23" fmla="*/ 32000508 h 16980"/>
              <a:gd name="T24" fmla="*/ 15062602 w 6132"/>
              <a:gd name="T25" fmla="*/ 32509198 h 16980"/>
              <a:gd name="T26" fmla="*/ 14014483 w 6132"/>
              <a:gd name="T27" fmla="*/ 32867899 h 16980"/>
              <a:gd name="T28" fmla="*/ 4168927 w 6132"/>
              <a:gd name="T29" fmla="*/ 32935519 h 16980"/>
              <a:gd name="T30" fmla="*/ 3003722 w 6132"/>
              <a:gd name="T31" fmla="*/ 32515054 h 16980"/>
              <a:gd name="T32" fmla="*/ 2104943 w 6132"/>
              <a:gd name="T33" fmla="*/ 32053432 h 16980"/>
              <a:gd name="T34" fmla="*/ 1334994 w 6132"/>
              <a:gd name="T35" fmla="*/ 31503585 h 16980"/>
              <a:gd name="T36" fmla="*/ 723146 w 6132"/>
              <a:gd name="T37" fmla="*/ 30883136 h 16980"/>
              <a:gd name="T38" fmla="*/ 295697 w 6132"/>
              <a:gd name="T39" fmla="*/ 30230369 h 16980"/>
              <a:gd name="T40" fmla="*/ 55622 w 6132"/>
              <a:gd name="T41" fmla="*/ 29542302 h 16980"/>
              <a:gd name="T42" fmla="*/ 2922 w 6132"/>
              <a:gd name="T43" fmla="*/ 16034064 h 16980"/>
              <a:gd name="T44" fmla="*/ 166867 w 6132"/>
              <a:gd name="T45" fmla="*/ 14637376 h 16980"/>
              <a:gd name="T46" fmla="*/ 608925 w 6132"/>
              <a:gd name="T47" fmla="*/ 13408297 h 16980"/>
              <a:gd name="T48" fmla="*/ 1326228 w 6132"/>
              <a:gd name="T49" fmla="*/ 12352689 h 16980"/>
              <a:gd name="T50" fmla="*/ 2309902 w 6132"/>
              <a:gd name="T51" fmla="*/ 11479386 h 16980"/>
              <a:gd name="T52" fmla="*/ 3495559 w 6132"/>
              <a:gd name="T53" fmla="*/ 10853081 h 16980"/>
              <a:gd name="T54" fmla="*/ 4889097 w 6132"/>
              <a:gd name="T55" fmla="*/ 10479630 h 16980"/>
              <a:gd name="T56" fmla="*/ 6475906 w 6132"/>
              <a:gd name="T57" fmla="*/ 10356104 h 16980"/>
              <a:gd name="T58" fmla="*/ 6768627 w 6132"/>
              <a:gd name="T59" fmla="*/ 10332625 h 16980"/>
              <a:gd name="T60" fmla="*/ 7661564 w 6132"/>
              <a:gd name="T61" fmla="*/ 10323786 h 16980"/>
              <a:gd name="T62" fmla="*/ 7863602 w 6132"/>
              <a:gd name="T63" fmla="*/ 10085627 h 16980"/>
              <a:gd name="T64" fmla="*/ 7032131 w 6132"/>
              <a:gd name="T65" fmla="*/ 9768029 h 16980"/>
              <a:gd name="T66" fmla="*/ 6197794 w 6132"/>
              <a:gd name="T67" fmla="*/ 9285801 h 16980"/>
              <a:gd name="T68" fmla="*/ 5471726 w 6132"/>
              <a:gd name="T69" fmla="*/ 8674191 h 16980"/>
              <a:gd name="T70" fmla="*/ 4859825 w 6132"/>
              <a:gd name="T71" fmla="*/ 7936181 h 16980"/>
              <a:gd name="T72" fmla="*/ 4409002 w 6132"/>
              <a:gd name="T73" fmla="*/ 7115803 h 16980"/>
              <a:gd name="T74" fmla="*/ 4122070 w 6132"/>
              <a:gd name="T75" fmla="*/ 6242499 h 16980"/>
              <a:gd name="T76" fmla="*/ 4002059 w 6132"/>
              <a:gd name="T77" fmla="*/ 5304506 h 16980"/>
              <a:gd name="T78" fmla="*/ 4069369 w 6132"/>
              <a:gd name="T79" fmla="*/ 4195974 h 16980"/>
              <a:gd name="T80" fmla="*/ 4370910 w 6132"/>
              <a:gd name="T81" fmla="*/ 3140364 h 16980"/>
              <a:gd name="T82" fmla="*/ 4906682 w 6132"/>
              <a:gd name="T83" fmla="*/ 2181765 h 16980"/>
              <a:gd name="T84" fmla="*/ 5679553 w 6132"/>
              <a:gd name="T85" fmla="*/ 1317301 h 16980"/>
              <a:gd name="T86" fmla="*/ 6578332 w 6132"/>
              <a:gd name="T87" fmla="*/ 643928 h 16980"/>
              <a:gd name="T88" fmla="*/ 7576670 w 6132"/>
              <a:gd name="T89" fmla="*/ 208768 h 16980"/>
              <a:gd name="T90" fmla="*/ 8671588 w 6132"/>
              <a:gd name="T91" fmla="*/ 11767 h 16980"/>
              <a:gd name="T92" fmla="*/ 9825105 w 6132"/>
              <a:gd name="T93" fmla="*/ 52924 h 16980"/>
              <a:gd name="T94" fmla="*/ 10893673 w 6132"/>
              <a:gd name="T95" fmla="*/ 326384 h 16980"/>
              <a:gd name="T96" fmla="*/ 11865659 w 6132"/>
              <a:gd name="T97" fmla="*/ 843912 h 16980"/>
              <a:gd name="T98" fmla="*/ 12743931 w 6132"/>
              <a:gd name="T99" fmla="*/ 1593689 h 16980"/>
              <a:gd name="T100" fmla="*/ 13431908 w 6132"/>
              <a:gd name="T101" fmla="*/ 2490525 h 16980"/>
              <a:gd name="T102" fmla="*/ 13891551 w 6132"/>
              <a:gd name="T103" fmla="*/ 3481443 h 16980"/>
              <a:gd name="T104" fmla="*/ 14111119 w 6132"/>
              <a:gd name="T105" fmla="*/ 4572353 h 16980"/>
              <a:gd name="T106" fmla="*/ 14105275 w 6132"/>
              <a:gd name="T107" fmla="*/ 5636746 h 16980"/>
              <a:gd name="T108" fmla="*/ 13912057 w 6132"/>
              <a:gd name="T109" fmla="*/ 6586506 h 16980"/>
              <a:gd name="T110" fmla="*/ 13537309 w 6132"/>
              <a:gd name="T111" fmla="*/ 7471577 h 16980"/>
              <a:gd name="T112" fmla="*/ 12972265 w 6132"/>
              <a:gd name="T113" fmla="*/ 8303722 h 16980"/>
              <a:gd name="T114" fmla="*/ 12272601 w 6132"/>
              <a:gd name="T115" fmla="*/ 9015324 h 16980"/>
              <a:gd name="T116" fmla="*/ 11473326 w 6132"/>
              <a:gd name="T117" fmla="*/ 9562188 h 16980"/>
              <a:gd name="T118" fmla="*/ 10571626 w 6132"/>
              <a:gd name="T119" fmla="*/ 9941550 h 16980"/>
              <a:gd name="T120" fmla="*/ 10147098 w 6132"/>
              <a:gd name="T121" fmla="*/ 10232633 h 1698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6132"/>
              <a:gd name="T184" fmla="*/ 0 h 16980"/>
              <a:gd name="T185" fmla="*/ 6132 w 6132"/>
              <a:gd name="T186" fmla="*/ 16980 h 16980"/>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6132" h="16980">
                <a:moveTo>
                  <a:pt x="3480" y="3522"/>
                </a:moveTo>
                <a:lnTo>
                  <a:pt x="4254" y="3522"/>
                </a:lnTo>
                <a:lnTo>
                  <a:pt x="4298" y="3522"/>
                </a:lnTo>
                <a:lnTo>
                  <a:pt x="4342" y="3524"/>
                </a:lnTo>
                <a:lnTo>
                  <a:pt x="4386" y="3527"/>
                </a:lnTo>
                <a:lnTo>
                  <a:pt x="4429" y="3531"/>
                </a:lnTo>
                <a:lnTo>
                  <a:pt x="4473" y="3536"/>
                </a:lnTo>
                <a:lnTo>
                  <a:pt x="4515" y="3543"/>
                </a:lnTo>
                <a:lnTo>
                  <a:pt x="4558" y="3551"/>
                </a:lnTo>
                <a:lnTo>
                  <a:pt x="4601" y="3560"/>
                </a:lnTo>
                <a:lnTo>
                  <a:pt x="4643" y="3570"/>
                </a:lnTo>
                <a:lnTo>
                  <a:pt x="4685" y="3582"/>
                </a:lnTo>
                <a:lnTo>
                  <a:pt x="4727" y="3595"/>
                </a:lnTo>
                <a:lnTo>
                  <a:pt x="4769" y="3609"/>
                </a:lnTo>
                <a:lnTo>
                  <a:pt x="4809" y="3624"/>
                </a:lnTo>
                <a:lnTo>
                  <a:pt x="4851" y="3640"/>
                </a:lnTo>
                <a:lnTo>
                  <a:pt x="4892" y="3658"/>
                </a:lnTo>
                <a:lnTo>
                  <a:pt x="4932" y="3676"/>
                </a:lnTo>
                <a:lnTo>
                  <a:pt x="4973" y="3696"/>
                </a:lnTo>
                <a:lnTo>
                  <a:pt x="5013" y="3717"/>
                </a:lnTo>
                <a:lnTo>
                  <a:pt x="5052" y="3739"/>
                </a:lnTo>
                <a:lnTo>
                  <a:pt x="5093" y="3763"/>
                </a:lnTo>
                <a:lnTo>
                  <a:pt x="5132" y="3788"/>
                </a:lnTo>
                <a:lnTo>
                  <a:pt x="5171" y="3814"/>
                </a:lnTo>
                <a:lnTo>
                  <a:pt x="5210" y="3842"/>
                </a:lnTo>
                <a:lnTo>
                  <a:pt x="5249" y="3870"/>
                </a:lnTo>
                <a:lnTo>
                  <a:pt x="5287" y="3900"/>
                </a:lnTo>
                <a:lnTo>
                  <a:pt x="5325" y="3931"/>
                </a:lnTo>
                <a:lnTo>
                  <a:pt x="5364" y="3963"/>
                </a:lnTo>
                <a:lnTo>
                  <a:pt x="5401" y="3997"/>
                </a:lnTo>
                <a:lnTo>
                  <a:pt x="5438" y="4031"/>
                </a:lnTo>
                <a:lnTo>
                  <a:pt x="5475" y="4067"/>
                </a:lnTo>
                <a:lnTo>
                  <a:pt x="5512" y="4104"/>
                </a:lnTo>
                <a:lnTo>
                  <a:pt x="5549" y="4142"/>
                </a:lnTo>
                <a:lnTo>
                  <a:pt x="5584" y="4181"/>
                </a:lnTo>
                <a:lnTo>
                  <a:pt x="5619" y="4220"/>
                </a:lnTo>
                <a:lnTo>
                  <a:pt x="5652" y="4260"/>
                </a:lnTo>
                <a:lnTo>
                  <a:pt x="5685" y="4300"/>
                </a:lnTo>
                <a:lnTo>
                  <a:pt x="5716" y="4339"/>
                </a:lnTo>
                <a:lnTo>
                  <a:pt x="5747" y="4379"/>
                </a:lnTo>
                <a:lnTo>
                  <a:pt x="5775" y="4420"/>
                </a:lnTo>
                <a:lnTo>
                  <a:pt x="5803" y="4460"/>
                </a:lnTo>
                <a:lnTo>
                  <a:pt x="5830" y="4502"/>
                </a:lnTo>
                <a:lnTo>
                  <a:pt x="5855" y="4543"/>
                </a:lnTo>
                <a:lnTo>
                  <a:pt x="5880" y="4585"/>
                </a:lnTo>
                <a:lnTo>
                  <a:pt x="5904" y="4626"/>
                </a:lnTo>
                <a:lnTo>
                  <a:pt x="5925" y="4667"/>
                </a:lnTo>
                <a:lnTo>
                  <a:pt x="5946" y="4710"/>
                </a:lnTo>
                <a:lnTo>
                  <a:pt x="5967" y="4752"/>
                </a:lnTo>
                <a:lnTo>
                  <a:pt x="5986" y="4795"/>
                </a:lnTo>
                <a:lnTo>
                  <a:pt x="6004" y="4838"/>
                </a:lnTo>
                <a:lnTo>
                  <a:pt x="6020" y="4880"/>
                </a:lnTo>
                <a:lnTo>
                  <a:pt x="6036" y="4924"/>
                </a:lnTo>
                <a:lnTo>
                  <a:pt x="6049" y="4967"/>
                </a:lnTo>
                <a:lnTo>
                  <a:pt x="6063" y="5011"/>
                </a:lnTo>
                <a:lnTo>
                  <a:pt x="6075" y="5055"/>
                </a:lnTo>
                <a:lnTo>
                  <a:pt x="6085" y="5100"/>
                </a:lnTo>
                <a:lnTo>
                  <a:pt x="6095" y="5144"/>
                </a:lnTo>
                <a:lnTo>
                  <a:pt x="6104" y="5189"/>
                </a:lnTo>
                <a:lnTo>
                  <a:pt x="6111" y="5234"/>
                </a:lnTo>
                <a:lnTo>
                  <a:pt x="6117" y="5280"/>
                </a:lnTo>
                <a:lnTo>
                  <a:pt x="6123" y="5324"/>
                </a:lnTo>
                <a:lnTo>
                  <a:pt x="6127" y="5370"/>
                </a:lnTo>
                <a:lnTo>
                  <a:pt x="6130" y="5417"/>
                </a:lnTo>
                <a:lnTo>
                  <a:pt x="6131" y="5463"/>
                </a:lnTo>
                <a:lnTo>
                  <a:pt x="6132" y="5509"/>
                </a:lnTo>
                <a:lnTo>
                  <a:pt x="6132" y="9605"/>
                </a:lnTo>
                <a:lnTo>
                  <a:pt x="6132" y="9643"/>
                </a:lnTo>
                <a:lnTo>
                  <a:pt x="6130" y="9682"/>
                </a:lnTo>
                <a:lnTo>
                  <a:pt x="6129" y="9719"/>
                </a:lnTo>
                <a:lnTo>
                  <a:pt x="6126" y="9756"/>
                </a:lnTo>
                <a:lnTo>
                  <a:pt x="6122" y="9793"/>
                </a:lnTo>
                <a:lnTo>
                  <a:pt x="6117" y="9829"/>
                </a:lnTo>
                <a:lnTo>
                  <a:pt x="6112" y="9866"/>
                </a:lnTo>
                <a:lnTo>
                  <a:pt x="6107" y="9901"/>
                </a:lnTo>
                <a:lnTo>
                  <a:pt x="6099" y="9937"/>
                </a:lnTo>
                <a:lnTo>
                  <a:pt x="6092" y="9972"/>
                </a:lnTo>
                <a:lnTo>
                  <a:pt x="6083" y="10007"/>
                </a:lnTo>
                <a:lnTo>
                  <a:pt x="6074" y="10041"/>
                </a:lnTo>
                <a:lnTo>
                  <a:pt x="6063" y="10075"/>
                </a:lnTo>
                <a:lnTo>
                  <a:pt x="6053" y="10109"/>
                </a:lnTo>
                <a:lnTo>
                  <a:pt x="6041" y="10142"/>
                </a:lnTo>
                <a:lnTo>
                  <a:pt x="6028" y="10175"/>
                </a:lnTo>
                <a:lnTo>
                  <a:pt x="6014" y="10208"/>
                </a:lnTo>
                <a:lnTo>
                  <a:pt x="6001" y="10241"/>
                </a:lnTo>
                <a:lnTo>
                  <a:pt x="5986" y="10273"/>
                </a:lnTo>
                <a:lnTo>
                  <a:pt x="5970" y="10305"/>
                </a:lnTo>
                <a:lnTo>
                  <a:pt x="5953" y="10335"/>
                </a:lnTo>
                <a:lnTo>
                  <a:pt x="5935" y="10366"/>
                </a:lnTo>
                <a:lnTo>
                  <a:pt x="5917" y="10397"/>
                </a:lnTo>
                <a:lnTo>
                  <a:pt x="5898" y="10428"/>
                </a:lnTo>
                <a:lnTo>
                  <a:pt x="5877" y="10458"/>
                </a:lnTo>
                <a:lnTo>
                  <a:pt x="5857" y="10487"/>
                </a:lnTo>
                <a:lnTo>
                  <a:pt x="5835" y="10517"/>
                </a:lnTo>
                <a:lnTo>
                  <a:pt x="5813" y="10546"/>
                </a:lnTo>
                <a:lnTo>
                  <a:pt x="5789" y="10575"/>
                </a:lnTo>
                <a:lnTo>
                  <a:pt x="5766" y="10603"/>
                </a:lnTo>
                <a:lnTo>
                  <a:pt x="5740" y="10632"/>
                </a:lnTo>
                <a:lnTo>
                  <a:pt x="5715" y="10660"/>
                </a:lnTo>
                <a:lnTo>
                  <a:pt x="5688" y="10687"/>
                </a:lnTo>
                <a:lnTo>
                  <a:pt x="5661" y="10714"/>
                </a:lnTo>
                <a:lnTo>
                  <a:pt x="5633" y="10739"/>
                </a:lnTo>
                <a:lnTo>
                  <a:pt x="5606" y="10765"/>
                </a:lnTo>
                <a:lnTo>
                  <a:pt x="5576" y="10790"/>
                </a:lnTo>
                <a:lnTo>
                  <a:pt x="5546" y="10814"/>
                </a:lnTo>
                <a:lnTo>
                  <a:pt x="5516" y="10838"/>
                </a:lnTo>
                <a:lnTo>
                  <a:pt x="5486" y="10860"/>
                </a:lnTo>
                <a:lnTo>
                  <a:pt x="5455" y="10883"/>
                </a:lnTo>
                <a:lnTo>
                  <a:pt x="5422" y="10905"/>
                </a:lnTo>
                <a:lnTo>
                  <a:pt x="5390" y="10925"/>
                </a:lnTo>
                <a:lnTo>
                  <a:pt x="5357" y="10947"/>
                </a:lnTo>
                <a:lnTo>
                  <a:pt x="5323" y="10966"/>
                </a:lnTo>
                <a:lnTo>
                  <a:pt x="5288" y="10985"/>
                </a:lnTo>
                <a:lnTo>
                  <a:pt x="5253" y="11004"/>
                </a:lnTo>
                <a:lnTo>
                  <a:pt x="5218" y="11022"/>
                </a:lnTo>
                <a:lnTo>
                  <a:pt x="5182" y="11039"/>
                </a:lnTo>
                <a:lnTo>
                  <a:pt x="5145" y="11056"/>
                </a:lnTo>
                <a:lnTo>
                  <a:pt x="5108" y="11072"/>
                </a:lnTo>
                <a:lnTo>
                  <a:pt x="5069" y="11087"/>
                </a:lnTo>
                <a:lnTo>
                  <a:pt x="5031" y="11102"/>
                </a:lnTo>
                <a:lnTo>
                  <a:pt x="4992" y="11117"/>
                </a:lnTo>
                <a:lnTo>
                  <a:pt x="4952" y="11130"/>
                </a:lnTo>
                <a:lnTo>
                  <a:pt x="4911" y="11143"/>
                </a:lnTo>
                <a:lnTo>
                  <a:pt x="4871" y="11155"/>
                </a:lnTo>
                <a:lnTo>
                  <a:pt x="4828" y="11167"/>
                </a:lnTo>
                <a:lnTo>
                  <a:pt x="4787" y="11178"/>
                </a:lnTo>
                <a:lnTo>
                  <a:pt x="4743" y="11189"/>
                </a:lnTo>
                <a:lnTo>
                  <a:pt x="4701" y="11199"/>
                </a:lnTo>
                <a:lnTo>
                  <a:pt x="4656" y="11208"/>
                </a:lnTo>
                <a:lnTo>
                  <a:pt x="4612" y="11217"/>
                </a:lnTo>
                <a:lnTo>
                  <a:pt x="4567" y="11225"/>
                </a:lnTo>
                <a:lnTo>
                  <a:pt x="4567" y="16980"/>
                </a:lnTo>
                <a:lnTo>
                  <a:pt x="1510" y="16980"/>
                </a:lnTo>
                <a:lnTo>
                  <a:pt x="1510" y="11225"/>
                </a:lnTo>
                <a:lnTo>
                  <a:pt x="1424" y="11201"/>
                </a:lnTo>
                <a:lnTo>
                  <a:pt x="1340" y="11175"/>
                </a:lnTo>
                <a:lnTo>
                  <a:pt x="1298" y="11161"/>
                </a:lnTo>
                <a:lnTo>
                  <a:pt x="1258" y="11148"/>
                </a:lnTo>
                <a:lnTo>
                  <a:pt x="1218" y="11134"/>
                </a:lnTo>
                <a:lnTo>
                  <a:pt x="1178" y="11120"/>
                </a:lnTo>
                <a:lnTo>
                  <a:pt x="1139" y="11105"/>
                </a:lnTo>
                <a:lnTo>
                  <a:pt x="1101" y="11089"/>
                </a:lnTo>
                <a:lnTo>
                  <a:pt x="1064" y="11074"/>
                </a:lnTo>
                <a:lnTo>
                  <a:pt x="1026" y="11058"/>
                </a:lnTo>
                <a:lnTo>
                  <a:pt x="990" y="11042"/>
                </a:lnTo>
                <a:lnTo>
                  <a:pt x="954" y="11025"/>
                </a:lnTo>
                <a:lnTo>
                  <a:pt x="918" y="11009"/>
                </a:lnTo>
                <a:lnTo>
                  <a:pt x="884" y="10991"/>
                </a:lnTo>
                <a:lnTo>
                  <a:pt x="849" y="10974"/>
                </a:lnTo>
                <a:lnTo>
                  <a:pt x="816" y="10956"/>
                </a:lnTo>
                <a:lnTo>
                  <a:pt x="782" y="10938"/>
                </a:lnTo>
                <a:lnTo>
                  <a:pt x="750" y="10920"/>
                </a:lnTo>
                <a:lnTo>
                  <a:pt x="719" y="10901"/>
                </a:lnTo>
                <a:lnTo>
                  <a:pt x="687" y="10882"/>
                </a:lnTo>
                <a:lnTo>
                  <a:pt x="656" y="10862"/>
                </a:lnTo>
                <a:lnTo>
                  <a:pt x="626" y="10841"/>
                </a:lnTo>
                <a:lnTo>
                  <a:pt x="596" y="10821"/>
                </a:lnTo>
                <a:lnTo>
                  <a:pt x="567" y="10801"/>
                </a:lnTo>
                <a:lnTo>
                  <a:pt x="539" y="10780"/>
                </a:lnTo>
                <a:lnTo>
                  <a:pt x="510" y="10758"/>
                </a:lnTo>
                <a:lnTo>
                  <a:pt x="484" y="10736"/>
                </a:lnTo>
                <a:lnTo>
                  <a:pt x="456" y="10714"/>
                </a:lnTo>
                <a:lnTo>
                  <a:pt x="431" y="10691"/>
                </a:lnTo>
                <a:lnTo>
                  <a:pt x="405" y="10668"/>
                </a:lnTo>
                <a:lnTo>
                  <a:pt x="380" y="10646"/>
                </a:lnTo>
                <a:lnTo>
                  <a:pt x="355" y="10622"/>
                </a:lnTo>
                <a:lnTo>
                  <a:pt x="332" y="10599"/>
                </a:lnTo>
                <a:lnTo>
                  <a:pt x="310" y="10576"/>
                </a:lnTo>
                <a:lnTo>
                  <a:pt x="289" y="10551"/>
                </a:lnTo>
                <a:lnTo>
                  <a:pt x="267" y="10528"/>
                </a:lnTo>
                <a:lnTo>
                  <a:pt x="247" y="10503"/>
                </a:lnTo>
                <a:lnTo>
                  <a:pt x="228" y="10480"/>
                </a:lnTo>
                <a:lnTo>
                  <a:pt x="209" y="10455"/>
                </a:lnTo>
                <a:lnTo>
                  <a:pt x="191" y="10431"/>
                </a:lnTo>
                <a:lnTo>
                  <a:pt x="174" y="10407"/>
                </a:lnTo>
                <a:lnTo>
                  <a:pt x="158" y="10382"/>
                </a:lnTo>
                <a:lnTo>
                  <a:pt x="142" y="10357"/>
                </a:lnTo>
                <a:lnTo>
                  <a:pt x="128" y="10332"/>
                </a:lnTo>
                <a:lnTo>
                  <a:pt x="114" y="10307"/>
                </a:lnTo>
                <a:lnTo>
                  <a:pt x="101" y="10281"/>
                </a:lnTo>
                <a:lnTo>
                  <a:pt x="89" y="10256"/>
                </a:lnTo>
                <a:lnTo>
                  <a:pt x="77" y="10230"/>
                </a:lnTo>
                <a:lnTo>
                  <a:pt x="67" y="10205"/>
                </a:lnTo>
                <a:lnTo>
                  <a:pt x="57" y="10179"/>
                </a:lnTo>
                <a:lnTo>
                  <a:pt x="48" y="10153"/>
                </a:lnTo>
                <a:lnTo>
                  <a:pt x="39" y="10127"/>
                </a:lnTo>
                <a:lnTo>
                  <a:pt x="32" y="10100"/>
                </a:lnTo>
                <a:lnTo>
                  <a:pt x="25" y="10074"/>
                </a:lnTo>
                <a:lnTo>
                  <a:pt x="19" y="10047"/>
                </a:lnTo>
                <a:lnTo>
                  <a:pt x="14" y="10021"/>
                </a:lnTo>
                <a:lnTo>
                  <a:pt x="9" y="9994"/>
                </a:lnTo>
                <a:lnTo>
                  <a:pt x="6" y="9967"/>
                </a:lnTo>
                <a:lnTo>
                  <a:pt x="3" y="9940"/>
                </a:lnTo>
                <a:lnTo>
                  <a:pt x="1" y="9912"/>
                </a:lnTo>
                <a:lnTo>
                  <a:pt x="0" y="9885"/>
                </a:lnTo>
                <a:lnTo>
                  <a:pt x="0" y="9857"/>
                </a:lnTo>
                <a:lnTo>
                  <a:pt x="0" y="5509"/>
                </a:lnTo>
                <a:lnTo>
                  <a:pt x="1" y="5453"/>
                </a:lnTo>
                <a:lnTo>
                  <a:pt x="2" y="5398"/>
                </a:lnTo>
                <a:lnTo>
                  <a:pt x="5" y="5342"/>
                </a:lnTo>
                <a:lnTo>
                  <a:pt x="9" y="5288"/>
                </a:lnTo>
                <a:lnTo>
                  <a:pt x="15" y="5235"/>
                </a:lnTo>
                <a:lnTo>
                  <a:pt x="21" y="5182"/>
                </a:lnTo>
                <a:lnTo>
                  <a:pt x="28" y="5130"/>
                </a:lnTo>
                <a:lnTo>
                  <a:pt x="37" y="5079"/>
                </a:lnTo>
                <a:lnTo>
                  <a:pt x="47" y="5028"/>
                </a:lnTo>
                <a:lnTo>
                  <a:pt x="57" y="4978"/>
                </a:lnTo>
                <a:lnTo>
                  <a:pt x="70" y="4929"/>
                </a:lnTo>
                <a:lnTo>
                  <a:pt x="83" y="4880"/>
                </a:lnTo>
                <a:lnTo>
                  <a:pt x="97" y="4832"/>
                </a:lnTo>
                <a:lnTo>
                  <a:pt x="112" y="4785"/>
                </a:lnTo>
                <a:lnTo>
                  <a:pt x="129" y="4739"/>
                </a:lnTo>
                <a:lnTo>
                  <a:pt x="147" y="4693"/>
                </a:lnTo>
                <a:lnTo>
                  <a:pt x="166" y="4648"/>
                </a:lnTo>
                <a:lnTo>
                  <a:pt x="187" y="4604"/>
                </a:lnTo>
                <a:lnTo>
                  <a:pt x="208" y="4560"/>
                </a:lnTo>
                <a:lnTo>
                  <a:pt x="230" y="4518"/>
                </a:lnTo>
                <a:lnTo>
                  <a:pt x="255" y="4476"/>
                </a:lnTo>
                <a:lnTo>
                  <a:pt x="279" y="4435"/>
                </a:lnTo>
                <a:lnTo>
                  <a:pt x="306" y="4393"/>
                </a:lnTo>
                <a:lnTo>
                  <a:pt x="332" y="4354"/>
                </a:lnTo>
                <a:lnTo>
                  <a:pt x="361" y="4315"/>
                </a:lnTo>
                <a:lnTo>
                  <a:pt x="391" y="4275"/>
                </a:lnTo>
                <a:lnTo>
                  <a:pt x="421" y="4238"/>
                </a:lnTo>
                <a:lnTo>
                  <a:pt x="453" y="4201"/>
                </a:lnTo>
                <a:lnTo>
                  <a:pt x="486" y="4165"/>
                </a:lnTo>
                <a:lnTo>
                  <a:pt x="520" y="4129"/>
                </a:lnTo>
                <a:lnTo>
                  <a:pt x="556" y="4093"/>
                </a:lnTo>
                <a:lnTo>
                  <a:pt x="592" y="4059"/>
                </a:lnTo>
                <a:lnTo>
                  <a:pt x="629" y="4025"/>
                </a:lnTo>
                <a:lnTo>
                  <a:pt x="668" y="3994"/>
                </a:lnTo>
                <a:lnTo>
                  <a:pt x="707" y="3963"/>
                </a:lnTo>
                <a:lnTo>
                  <a:pt x="747" y="3933"/>
                </a:lnTo>
                <a:lnTo>
                  <a:pt x="789" y="3904"/>
                </a:lnTo>
                <a:lnTo>
                  <a:pt x="830" y="3876"/>
                </a:lnTo>
                <a:lnTo>
                  <a:pt x="873" y="3849"/>
                </a:lnTo>
                <a:lnTo>
                  <a:pt x="916" y="3823"/>
                </a:lnTo>
                <a:lnTo>
                  <a:pt x="961" y="3799"/>
                </a:lnTo>
                <a:lnTo>
                  <a:pt x="1005" y="3775"/>
                </a:lnTo>
                <a:lnTo>
                  <a:pt x="1052" y="3752"/>
                </a:lnTo>
                <a:lnTo>
                  <a:pt x="1099" y="3731"/>
                </a:lnTo>
                <a:lnTo>
                  <a:pt x="1146" y="3711"/>
                </a:lnTo>
                <a:lnTo>
                  <a:pt x="1194" y="3691"/>
                </a:lnTo>
                <a:lnTo>
                  <a:pt x="1244" y="3672"/>
                </a:lnTo>
                <a:lnTo>
                  <a:pt x="1294" y="3655"/>
                </a:lnTo>
                <a:lnTo>
                  <a:pt x="1345" y="3640"/>
                </a:lnTo>
                <a:lnTo>
                  <a:pt x="1397" y="3624"/>
                </a:lnTo>
                <a:lnTo>
                  <a:pt x="1450" y="3610"/>
                </a:lnTo>
                <a:lnTo>
                  <a:pt x="1503" y="3597"/>
                </a:lnTo>
                <a:lnTo>
                  <a:pt x="1558" y="3584"/>
                </a:lnTo>
                <a:lnTo>
                  <a:pt x="1614" y="3574"/>
                </a:lnTo>
                <a:lnTo>
                  <a:pt x="1670" y="3564"/>
                </a:lnTo>
                <a:lnTo>
                  <a:pt x="1726" y="3554"/>
                </a:lnTo>
                <a:lnTo>
                  <a:pt x="1785" y="3547"/>
                </a:lnTo>
                <a:lnTo>
                  <a:pt x="1843" y="3540"/>
                </a:lnTo>
                <a:lnTo>
                  <a:pt x="1902" y="3534"/>
                </a:lnTo>
                <a:lnTo>
                  <a:pt x="1963" y="3530"/>
                </a:lnTo>
                <a:lnTo>
                  <a:pt x="2024" y="3526"/>
                </a:lnTo>
                <a:lnTo>
                  <a:pt x="2086" y="3524"/>
                </a:lnTo>
                <a:lnTo>
                  <a:pt x="2149" y="3522"/>
                </a:lnTo>
                <a:lnTo>
                  <a:pt x="2212" y="3522"/>
                </a:lnTo>
                <a:lnTo>
                  <a:pt x="2218" y="3517"/>
                </a:lnTo>
                <a:lnTo>
                  <a:pt x="2224" y="3514"/>
                </a:lnTo>
                <a:lnTo>
                  <a:pt x="2230" y="3513"/>
                </a:lnTo>
                <a:lnTo>
                  <a:pt x="2237" y="3512"/>
                </a:lnTo>
                <a:lnTo>
                  <a:pt x="2243" y="3512"/>
                </a:lnTo>
                <a:lnTo>
                  <a:pt x="2251" y="3512"/>
                </a:lnTo>
                <a:lnTo>
                  <a:pt x="2261" y="3512"/>
                </a:lnTo>
                <a:lnTo>
                  <a:pt x="2274" y="3512"/>
                </a:lnTo>
                <a:lnTo>
                  <a:pt x="2312" y="3514"/>
                </a:lnTo>
                <a:lnTo>
                  <a:pt x="2353" y="3516"/>
                </a:lnTo>
                <a:lnTo>
                  <a:pt x="2393" y="3517"/>
                </a:lnTo>
                <a:lnTo>
                  <a:pt x="2435" y="3519"/>
                </a:lnTo>
                <a:lnTo>
                  <a:pt x="2479" y="3520"/>
                </a:lnTo>
                <a:lnTo>
                  <a:pt x="2522" y="3520"/>
                </a:lnTo>
                <a:lnTo>
                  <a:pt x="2568" y="3522"/>
                </a:lnTo>
                <a:lnTo>
                  <a:pt x="2615" y="3522"/>
                </a:lnTo>
                <a:lnTo>
                  <a:pt x="2616" y="3516"/>
                </a:lnTo>
                <a:lnTo>
                  <a:pt x="2617" y="3511"/>
                </a:lnTo>
                <a:lnTo>
                  <a:pt x="2620" y="3505"/>
                </a:lnTo>
                <a:lnTo>
                  <a:pt x="2623" y="3498"/>
                </a:lnTo>
                <a:lnTo>
                  <a:pt x="2634" y="3483"/>
                </a:lnTo>
                <a:lnTo>
                  <a:pt x="2649" y="3466"/>
                </a:lnTo>
                <a:lnTo>
                  <a:pt x="2663" y="3450"/>
                </a:lnTo>
                <a:lnTo>
                  <a:pt x="2674" y="3439"/>
                </a:lnTo>
                <a:lnTo>
                  <a:pt x="2678" y="3434"/>
                </a:lnTo>
                <a:lnTo>
                  <a:pt x="2683" y="3431"/>
                </a:lnTo>
                <a:lnTo>
                  <a:pt x="2686" y="3430"/>
                </a:lnTo>
                <a:lnTo>
                  <a:pt x="2688" y="3429"/>
                </a:lnTo>
                <a:lnTo>
                  <a:pt x="2651" y="3417"/>
                </a:lnTo>
                <a:lnTo>
                  <a:pt x="2614" y="3406"/>
                </a:lnTo>
                <a:lnTo>
                  <a:pt x="2578" y="3393"/>
                </a:lnTo>
                <a:lnTo>
                  <a:pt x="2542" y="3380"/>
                </a:lnTo>
                <a:lnTo>
                  <a:pt x="2506" y="3366"/>
                </a:lnTo>
                <a:lnTo>
                  <a:pt x="2471" y="3351"/>
                </a:lnTo>
                <a:lnTo>
                  <a:pt x="2436" y="3337"/>
                </a:lnTo>
                <a:lnTo>
                  <a:pt x="2402" y="3322"/>
                </a:lnTo>
                <a:lnTo>
                  <a:pt x="2368" y="3306"/>
                </a:lnTo>
                <a:lnTo>
                  <a:pt x="2336" y="3289"/>
                </a:lnTo>
                <a:lnTo>
                  <a:pt x="2303" y="3272"/>
                </a:lnTo>
                <a:lnTo>
                  <a:pt x="2271" y="3255"/>
                </a:lnTo>
                <a:lnTo>
                  <a:pt x="2239" y="3237"/>
                </a:lnTo>
                <a:lnTo>
                  <a:pt x="2208" y="3218"/>
                </a:lnTo>
                <a:lnTo>
                  <a:pt x="2177" y="3198"/>
                </a:lnTo>
                <a:lnTo>
                  <a:pt x="2147" y="3178"/>
                </a:lnTo>
                <a:lnTo>
                  <a:pt x="2117" y="3158"/>
                </a:lnTo>
                <a:lnTo>
                  <a:pt x="2087" y="3137"/>
                </a:lnTo>
                <a:lnTo>
                  <a:pt x="2058" y="3115"/>
                </a:lnTo>
                <a:lnTo>
                  <a:pt x="2030" y="3093"/>
                </a:lnTo>
                <a:lnTo>
                  <a:pt x="2002" y="3071"/>
                </a:lnTo>
                <a:lnTo>
                  <a:pt x="1975" y="3047"/>
                </a:lnTo>
                <a:lnTo>
                  <a:pt x="1948" y="3024"/>
                </a:lnTo>
                <a:lnTo>
                  <a:pt x="1921" y="3000"/>
                </a:lnTo>
                <a:lnTo>
                  <a:pt x="1895" y="2975"/>
                </a:lnTo>
                <a:lnTo>
                  <a:pt x="1869" y="2950"/>
                </a:lnTo>
                <a:lnTo>
                  <a:pt x="1844" y="2924"/>
                </a:lnTo>
                <a:lnTo>
                  <a:pt x="1820" y="2898"/>
                </a:lnTo>
                <a:lnTo>
                  <a:pt x="1795" y="2871"/>
                </a:lnTo>
                <a:lnTo>
                  <a:pt x="1771" y="2843"/>
                </a:lnTo>
                <a:lnTo>
                  <a:pt x="1747" y="2816"/>
                </a:lnTo>
                <a:lnTo>
                  <a:pt x="1725" y="2787"/>
                </a:lnTo>
                <a:lnTo>
                  <a:pt x="1703" y="2757"/>
                </a:lnTo>
                <a:lnTo>
                  <a:pt x="1682" y="2729"/>
                </a:lnTo>
                <a:lnTo>
                  <a:pt x="1660" y="2699"/>
                </a:lnTo>
                <a:lnTo>
                  <a:pt x="1640" y="2669"/>
                </a:lnTo>
                <a:lnTo>
                  <a:pt x="1621" y="2638"/>
                </a:lnTo>
                <a:lnTo>
                  <a:pt x="1603" y="2608"/>
                </a:lnTo>
                <a:lnTo>
                  <a:pt x="1585" y="2578"/>
                </a:lnTo>
                <a:lnTo>
                  <a:pt x="1568" y="2547"/>
                </a:lnTo>
                <a:lnTo>
                  <a:pt x="1551" y="2516"/>
                </a:lnTo>
                <a:lnTo>
                  <a:pt x="1535" y="2484"/>
                </a:lnTo>
                <a:lnTo>
                  <a:pt x="1520" y="2452"/>
                </a:lnTo>
                <a:lnTo>
                  <a:pt x="1506" y="2420"/>
                </a:lnTo>
                <a:lnTo>
                  <a:pt x="1493" y="2388"/>
                </a:lnTo>
                <a:lnTo>
                  <a:pt x="1479" y="2356"/>
                </a:lnTo>
                <a:lnTo>
                  <a:pt x="1467" y="2324"/>
                </a:lnTo>
                <a:lnTo>
                  <a:pt x="1455" y="2291"/>
                </a:lnTo>
                <a:lnTo>
                  <a:pt x="1445" y="2258"/>
                </a:lnTo>
                <a:lnTo>
                  <a:pt x="1434" y="2225"/>
                </a:lnTo>
                <a:lnTo>
                  <a:pt x="1425" y="2191"/>
                </a:lnTo>
                <a:lnTo>
                  <a:pt x="1416" y="2157"/>
                </a:lnTo>
                <a:lnTo>
                  <a:pt x="1408" y="2123"/>
                </a:lnTo>
                <a:lnTo>
                  <a:pt x="1400" y="2089"/>
                </a:lnTo>
                <a:lnTo>
                  <a:pt x="1394" y="2054"/>
                </a:lnTo>
                <a:lnTo>
                  <a:pt x="1389" y="2018"/>
                </a:lnTo>
                <a:lnTo>
                  <a:pt x="1383" y="1983"/>
                </a:lnTo>
                <a:lnTo>
                  <a:pt x="1378" y="1948"/>
                </a:lnTo>
                <a:lnTo>
                  <a:pt x="1375" y="1912"/>
                </a:lnTo>
                <a:lnTo>
                  <a:pt x="1372" y="1876"/>
                </a:lnTo>
                <a:lnTo>
                  <a:pt x="1368" y="1840"/>
                </a:lnTo>
                <a:lnTo>
                  <a:pt x="1367" y="1804"/>
                </a:lnTo>
                <a:lnTo>
                  <a:pt x="1366" y="1767"/>
                </a:lnTo>
                <a:lnTo>
                  <a:pt x="1365" y="1729"/>
                </a:lnTo>
                <a:lnTo>
                  <a:pt x="1366" y="1686"/>
                </a:lnTo>
                <a:lnTo>
                  <a:pt x="1367" y="1641"/>
                </a:lnTo>
                <a:lnTo>
                  <a:pt x="1370" y="1598"/>
                </a:lnTo>
                <a:lnTo>
                  <a:pt x="1374" y="1555"/>
                </a:lnTo>
                <a:lnTo>
                  <a:pt x="1378" y="1511"/>
                </a:lnTo>
                <a:lnTo>
                  <a:pt x="1383" y="1469"/>
                </a:lnTo>
                <a:lnTo>
                  <a:pt x="1390" y="1427"/>
                </a:lnTo>
                <a:lnTo>
                  <a:pt x="1397" y="1386"/>
                </a:lnTo>
                <a:lnTo>
                  <a:pt x="1405" y="1345"/>
                </a:lnTo>
                <a:lnTo>
                  <a:pt x="1415" y="1304"/>
                </a:lnTo>
                <a:lnTo>
                  <a:pt x="1426" y="1264"/>
                </a:lnTo>
                <a:lnTo>
                  <a:pt x="1437" y="1223"/>
                </a:lnTo>
                <a:lnTo>
                  <a:pt x="1449" y="1184"/>
                </a:lnTo>
                <a:lnTo>
                  <a:pt x="1463" y="1145"/>
                </a:lnTo>
                <a:lnTo>
                  <a:pt x="1477" y="1106"/>
                </a:lnTo>
                <a:lnTo>
                  <a:pt x="1493" y="1068"/>
                </a:lnTo>
                <a:lnTo>
                  <a:pt x="1508" y="1030"/>
                </a:lnTo>
                <a:lnTo>
                  <a:pt x="1527" y="993"/>
                </a:lnTo>
                <a:lnTo>
                  <a:pt x="1545" y="955"/>
                </a:lnTo>
                <a:lnTo>
                  <a:pt x="1564" y="919"/>
                </a:lnTo>
                <a:lnTo>
                  <a:pt x="1585" y="883"/>
                </a:lnTo>
                <a:lnTo>
                  <a:pt x="1606" y="847"/>
                </a:lnTo>
                <a:lnTo>
                  <a:pt x="1628" y="811"/>
                </a:lnTo>
                <a:lnTo>
                  <a:pt x="1652" y="776"/>
                </a:lnTo>
                <a:lnTo>
                  <a:pt x="1676" y="742"/>
                </a:lnTo>
                <a:lnTo>
                  <a:pt x="1702" y="708"/>
                </a:lnTo>
                <a:lnTo>
                  <a:pt x="1728" y="674"/>
                </a:lnTo>
                <a:lnTo>
                  <a:pt x="1756" y="640"/>
                </a:lnTo>
                <a:lnTo>
                  <a:pt x="1783" y="607"/>
                </a:lnTo>
                <a:lnTo>
                  <a:pt x="1813" y="574"/>
                </a:lnTo>
                <a:lnTo>
                  <a:pt x="1844" y="542"/>
                </a:lnTo>
                <a:lnTo>
                  <a:pt x="1875" y="510"/>
                </a:lnTo>
                <a:lnTo>
                  <a:pt x="1907" y="478"/>
                </a:lnTo>
                <a:lnTo>
                  <a:pt x="1940" y="448"/>
                </a:lnTo>
                <a:lnTo>
                  <a:pt x="1971" y="419"/>
                </a:lnTo>
                <a:lnTo>
                  <a:pt x="2005" y="390"/>
                </a:lnTo>
                <a:lnTo>
                  <a:pt x="2038" y="362"/>
                </a:lnTo>
                <a:lnTo>
                  <a:pt x="2072" y="336"/>
                </a:lnTo>
                <a:lnTo>
                  <a:pt x="2106" y="311"/>
                </a:lnTo>
                <a:lnTo>
                  <a:pt x="2141" y="287"/>
                </a:lnTo>
                <a:lnTo>
                  <a:pt x="2176" y="263"/>
                </a:lnTo>
                <a:lnTo>
                  <a:pt x="2211" y="240"/>
                </a:lnTo>
                <a:lnTo>
                  <a:pt x="2247" y="219"/>
                </a:lnTo>
                <a:lnTo>
                  <a:pt x="2284" y="199"/>
                </a:lnTo>
                <a:lnTo>
                  <a:pt x="2320" y="179"/>
                </a:lnTo>
                <a:lnTo>
                  <a:pt x="2357" y="160"/>
                </a:lnTo>
                <a:lnTo>
                  <a:pt x="2395" y="143"/>
                </a:lnTo>
                <a:lnTo>
                  <a:pt x="2432" y="127"/>
                </a:lnTo>
                <a:lnTo>
                  <a:pt x="2470" y="111"/>
                </a:lnTo>
                <a:lnTo>
                  <a:pt x="2510" y="98"/>
                </a:lnTo>
                <a:lnTo>
                  <a:pt x="2549" y="84"/>
                </a:lnTo>
                <a:lnTo>
                  <a:pt x="2588" y="71"/>
                </a:lnTo>
                <a:lnTo>
                  <a:pt x="2628" y="60"/>
                </a:lnTo>
                <a:lnTo>
                  <a:pt x="2668" y="50"/>
                </a:lnTo>
                <a:lnTo>
                  <a:pt x="2709" y="40"/>
                </a:lnTo>
                <a:lnTo>
                  <a:pt x="2750" y="32"/>
                </a:lnTo>
                <a:lnTo>
                  <a:pt x="2791" y="24"/>
                </a:lnTo>
                <a:lnTo>
                  <a:pt x="2833" y="18"/>
                </a:lnTo>
                <a:lnTo>
                  <a:pt x="2876" y="13"/>
                </a:lnTo>
                <a:lnTo>
                  <a:pt x="2918" y="7"/>
                </a:lnTo>
                <a:lnTo>
                  <a:pt x="2962" y="4"/>
                </a:lnTo>
                <a:lnTo>
                  <a:pt x="3005" y="2"/>
                </a:lnTo>
                <a:lnTo>
                  <a:pt x="3049" y="1"/>
                </a:lnTo>
                <a:lnTo>
                  <a:pt x="3094" y="0"/>
                </a:lnTo>
                <a:lnTo>
                  <a:pt x="3138" y="1"/>
                </a:lnTo>
                <a:lnTo>
                  <a:pt x="3183" y="2"/>
                </a:lnTo>
                <a:lnTo>
                  <a:pt x="3226" y="4"/>
                </a:lnTo>
                <a:lnTo>
                  <a:pt x="3270" y="7"/>
                </a:lnTo>
                <a:lnTo>
                  <a:pt x="3312" y="13"/>
                </a:lnTo>
                <a:lnTo>
                  <a:pt x="3356" y="18"/>
                </a:lnTo>
                <a:lnTo>
                  <a:pt x="3397" y="24"/>
                </a:lnTo>
                <a:lnTo>
                  <a:pt x="3440" y="32"/>
                </a:lnTo>
                <a:lnTo>
                  <a:pt x="3481" y="40"/>
                </a:lnTo>
                <a:lnTo>
                  <a:pt x="3521" y="50"/>
                </a:lnTo>
                <a:lnTo>
                  <a:pt x="3563" y="60"/>
                </a:lnTo>
                <a:lnTo>
                  <a:pt x="3602" y="71"/>
                </a:lnTo>
                <a:lnTo>
                  <a:pt x="3643" y="84"/>
                </a:lnTo>
                <a:lnTo>
                  <a:pt x="3682" y="98"/>
                </a:lnTo>
                <a:lnTo>
                  <a:pt x="3721" y="111"/>
                </a:lnTo>
                <a:lnTo>
                  <a:pt x="3759" y="127"/>
                </a:lnTo>
                <a:lnTo>
                  <a:pt x="3798" y="143"/>
                </a:lnTo>
                <a:lnTo>
                  <a:pt x="3835" y="160"/>
                </a:lnTo>
                <a:lnTo>
                  <a:pt x="3873" y="179"/>
                </a:lnTo>
                <a:lnTo>
                  <a:pt x="3909" y="199"/>
                </a:lnTo>
                <a:lnTo>
                  <a:pt x="3946" y="219"/>
                </a:lnTo>
                <a:lnTo>
                  <a:pt x="3982" y="240"/>
                </a:lnTo>
                <a:lnTo>
                  <a:pt x="4017" y="263"/>
                </a:lnTo>
                <a:lnTo>
                  <a:pt x="4053" y="287"/>
                </a:lnTo>
                <a:lnTo>
                  <a:pt x="4088" y="311"/>
                </a:lnTo>
                <a:lnTo>
                  <a:pt x="4122" y="336"/>
                </a:lnTo>
                <a:lnTo>
                  <a:pt x="4156" y="362"/>
                </a:lnTo>
                <a:lnTo>
                  <a:pt x="4190" y="390"/>
                </a:lnTo>
                <a:lnTo>
                  <a:pt x="4223" y="419"/>
                </a:lnTo>
                <a:lnTo>
                  <a:pt x="4256" y="448"/>
                </a:lnTo>
                <a:lnTo>
                  <a:pt x="4289" y="478"/>
                </a:lnTo>
                <a:lnTo>
                  <a:pt x="4321" y="510"/>
                </a:lnTo>
                <a:lnTo>
                  <a:pt x="4353" y="542"/>
                </a:lnTo>
                <a:lnTo>
                  <a:pt x="4383" y="574"/>
                </a:lnTo>
                <a:lnTo>
                  <a:pt x="4412" y="607"/>
                </a:lnTo>
                <a:lnTo>
                  <a:pt x="4440" y="640"/>
                </a:lnTo>
                <a:lnTo>
                  <a:pt x="4467" y="674"/>
                </a:lnTo>
                <a:lnTo>
                  <a:pt x="4493" y="708"/>
                </a:lnTo>
                <a:lnTo>
                  <a:pt x="4518" y="742"/>
                </a:lnTo>
                <a:lnTo>
                  <a:pt x="4543" y="776"/>
                </a:lnTo>
                <a:lnTo>
                  <a:pt x="4566" y="811"/>
                </a:lnTo>
                <a:lnTo>
                  <a:pt x="4588" y="847"/>
                </a:lnTo>
                <a:lnTo>
                  <a:pt x="4610" y="883"/>
                </a:lnTo>
                <a:lnTo>
                  <a:pt x="4630" y="919"/>
                </a:lnTo>
                <a:lnTo>
                  <a:pt x="4649" y="955"/>
                </a:lnTo>
                <a:lnTo>
                  <a:pt x="4667" y="993"/>
                </a:lnTo>
                <a:lnTo>
                  <a:pt x="4685" y="1030"/>
                </a:lnTo>
                <a:lnTo>
                  <a:pt x="4701" y="1068"/>
                </a:lnTo>
                <a:lnTo>
                  <a:pt x="4716" y="1106"/>
                </a:lnTo>
                <a:lnTo>
                  <a:pt x="4731" y="1145"/>
                </a:lnTo>
                <a:lnTo>
                  <a:pt x="4745" y="1184"/>
                </a:lnTo>
                <a:lnTo>
                  <a:pt x="4756" y="1223"/>
                </a:lnTo>
                <a:lnTo>
                  <a:pt x="4768" y="1264"/>
                </a:lnTo>
                <a:lnTo>
                  <a:pt x="4779" y="1304"/>
                </a:lnTo>
                <a:lnTo>
                  <a:pt x="4788" y="1345"/>
                </a:lnTo>
                <a:lnTo>
                  <a:pt x="4797" y="1386"/>
                </a:lnTo>
                <a:lnTo>
                  <a:pt x="4803" y="1427"/>
                </a:lnTo>
                <a:lnTo>
                  <a:pt x="4810" y="1469"/>
                </a:lnTo>
                <a:lnTo>
                  <a:pt x="4816" y="1511"/>
                </a:lnTo>
                <a:lnTo>
                  <a:pt x="4820" y="1555"/>
                </a:lnTo>
                <a:lnTo>
                  <a:pt x="4823" y="1598"/>
                </a:lnTo>
                <a:lnTo>
                  <a:pt x="4825" y="1641"/>
                </a:lnTo>
                <a:lnTo>
                  <a:pt x="4827" y="1686"/>
                </a:lnTo>
                <a:lnTo>
                  <a:pt x="4827" y="1729"/>
                </a:lnTo>
                <a:lnTo>
                  <a:pt x="4827" y="1768"/>
                </a:lnTo>
                <a:lnTo>
                  <a:pt x="4826" y="1806"/>
                </a:lnTo>
                <a:lnTo>
                  <a:pt x="4824" y="1843"/>
                </a:lnTo>
                <a:lnTo>
                  <a:pt x="4822" y="1880"/>
                </a:lnTo>
                <a:lnTo>
                  <a:pt x="4818" y="1917"/>
                </a:lnTo>
                <a:lnTo>
                  <a:pt x="4814" y="1954"/>
                </a:lnTo>
                <a:lnTo>
                  <a:pt x="4808" y="1990"/>
                </a:lnTo>
                <a:lnTo>
                  <a:pt x="4803" y="2027"/>
                </a:lnTo>
                <a:lnTo>
                  <a:pt x="4797" y="2062"/>
                </a:lnTo>
                <a:lnTo>
                  <a:pt x="4789" y="2098"/>
                </a:lnTo>
                <a:lnTo>
                  <a:pt x="4781" y="2134"/>
                </a:lnTo>
                <a:lnTo>
                  <a:pt x="4772" y="2169"/>
                </a:lnTo>
                <a:lnTo>
                  <a:pt x="4763" y="2204"/>
                </a:lnTo>
                <a:lnTo>
                  <a:pt x="4752" y="2240"/>
                </a:lnTo>
                <a:lnTo>
                  <a:pt x="4740" y="2274"/>
                </a:lnTo>
                <a:lnTo>
                  <a:pt x="4729" y="2308"/>
                </a:lnTo>
                <a:lnTo>
                  <a:pt x="4716" y="2342"/>
                </a:lnTo>
                <a:lnTo>
                  <a:pt x="4702" y="2376"/>
                </a:lnTo>
                <a:lnTo>
                  <a:pt x="4688" y="2410"/>
                </a:lnTo>
                <a:lnTo>
                  <a:pt x="4673" y="2443"/>
                </a:lnTo>
                <a:lnTo>
                  <a:pt x="4657" y="2476"/>
                </a:lnTo>
                <a:lnTo>
                  <a:pt x="4641" y="2508"/>
                </a:lnTo>
                <a:lnTo>
                  <a:pt x="4624" y="2541"/>
                </a:lnTo>
                <a:lnTo>
                  <a:pt x="4605" y="2573"/>
                </a:lnTo>
                <a:lnTo>
                  <a:pt x="4586" y="2606"/>
                </a:lnTo>
                <a:lnTo>
                  <a:pt x="4566" y="2638"/>
                </a:lnTo>
                <a:lnTo>
                  <a:pt x="4546" y="2669"/>
                </a:lnTo>
                <a:lnTo>
                  <a:pt x="4525" y="2701"/>
                </a:lnTo>
                <a:lnTo>
                  <a:pt x="4502" y="2732"/>
                </a:lnTo>
                <a:lnTo>
                  <a:pt x="4480" y="2763"/>
                </a:lnTo>
                <a:lnTo>
                  <a:pt x="4456" y="2793"/>
                </a:lnTo>
                <a:lnTo>
                  <a:pt x="4431" y="2824"/>
                </a:lnTo>
                <a:lnTo>
                  <a:pt x="4407" y="2853"/>
                </a:lnTo>
                <a:lnTo>
                  <a:pt x="4381" y="2883"/>
                </a:lnTo>
                <a:lnTo>
                  <a:pt x="4356" y="2910"/>
                </a:lnTo>
                <a:lnTo>
                  <a:pt x="4329" y="2938"/>
                </a:lnTo>
                <a:lnTo>
                  <a:pt x="4303" y="2965"/>
                </a:lnTo>
                <a:lnTo>
                  <a:pt x="4276" y="2991"/>
                </a:lnTo>
                <a:lnTo>
                  <a:pt x="4249" y="3017"/>
                </a:lnTo>
                <a:lnTo>
                  <a:pt x="4220" y="3041"/>
                </a:lnTo>
                <a:lnTo>
                  <a:pt x="4192" y="3066"/>
                </a:lnTo>
                <a:lnTo>
                  <a:pt x="4164" y="3089"/>
                </a:lnTo>
                <a:lnTo>
                  <a:pt x="4134" y="3112"/>
                </a:lnTo>
                <a:lnTo>
                  <a:pt x="4105" y="3134"/>
                </a:lnTo>
                <a:lnTo>
                  <a:pt x="4075" y="3155"/>
                </a:lnTo>
                <a:lnTo>
                  <a:pt x="4045" y="3176"/>
                </a:lnTo>
                <a:lnTo>
                  <a:pt x="4014" y="3196"/>
                </a:lnTo>
                <a:lnTo>
                  <a:pt x="3982" y="3215"/>
                </a:lnTo>
                <a:lnTo>
                  <a:pt x="3950" y="3233"/>
                </a:lnTo>
                <a:lnTo>
                  <a:pt x="3919" y="3252"/>
                </a:lnTo>
                <a:lnTo>
                  <a:pt x="3887" y="3269"/>
                </a:lnTo>
                <a:lnTo>
                  <a:pt x="3854" y="3286"/>
                </a:lnTo>
                <a:lnTo>
                  <a:pt x="3820" y="3301"/>
                </a:lnTo>
                <a:lnTo>
                  <a:pt x="3786" y="3316"/>
                </a:lnTo>
                <a:lnTo>
                  <a:pt x="3752" y="3331"/>
                </a:lnTo>
                <a:lnTo>
                  <a:pt x="3718" y="3344"/>
                </a:lnTo>
                <a:lnTo>
                  <a:pt x="3683" y="3358"/>
                </a:lnTo>
                <a:lnTo>
                  <a:pt x="3647" y="3370"/>
                </a:lnTo>
                <a:lnTo>
                  <a:pt x="3611" y="3381"/>
                </a:lnTo>
                <a:lnTo>
                  <a:pt x="3575" y="3393"/>
                </a:lnTo>
                <a:lnTo>
                  <a:pt x="3538" y="3402"/>
                </a:lnTo>
                <a:lnTo>
                  <a:pt x="3500" y="3412"/>
                </a:lnTo>
                <a:lnTo>
                  <a:pt x="3463" y="3421"/>
                </a:lnTo>
                <a:lnTo>
                  <a:pt x="3425" y="3429"/>
                </a:lnTo>
                <a:lnTo>
                  <a:pt x="3438" y="3443"/>
                </a:lnTo>
                <a:lnTo>
                  <a:pt x="3449" y="3456"/>
                </a:lnTo>
                <a:lnTo>
                  <a:pt x="3459" y="3468"/>
                </a:lnTo>
                <a:lnTo>
                  <a:pt x="3466" y="3480"/>
                </a:lnTo>
                <a:lnTo>
                  <a:pt x="3473" y="3491"/>
                </a:lnTo>
                <a:lnTo>
                  <a:pt x="3477" y="3501"/>
                </a:lnTo>
                <a:lnTo>
                  <a:pt x="3479" y="3512"/>
                </a:lnTo>
                <a:lnTo>
                  <a:pt x="3480" y="3522"/>
                </a:lnTo>
                <a:close/>
              </a:path>
            </a:pathLst>
          </a:custGeom>
          <a:solidFill>
            <a:schemeClr val="bg1">
              <a:lumMod val="75000"/>
            </a:schemeClr>
          </a:solidFill>
          <a:ln w="9525">
            <a:noFill/>
            <a:round/>
            <a:headEnd/>
            <a:tailEnd/>
          </a:ln>
        </p:spPr>
        <p:txBody>
          <a:bodyPr/>
          <a:lstStyle>
            <a:defPPr>
              <a:defRPr lang="en-US"/>
            </a:defPPr>
            <a:lvl1pPr marL="0" algn="l" defTabSz="1018824" rtl="0" eaLnBrk="1" latinLnBrk="0" hangingPunct="1">
              <a:defRPr sz="2000" kern="1200">
                <a:solidFill>
                  <a:schemeClr val="tx1"/>
                </a:solidFill>
                <a:latin typeface="+mn-lt"/>
                <a:ea typeface="+mn-ea"/>
                <a:cs typeface="+mn-cs"/>
              </a:defRPr>
            </a:lvl1pPr>
            <a:lvl2pPr marL="509412" algn="l" defTabSz="1018824" rtl="0" eaLnBrk="1" latinLnBrk="0" hangingPunct="1">
              <a:defRPr sz="2000" kern="1200">
                <a:solidFill>
                  <a:schemeClr val="tx1"/>
                </a:solidFill>
                <a:latin typeface="+mn-lt"/>
                <a:ea typeface="+mn-ea"/>
                <a:cs typeface="+mn-cs"/>
              </a:defRPr>
            </a:lvl2pPr>
            <a:lvl3pPr marL="1018824" algn="l" defTabSz="1018824" rtl="0" eaLnBrk="1" latinLnBrk="0" hangingPunct="1">
              <a:defRPr sz="2000" kern="1200">
                <a:solidFill>
                  <a:schemeClr val="tx1"/>
                </a:solidFill>
                <a:latin typeface="+mn-lt"/>
                <a:ea typeface="+mn-ea"/>
                <a:cs typeface="+mn-cs"/>
              </a:defRPr>
            </a:lvl3pPr>
            <a:lvl4pPr marL="1528237" algn="l" defTabSz="1018824" rtl="0" eaLnBrk="1" latinLnBrk="0" hangingPunct="1">
              <a:defRPr sz="2000" kern="1200">
                <a:solidFill>
                  <a:schemeClr val="tx1"/>
                </a:solidFill>
                <a:latin typeface="+mn-lt"/>
                <a:ea typeface="+mn-ea"/>
                <a:cs typeface="+mn-cs"/>
              </a:defRPr>
            </a:lvl4pPr>
            <a:lvl5pPr marL="2037649" algn="l" defTabSz="1018824" rtl="0" eaLnBrk="1" latinLnBrk="0" hangingPunct="1">
              <a:defRPr sz="2000" kern="1200">
                <a:solidFill>
                  <a:schemeClr val="tx1"/>
                </a:solidFill>
                <a:latin typeface="+mn-lt"/>
                <a:ea typeface="+mn-ea"/>
                <a:cs typeface="+mn-cs"/>
              </a:defRPr>
            </a:lvl5pPr>
            <a:lvl6pPr marL="2547061" algn="l" defTabSz="1018824" rtl="0" eaLnBrk="1" latinLnBrk="0" hangingPunct="1">
              <a:defRPr sz="2000" kern="1200">
                <a:solidFill>
                  <a:schemeClr val="tx1"/>
                </a:solidFill>
                <a:latin typeface="+mn-lt"/>
                <a:ea typeface="+mn-ea"/>
                <a:cs typeface="+mn-cs"/>
              </a:defRPr>
            </a:lvl6pPr>
            <a:lvl7pPr marL="3056473" algn="l" defTabSz="1018824" rtl="0" eaLnBrk="1" latinLnBrk="0" hangingPunct="1">
              <a:defRPr sz="2000" kern="1200">
                <a:solidFill>
                  <a:schemeClr val="tx1"/>
                </a:solidFill>
                <a:latin typeface="+mn-lt"/>
                <a:ea typeface="+mn-ea"/>
                <a:cs typeface="+mn-cs"/>
              </a:defRPr>
            </a:lvl7pPr>
            <a:lvl8pPr marL="3565886" algn="l" defTabSz="1018824" rtl="0" eaLnBrk="1" latinLnBrk="0" hangingPunct="1">
              <a:defRPr sz="2000" kern="1200">
                <a:solidFill>
                  <a:schemeClr val="tx1"/>
                </a:solidFill>
                <a:latin typeface="+mn-lt"/>
                <a:ea typeface="+mn-ea"/>
                <a:cs typeface="+mn-cs"/>
              </a:defRPr>
            </a:lvl8pPr>
            <a:lvl9pPr marL="4075298" algn="l" defTabSz="1018824" rtl="0" eaLnBrk="1" latinLnBrk="0" hangingPunct="1">
              <a:defRPr sz="2000" kern="1200">
                <a:solidFill>
                  <a:schemeClr val="tx1"/>
                </a:solidFill>
                <a:latin typeface="+mn-lt"/>
                <a:ea typeface="+mn-ea"/>
                <a:cs typeface="+mn-cs"/>
              </a:defRPr>
            </a:lvl9pPr>
          </a:lstStyle>
          <a:p>
            <a:pPr marL="0" marR="0" lvl="0" indent="0" algn="l" defTabSz="1018824" rtl="0" eaLnBrk="1" fontAlgn="auto" latinLnBrk="0" hangingPunct="1">
              <a:lnSpc>
                <a:spcPct val="100000"/>
              </a:lnSpc>
              <a:spcBef>
                <a:spcPts val="0"/>
              </a:spcBef>
              <a:spcAft>
                <a:spcPts val="0"/>
              </a:spcAft>
              <a:buClrTx/>
              <a:buSzTx/>
              <a:buFontTx/>
              <a:buNone/>
              <a:tabLst/>
              <a:defRPr/>
            </a:pPr>
            <a:endParaRPr kumimoji="0" lang="en-GB" sz="1589"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5" name="Freeform 18">
            <a:extLst>
              <a:ext uri="{FF2B5EF4-FFF2-40B4-BE49-F238E27FC236}">
                <a16:creationId xmlns:a16="http://schemas.microsoft.com/office/drawing/2014/main" id="{883C542A-DA9A-49C1-A871-6A6BC5BD882E}"/>
              </a:ext>
            </a:extLst>
          </p:cNvPr>
          <p:cNvSpPr>
            <a:spLocks/>
          </p:cNvSpPr>
          <p:nvPr/>
        </p:nvSpPr>
        <p:spPr bwMode="auto">
          <a:xfrm>
            <a:off x="9131407" y="4319229"/>
            <a:ext cx="197037" cy="470851"/>
          </a:xfrm>
          <a:custGeom>
            <a:avLst/>
            <a:gdLst>
              <a:gd name="T0" fmla="*/ 13344091 w 6132"/>
              <a:gd name="T1" fmla="*/ 10441401 h 16980"/>
              <a:gd name="T2" fmla="*/ 14439013 w 6132"/>
              <a:gd name="T3" fmla="*/ 10808942 h 16980"/>
              <a:gd name="T4" fmla="*/ 15478309 w 6132"/>
              <a:gd name="T5" fmla="*/ 11467619 h 16980"/>
              <a:gd name="T6" fmla="*/ 16450295 w 6132"/>
              <a:gd name="T7" fmla="*/ 12408541 h 16980"/>
              <a:gd name="T8" fmla="*/ 17214401 w 6132"/>
              <a:gd name="T9" fmla="*/ 13481773 h 16980"/>
              <a:gd name="T10" fmla="*/ 17709159 w 6132"/>
              <a:gd name="T11" fmla="*/ 14605004 h 16980"/>
              <a:gd name="T12" fmla="*/ 17937493 w 6132"/>
              <a:gd name="T13" fmla="*/ 15789994 h 16980"/>
              <a:gd name="T14" fmla="*/ 17922884 w 6132"/>
              <a:gd name="T15" fmla="*/ 28795453 h 16980"/>
              <a:gd name="T16" fmla="*/ 17720901 w 6132"/>
              <a:gd name="T17" fmla="*/ 29724608 h 16980"/>
              <a:gd name="T18" fmla="*/ 17322724 w 6132"/>
              <a:gd name="T19" fmla="*/ 30571448 h 16980"/>
              <a:gd name="T20" fmla="*/ 16731329 w 6132"/>
              <a:gd name="T21" fmla="*/ 31344758 h 16980"/>
              <a:gd name="T22" fmla="*/ 15970146 w 6132"/>
              <a:gd name="T23" fmla="*/ 32000508 h 16980"/>
              <a:gd name="T24" fmla="*/ 15062602 w 6132"/>
              <a:gd name="T25" fmla="*/ 32509198 h 16980"/>
              <a:gd name="T26" fmla="*/ 14014483 w 6132"/>
              <a:gd name="T27" fmla="*/ 32867899 h 16980"/>
              <a:gd name="T28" fmla="*/ 4168927 w 6132"/>
              <a:gd name="T29" fmla="*/ 32935519 h 16980"/>
              <a:gd name="T30" fmla="*/ 3003722 w 6132"/>
              <a:gd name="T31" fmla="*/ 32515054 h 16980"/>
              <a:gd name="T32" fmla="*/ 2104943 w 6132"/>
              <a:gd name="T33" fmla="*/ 32053432 h 16980"/>
              <a:gd name="T34" fmla="*/ 1334994 w 6132"/>
              <a:gd name="T35" fmla="*/ 31503585 h 16980"/>
              <a:gd name="T36" fmla="*/ 723146 w 6132"/>
              <a:gd name="T37" fmla="*/ 30883136 h 16980"/>
              <a:gd name="T38" fmla="*/ 295697 w 6132"/>
              <a:gd name="T39" fmla="*/ 30230369 h 16980"/>
              <a:gd name="T40" fmla="*/ 55622 w 6132"/>
              <a:gd name="T41" fmla="*/ 29542302 h 16980"/>
              <a:gd name="T42" fmla="*/ 2922 w 6132"/>
              <a:gd name="T43" fmla="*/ 16034064 h 16980"/>
              <a:gd name="T44" fmla="*/ 166867 w 6132"/>
              <a:gd name="T45" fmla="*/ 14637376 h 16980"/>
              <a:gd name="T46" fmla="*/ 608925 w 6132"/>
              <a:gd name="T47" fmla="*/ 13408297 h 16980"/>
              <a:gd name="T48" fmla="*/ 1326228 w 6132"/>
              <a:gd name="T49" fmla="*/ 12352689 h 16980"/>
              <a:gd name="T50" fmla="*/ 2309902 w 6132"/>
              <a:gd name="T51" fmla="*/ 11479386 h 16980"/>
              <a:gd name="T52" fmla="*/ 3495559 w 6132"/>
              <a:gd name="T53" fmla="*/ 10853081 h 16980"/>
              <a:gd name="T54" fmla="*/ 4889097 w 6132"/>
              <a:gd name="T55" fmla="*/ 10479630 h 16980"/>
              <a:gd name="T56" fmla="*/ 6475906 w 6132"/>
              <a:gd name="T57" fmla="*/ 10356104 h 16980"/>
              <a:gd name="T58" fmla="*/ 6768627 w 6132"/>
              <a:gd name="T59" fmla="*/ 10332625 h 16980"/>
              <a:gd name="T60" fmla="*/ 7661564 w 6132"/>
              <a:gd name="T61" fmla="*/ 10323786 h 16980"/>
              <a:gd name="T62" fmla="*/ 7863602 w 6132"/>
              <a:gd name="T63" fmla="*/ 10085627 h 16980"/>
              <a:gd name="T64" fmla="*/ 7032131 w 6132"/>
              <a:gd name="T65" fmla="*/ 9768029 h 16980"/>
              <a:gd name="T66" fmla="*/ 6197794 w 6132"/>
              <a:gd name="T67" fmla="*/ 9285801 h 16980"/>
              <a:gd name="T68" fmla="*/ 5471726 w 6132"/>
              <a:gd name="T69" fmla="*/ 8674191 h 16980"/>
              <a:gd name="T70" fmla="*/ 4859825 w 6132"/>
              <a:gd name="T71" fmla="*/ 7936181 h 16980"/>
              <a:gd name="T72" fmla="*/ 4409002 w 6132"/>
              <a:gd name="T73" fmla="*/ 7115803 h 16980"/>
              <a:gd name="T74" fmla="*/ 4122070 w 6132"/>
              <a:gd name="T75" fmla="*/ 6242499 h 16980"/>
              <a:gd name="T76" fmla="*/ 4002059 w 6132"/>
              <a:gd name="T77" fmla="*/ 5304506 h 16980"/>
              <a:gd name="T78" fmla="*/ 4069369 w 6132"/>
              <a:gd name="T79" fmla="*/ 4195974 h 16980"/>
              <a:gd name="T80" fmla="*/ 4370910 w 6132"/>
              <a:gd name="T81" fmla="*/ 3140364 h 16980"/>
              <a:gd name="T82" fmla="*/ 4906682 w 6132"/>
              <a:gd name="T83" fmla="*/ 2181765 h 16980"/>
              <a:gd name="T84" fmla="*/ 5679553 w 6132"/>
              <a:gd name="T85" fmla="*/ 1317301 h 16980"/>
              <a:gd name="T86" fmla="*/ 6578332 w 6132"/>
              <a:gd name="T87" fmla="*/ 643928 h 16980"/>
              <a:gd name="T88" fmla="*/ 7576670 w 6132"/>
              <a:gd name="T89" fmla="*/ 208768 h 16980"/>
              <a:gd name="T90" fmla="*/ 8671588 w 6132"/>
              <a:gd name="T91" fmla="*/ 11767 h 16980"/>
              <a:gd name="T92" fmla="*/ 9825105 w 6132"/>
              <a:gd name="T93" fmla="*/ 52924 h 16980"/>
              <a:gd name="T94" fmla="*/ 10893673 w 6132"/>
              <a:gd name="T95" fmla="*/ 326384 h 16980"/>
              <a:gd name="T96" fmla="*/ 11865659 w 6132"/>
              <a:gd name="T97" fmla="*/ 843912 h 16980"/>
              <a:gd name="T98" fmla="*/ 12743931 w 6132"/>
              <a:gd name="T99" fmla="*/ 1593689 h 16980"/>
              <a:gd name="T100" fmla="*/ 13431908 w 6132"/>
              <a:gd name="T101" fmla="*/ 2490525 h 16980"/>
              <a:gd name="T102" fmla="*/ 13891551 w 6132"/>
              <a:gd name="T103" fmla="*/ 3481443 h 16980"/>
              <a:gd name="T104" fmla="*/ 14111119 w 6132"/>
              <a:gd name="T105" fmla="*/ 4572353 h 16980"/>
              <a:gd name="T106" fmla="*/ 14105275 w 6132"/>
              <a:gd name="T107" fmla="*/ 5636746 h 16980"/>
              <a:gd name="T108" fmla="*/ 13912057 w 6132"/>
              <a:gd name="T109" fmla="*/ 6586506 h 16980"/>
              <a:gd name="T110" fmla="*/ 13537309 w 6132"/>
              <a:gd name="T111" fmla="*/ 7471577 h 16980"/>
              <a:gd name="T112" fmla="*/ 12972265 w 6132"/>
              <a:gd name="T113" fmla="*/ 8303722 h 16980"/>
              <a:gd name="T114" fmla="*/ 12272601 w 6132"/>
              <a:gd name="T115" fmla="*/ 9015324 h 16980"/>
              <a:gd name="T116" fmla="*/ 11473326 w 6132"/>
              <a:gd name="T117" fmla="*/ 9562188 h 16980"/>
              <a:gd name="T118" fmla="*/ 10571626 w 6132"/>
              <a:gd name="T119" fmla="*/ 9941550 h 16980"/>
              <a:gd name="T120" fmla="*/ 10147098 w 6132"/>
              <a:gd name="T121" fmla="*/ 10232633 h 1698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6132"/>
              <a:gd name="T184" fmla="*/ 0 h 16980"/>
              <a:gd name="T185" fmla="*/ 6132 w 6132"/>
              <a:gd name="T186" fmla="*/ 16980 h 16980"/>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6132" h="16980">
                <a:moveTo>
                  <a:pt x="3480" y="3522"/>
                </a:moveTo>
                <a:lnTo>
                  <a:pt x="4254" y="3522"/>
                </a:lnTo>
                <a:lnTo>
                  <a:pt x="4298" y="3522"/>
                </a:lnTo>
                <a:lnTo>
                  <a:pt x="4342" y="3524"/>
                </a:lnTo>
                <a:lnTo>
                  <a:pt x="4386" y="3527"/>
                </a:lnTo>
                <a:lnTo>
                  <a:pt x="4429" y="3531"/>
                </a:lnTo>
                <a:lnTo>
                  <a:pt x="4473" y="3536"/>
                </a:lnTo>
                <a:lnTo>
                  <a:pt x="4515" y="3543"/>
                </a:lnTo>
                <a:lnTo>
                  <a:pt x="4558" y="3551"/>
                </a:lnTo>
                <a:lnTo>
                  <a:pt x="4601" y="3560"/>
                </a:lnTo>
                <a:lnTo>
                  <a:pt x="4643" y="3570"/>
                </a:lnTo>
                <a:lnTo>
                  <a:pt x="4685" y="3582"/>
                </a:lnTo>
                <a:lnTo>
                  <a:pt x="4727" y="3595"/>
                </a:lnTo>
                <a:lnTo>
                  <a:pt x="4769" y="3609"/>
                </a:lnTo>
                <a:lnTo>
                  <a:pt x="4809" y="3624"/>
                </a:lnTo>
                <a:lnTo>
                  <a:pt x="4851" y="3640"/>
                </a:lnTo>
                <a:lnTo>
                  <a:pt x="4892" y="3658"/>
                </a:lnTo>
                <a:lnTo>
                  <a:pt x="4932" y="3676"/>
                </a:lnTo>
                <a:lnTo>
                  <a:pt x="4973" y="3696"/>
                </a:lnTo>
                <a:lnTo>
                  <a:pt x="5013" y="3717"/>
                </a:lnTo>
                <a:lnTo>
                  <a:pt x="5052" y="3739"/>
                </a:lnTo>
                <a:lnTo>
                  <a:pt x="5093" y="3763"/>
                </a:lnTo>
                <a:lnTo>
                  <a:pt x="5132" y="3788"/>
                </a:lnTo>
                <a:lnTo>
                  <a:pt x="5171" y="3814"/>
                </a:lnTo>
                <a:lnTo>
                  <a:pt x="5210" y="3842"/>
                </a:lnTo>
                <a:lnTo>
                  <a:pt x="5249" y="3870"/>
                </a:lnTo>
                <a:lnTo>
                  <a:pt x="5287" y="3900"/>
                </a:lnTo>
                <a:lnTo>
                  <a:pt x="5325" y="3931"/>
                </a:lnTo>
                <a:lnTo>
                  <a:pt x="5364" y="3963"/>
                </a:lnTo>
                <a:lnTo>
                  <a:pt x="5401" y="3997"/>
                </a:lnTo>
                <a:lnTo>
                  <a:pt x="5438" y="4031"/>
                </a:lnTo>
                <a:lnTo>
                  <a:pt x="5475" y="4067"/>
                </a:lnTo>
                <a:lnTo>
                  <a:pt x="5512" y="4104"/>
                </a:lnTo>
                <a:lnTo>
                  <a:pt x="5549" y="4142"/>
                </a:lnTo>
                <a:lnTo>
                  <a:pt x="5584" y="4181"/>
                </a:lnTo>
                <a:lnTo>
                  <a:pt x="5619" y="4220"/>
                </a:lnTo>
                <a:lnTo>
                  <a:pt x="5652" y="4260"/>
                </a:lnTo>
                <a:lnTo>
                  <a:pt x="5685" y="4300"/>
                </a:lnTo>
                <a:lnTo>
                  <a:pt x="5716" y="4339"/>
                </a:lnTo>
                <a:lnTo>
                  <a:pt x="5747" y="4379"/>
                </a:lnTo>
                <a:lnTo>
                  <a:pt x="5775" y="4420"/>
                </a:lnTo>
                <a:lnTo>
                  <a:pt x="5803" y="4460"/>
                </a:lnTo>
                <a:lnTo>
                  <a:pt x="5830" y="4502"/>
                </a:lnTo>
                <a:lnTo>
                  <a:pt x="5855" y="4543"/>
                </a:lnTo>
                <a:lnTo>
                  <a:pt x="5880" y="4585"/>
                </a:lnTo>
                <a:lnTo>
                  <a:pt x="5904" y="4626"/>
                </a:lnTo>
                <a:lnTo>
                  <a:pt x="5925" y="4667"/>
                </a:lnTo>
                <a:lnTo>
                  <a:pt x="5946" y="4710"/>
                </a:lnTo>
                <a:lnTo>
                  <a:pt x="5967" y="4752"/>
                </a:lnTo>
                <a:lnTo>
                  <a:pt x="5986" y="4795"/>
                </a:lnTo>
                <a:lnTo>
                  <a:pt x="6004" y="4838"/>
                </a:lnTo>
                <a:lnTo>
                  <a:pt x="6020" y="4880"/>
                </a:lnTo>
                <a:lnTo>
                  <a:pt x="6036" y="4924"/>
                </a:lnTo>
                <a:lnTo>
                  <a:pt x="6049" y="4967"/>
                </a:lnTo>
                <a:lnTo>
                  <a:pt x="6063" y="5011"/>
                </a:lnTo>
                <a:lnTo>
                  <a:pt x="6075" y="5055"/>
                </a:lnTo>
                <a:lnTo>
                  <a:pt x="6085" y="5100"/>
                </a:lnTo>
                <a:lnTo>
                  <a:pt x="6095" y="5144"/>
                </a:lnTo>
                <a:lnTo>
                  <a:pt x="6104" y="5189"/>
                </a:lnTo>
                <a:lnTo>
                  <a:pt x="6111" y="5234"/>
                </a:lnTo>
                <a:lnTo>
                  <a:pt x="6117" y="5280"/>
                </a:lnTo>
                <a:lnTo>
                  <a:pt x="6123" y="5324"/>
                </a:lnTo>
                <a:lnTo>
                  <a:pt x="6127" y="5370"/>
                </a:lnTo>
                <a:lnTo>
                  <a:pt x="6130" y="5417"/>
                </a:lnTo>
                <a:lnTo>
                  <a:pt x="6131" y="5463"/>
                </a:lnTo>
                <a:lnTo>
                  <a:pt x="6132" y="5509"/>
                </a:lnTo>
                <a:lnTo>
                  <a:pt x="6132" y="9605"/>
                </a:lnTo>
                <a:lnTo>
                  <a:pt x="6132" y="9643"/>
                </a:lnTo>
                <a:lnTo>
                  <a:pt x="6130" y="9682"/>
                </a:lnTo>
                <a:lnTo>
                  <a:pt x="6129" y="9719"/>
                </a:lnTo>
                <a:lnTo>
                  <a:pt x="6126" y="9756"/>
                </a:lnTo>
                <a:lnTo>
                  <a:pt x="6122" y="9793"/>
                </a:lnTo>
                <a:lnTo>
                  <a:pt x="6117" y="9829"/>
                </a:lnTo>
                <a:lnTo>
                  <a:pt x="6112" y="9866"/>
                </a:lnTo>
                <a:lnTo>
                  <a:pt x="6107" y="9901"/>
                </a:lnTo>
                <a:lnTo>
                  <a:pt x="6099" y="9937"/>
                </a:lnTo>
                <a:lnTo>
                  <a:pt x="6092" y="9972"/>
                </a:lnTo>
                <a:lnTo>
                  <a:pt x="6083" y="10007"/>
                </a:lnTo>
                <a:lnTo>
                  <a:pt x="6074" y="10041"/>
                </a:lnTo>
                <a:lnTo>
                  <a:pt x="6063" y="10075"/>
                </a:lnTo>
                <a:lnTo>
                  <a:pt x="6053" y="10109"/>
                </a:lnTo>
                <a:lnTo>
                  <a:pt x="6041" y="10142"/>
                </a:lnTo>
                <a:lnTo>
                  <a:pt x="6028" y="10175"/>
                </a:lnTo>
                <a:lnTo>
                  <a:pt x="6014" y="10208"/>
                </a:lnTo>
                <a:lnTo>
                  <a:pt x="6001" y="10241"/>
                </a:lnTo>
                <a:lnTo>
                  <a:pt x="5986" y="10273"/>
                </a:lnTo>
                <a:lnTo>
                  <a:pt x="5970" y="10305"/>
                </a:lnTo>
                <a:lnTo>
                  <a:pt x="5953" y="10335"/>
                </a:lnTo>
                <a:lnTo>
                  <a:pt x="5935" y="10366"/>
                </a:lnTo>
                <a:lnTo>
                  <a:pt x="5917" y="10397"/>
                </a:lnTo>
                <a:lnTo>
                  <a:pt x="5898" y="10428"/>
                </a:lnTo>
                <a:lnTo>
                  <a:pt x="5877" y="10458"/>
                </a:lnTo>
                <a:lnTo>
                  <a:pt x="5857" y="10487"/>
                </a:lnTo>
                <a:lnTo>
                  <a:pt x="5835" y="10517"/>
                </a:lnTo>
                <a:lnTo>
                  <a:pt x="5813" y="10546"/>
                </a:lnTo>
                <a:lnTo>
                  <a:pt x="5789" y="10575"/>
                </a:lnTo>
                <a:lnTo>
                  <a:pt x="5766" y="10603"/>
                </a:lnTo>
                <a:lnTo>
                  <a:pt x="5740" y="10632"/>
                </a:lnTo>
                <a:lnTo>
                  <a:pt x="5715" y="10660"/>
                </a:lnTo>
                <a:lnTo>
                  <a:pt x="5688" y="10687"/>
                </a:lnTo>
                <a:lnTo>
                  <a:pt x="5661" y="10714"/>
                </a:lnTo>
                <a:lnTo>
                  <a:pt x="5633" y="10739"/>
                </a:lnTo>
                <a:lnTo>
                  <a:pt x="5606" y="10765"/>
                </a:lnTo>
                <a:lnTo>
                  <a:pt x="5576" y="10790"/>
                </a:lnTo>
                <a:lnTo>
                  <a:pt x="5546" y="10814"/>
                </a:lnTo>
                <a:lnTo>
                  <a:pt x="5516" y="10838"/>
                </a:lnTo>
                <a:lnTo>
                  <a:pt x="5486" y="10860"/>
                </a:lnTo>
                <a:lnTo>
                  <a:pt x="5455" y="10883"/>
                </a:lnTo>
                <a:lnTo>
                  <a:pt x="5422" y="10905"/>
                </a:lnTo>
                <a:lnTo>
                  <a:pt x="5390" y="10925"/>
                </a:lnTo>
                <a:lnTo>
                  <a:pt x="5357" y="10947"/>
                </a:lnTo>
                <a:lnTo>
                  <a:pt x="5323" y="10966"/>
                </a:lnTo>
                <a:lnTo>
                  <a:pt x="5288" y="10985"/>
                </a:lnTo>
                <a:lnTo>
                  <a:pt x="5253" y="11004"/>
                </a:lnTo>
                <a:lnTo>
                  <a:pt x="5218" y="11022"/>
                </a:lnTo>
                <a:lnTo>
                  <a:pt x="5182" y="11039"/>
                </a:lnTo>
                <a:lnTo>
                  <a:pt x="5145" y="11056"/>
                </a:lnTo>
                <a:lnTo>
                  <a:pt x="5108" y="11072"/>
                </a:lnTo>
                <a:lnTo>
                  <a:pt x="5069" y="11087"/>
                </a:lnTo>
                <a:lnTo>
                  <a:pt x="5031" y="11102"/>
                </a:lnTo>
                <a:lnTo>
                  <a:pt x="4992" y="11117"/>
                </a:lnTo>
                <a:lnTo>
                  <a:pt x="4952" y="11130"/>
                </a:lnTo>
                <a:lnTo>
                  <a:pt x="4911" y="11143"/>
                </a:lnTo>
                <a:lnTo>
                  <a:pt x="4871" y="11155"/>
                </a:lnTo>
                <a:lnTo>
                  <a:pt x="4828" y="11167"/>
                </a:lnTo>
                <a:lnTo>
                  <a:pt x="4787" y="11178"/>
                </a:lnTo>
                <a:lnTo>
                  <a:pt x="4743" y="11189"/>
                </a:lnTo>
                <a:lnTo>
                  <a:pt x="4701" y="11199"/>
                </a:lnTo>
                <a:lnTo>
                  <a:pt x="4656" y="11208"/>
                </a:lnTo>
                <a:lnTo>
                  <a:pt x="4612" y="11217"/>
                </a:lnTo>
                <a:lnTo>
                  <a:pt x="4567" y="11225"/>
                </a:lnTo>
                <a:lnTo>
                  <a:pt x="4567" y="16980"/>
                </a:lnTo>
                <a:lnTo>
                  <a:pt x="1510" y="16980"/>
                </a:lnTo>
                <a:lnTo>
                  <a:pt x="1510" y="11225"/>
                </a:lnTo>
                <a:lnTo>
                  <a:pt x="1424" y="11201"/>
                </a:lnTo>
                <a:lnTo>
                  <a:pt x="1340" y="11175"/>
                </a:lnTo>
                <a:lnTo>
                  <a:pt x="1298" y="11161"/>
                </a:lnTo>
                <a:lnTo>
                  <a:pt x="1258" y="11148"/>
                </a:lnTo>
                <a:lnTo>
                  <a:pt x="1218" y="11134"/>
                </a:lnTo>
                <a:lnTo>
                  <a:pt x="1178" y="11120"/>
                </a:lnTo>
                <a:lnTo>
                  <a:pt x="1139" y="11105"/>
                </a:lnTo>
                <a:lnTo>
                  <a:pt x="1101" y="11089"/>
                </a:lnTo>
                <a:lnTo>
                  <a:pt x="1064" y="11074"/>
                </a:lnTo>
                <a:lnTo>
                  <a:pt x="1026" y="11058"/>
                </a:lnTo>
                <a:lnTo>
                  <a:pt x="990" y="11042"/>
                </a:lnTo>
                <a:lnTo>
                  <a:pt x="954" y="11025"/>
                </a:lnTo>
                <a:lnTo>
                  <a:pt x="918" y="11009"/>
                </a:lnTo>
                <a:lnTo>
                  <a:pt x="884" y="10991"/>
                </a:lnTo>
                <a:lnTo>
                  <a:pt x="849" y="10974"/>
                </a:lnTo>
                <a:lnTo>
                  <a:pt x="816" y="10956"/>
                </a:lnTo>
                <a:lnTo>
                  <a:pt x="782" y="10938"/>
                </a:lnTo>
                <a:lnTo>
                  <a:pt x="750" y="10920"/>
                </a:lnTo>
                <a:lnTo>
                  <a:pt x="719" y="10901"/>
                </a:lnTo>
                <a:lnTo>
                  <a:pt x="687" y="10882"/>
                </a:lnTo>
                <a:lnTo>
                  <a:pt x="656" y="10862"/>
                </a:lnTo>
                <a:lnTo>
                  <a:pt x="626" y="10841"/>
                </a:lnTo>
                <a:lnTo>
                  <a:pt x="596" y="10821"/>
                </a:lnTo>
                <a:lnTo>
                  <a:pt x="567" y="10801"/>
                </a:lnTo>
                <a:lnTo>
                  <a:pt x="539" y="10780"/>
                </a:lnTo>
                <a:lnTo>
                  <a:pt x="510" y="10758"/>
                </a:lnTo>
                <a:lnTo>
                  <a:pt x="484" y="10736"/>
                </a:lnTo>
                <a:lnTo>
                  <a:pt x="456" y="10714"/>
                </a:lnTo>
                <a:lnTo>
                  <a:pt x="431" y="10691"/>
                </a:lnTo>
                <a:lnTo>
                  <a:pt x="405" y="10668"/>
                </a:lnTo>
                <a:lnTo>
                  <a:pt x="380" y="10646"/>
                </a:lnTo>
                <a:lnTo>
                  <a:pt x="355" y="10622"/>
                </a:lnTo>
                <a:lnTo>
                  <a:pt x="332" y="10599"/>
                </a:lnTo>
                <a:lnTo>
                  <a:pt x="310" y="10576"/>
                </a:lnTo>
                <a:lnTo>
                  <a:pt x="289" y="10551"/>
                </a:lnTo>
                <a:lnTo>
                  <a:pt x="267" y="10528"/>
                </a:lnTo>
                <a:lnTo>
                  <a:pt x="247" y="10503"/>
                </a:lnTo>
                <a:lnTo>
                  <a:pt x="228" y="10480"/>
                </a:lnTo>
                <a:lnTo>
                  <a:pt x="209" y="10455"/>
                </a:lnTo>
                <a:lnTo>
                  <a:pt x="191" y="10431"/>
                </a:lnTo>
                <a:lnTo>
                  <a:pt x="174" y="10407"/>
                </a:lnTo>
                <a:lnTo>
                  <a:pt x="158" y="10382"/>
                </a:lnTo>
                <a:lnTo>
                  <a:pt x="142" y="10357"/>
                </a:lnTo>
                <a:lnTo>
                  <a:pt x="128" y="10332"/>
                </a:lnTo>
                <a:lnTo>
                  <a:pt x="114" y="10307"/>
                </a:lnTo>
                <a:lnTo>
                  <a:pt x="101" y="10281"/>
                </a:lnTo>
                <a:lnTo>
                  <a:pt x="89" y="10256"/>
                </a:lnTo>
                <a:lnTo>
                  <a:pt x="77" y="10230"/>
                </a:lnTo>
                <a:lnTo>
                  <a:pt x="67" y="10205"/>
                </a:lnTo>
                <a:lnTo>
                  <a:pt x="57" y="10179"/>
                </a:lnTo>
                <a:lnTo>
                  <a:pt x="48" y="10153"/>
                </a:lnTo>
                <a:lnTo>
                  <a:pt x="39" y="10127"/>
                </a:lnTo>
                <a:lnTo>
                  <a:pt x="32" y="10100"/>
                </a:lnTo>
                <a:lnTo>
                  <a:pt x="25" y="10074"/>
                </a:lnTo>
                <a:lnTo>
                  <a:pt x="19" y="10047"/>
                </a:lnTo>
                <a:lnTo>
                  <a:pt x="14" y="10021"/>
                </a:lnTo>
                <a:lnTo>
                  <a:pt x="9" y="9994"/>
                </a:lnTo>
                <a:lnTo>
                  <a:pt x="6" y="9967"/>
                </a:lnTo>
                <a:lnTo>
                  <a:pt x="3" y="9940"/>
                </a:lnTo>
                <a:lnTo>
                  <a:pt x="1" y="9912"/>
                </a:lnTo>
                <a:lnTo>
                  <a:pt x="0" y="9885"/>
                </a:lnTo>
                <a:lnTo>
                  <a:pt x="0" y="9857"/>
                </a:lnTo>
                <a:lnTo>
                  <a:pt x="0" y="5509"/>
                </a:lnTo>
                <a:lnTo>
                  <a:pt x="1" y="5453"/>
                </a:lnTo>
                <a:lnTo>
                  <a:pt x="2" y="5398"/>
                </a:lnTo>
                <a:lnTo>
                  <a:pt x="5" y="5342"/>
                </a:lnTo>
                <a:lnTo>
                  <a:pt x="9" y="5288"/>
                </a:lnTo>
                <a:lnTo>
                  <a:pt x="15" y="5235"/>
                </a:lnTo>
                <a:lnTo>
                  <a:pt x="21" y="5182"/>
                </a:lnTo>
                <a:lnTo>
                  <a:pt x="28" y="5130"/>
                </a:lnTo>
                <a:lnTo>
                  <a:pt x="37" y="5079"/>
                </a:lnTo>
                <a:lnTo>
                  <a:pt x="47" y="5028"/>
                </a:lnTo>
                <a:lnTo>
                  <a:pt x="57" y="4978"/>
                </a:lnTo>
                <a:lnTo>
                  <a:pt x="70" y="4929"/>
                </a:lnTo>
                <a:lnTo>
                  <a:pt x="83" y="4880"/>
                </a:lnTo>
                <a:lnTo>
                  <a:pt x="97" y="4832"/>
                </a:lnTo>
                <a:lnTo>
                  <a:pt x="112" y="4785"/>
                </a:lnTo>
                <a:lnTo>
                  <a:pt x="129" y="4739"/>
                </a:lnTo>
                <a:lnTo>
                  <a:pt x="147" y="4693"/>
                </a:lnTo>
                <a:lnTo>
                  <a:pt x="166" y="4648"/>
                </a:lnTo>
                <a:lnTo>
                  <a:pt x="187" y="4604"/>
                </a:lnTo>
                <a:lnTo>
                  <a:pt x="208" y="4560"/>
                </a:lnTo>
                <a:lnTo>
                  <a:pt x="230" y="4518"/>
                </a:lnTo>
                <a:lnTo>
                  <a:pt x="255" y="4476"/>
                </a:lnTo>
                <a:lnTo>
                  <a:pt x="279" y="4435"/>
                </a:lnTo>
                <a:lnTo>
                  <a:pt x="306" y="4393"/>
                </a:lnTo>
                <a:lnTo>
                  <a:pt x="332" y="4354"/>
                </a:lnTo>
                <a:lnTo>
                  <a:pt x="361" y="4315"/>
                </a:lnTo>
                <a:lnTo>
                  <a:pt x="391" y="4275"/>
                </a:lnTo>
                <a:lnTo>
                  <a:pt x="421" y="4238"/>
                </a:lnTo>
                <a:lnTo>
                  <a:pt x="453" y="4201"/>
                </a:lnTo>
                <a:lnTo>
                  <a:pt x="486" y="4165"/>
                </a:lnTo>
                <a:lnTo>
                  <a:pt x="520" y="4129"/>
                </a:lnTo>
                <a:lnTo>
                  <a:pt x="556" y="4093"/>
                </a:lnTo>
                <a:lnTo>
                  <a:pt x="592" y="4059"/>
                </a:lnTo>
                <a:lnTo>
                  <a:pt x="629" y="4025"/>
                </a:lnTo>
                <a:lnTo>
                  <a:pt x="668" y="3994"/>
                </a:lnTo>
                <a:lnTo>
                  <a:pt x="707" y="3963"/>
                </a:lnTo>
                <a:lnTo>
                  <a:pt x="747" y="3933"/>
                </a:lnTo>
                <a:lnTo>
                  <a:pt x="789" y="3904"/>
                </a:lnTo>
                <a:lnTo>
                  <a:pt x="830" y="3876"/>
                </a:lnTo>
                <a:lnTo>
                  <a:pt x="873" y="3849"/>
                </a:lnTo>
                <a:lnTo>
                  <a:pt x="916" y="3823"/>
                </a:lnTo>
                <a:lnTo>
                  <a:pt x="961" y="3799"/>
                </a:lnTo>
                <a:lnTo>
                  <a:pt x="1005" y="3775"/>
                </a:lnTo>
                <a:lnTo>
                  <a:pt x="1052" y="3752"/>
                </a:lnTo>
                <a:lnTo>
                  <a:pt x="1099" y="3731"/>
                </a:lnTo>
                <a:lnTo>
                  <a:pt x="1146" y="3711"/>
                </a:lnTo>
                <a:lnTo>
                  <a:pt x="1194" y="3691"/>
                </a:lnTo>
                <a:lnTo>
                  <a:pt x="1244" y="3672"/>
                </a:lnTo>
                <a:lnTo>
                  <a:pt x="1294" y="3655"/>
                </a:lnTo>
                <a:lnTo>
                  <a:pt x="1345" y="3640"/>
                </a:lnTo>
                <a:lnTo>
                  <a:pt x="1397" y="3624"/>
                </a:lnTo>
                <a:lnTo>
                  <a:pt x="1450" y="3610"/>
                </a:lnTo>
                <a:lnTo>
                  <a:pt x="1503" y="3597"/>
                </a:lnTo>
                <a:lnTo>
                  <a:pt x="1558" y="3584"/>
                </a:lnTo>
                <a:lnTo>
                  <a:pt x="1614" y="3574"/>
                </a:lnTo>
                <a:lnTo>
                  <a:pt x="1670" y="3564"/>
                </a:lnTo>
                <a:lnTo>
                  <a:pt x="1726" y="3554"/>
                </a:lnTo>
                <a:lnTo>
                  <a:pt x="1785" y="3547"/>
                </a:lnTo>
                <a:lnTo>
                  <a:pt x="1843" y="3540"/>
                </a:lnTo>
                <a:lnTo>
                  <a:pt x="1902" y="3534"/>
                </a:lnTo>
                <a:lnTo>
                  <a:pt x="1963" y="3530"/>
                </a:lnTo>
                <a:lnTo>
                  <a:pt x="2024" y="3526"/>
                </a:lnTo>
                <a:lnTo>
                  <a:pt x="2086" y="3524"/>
                </a:lnTo>
                <a:lnTo>
                  <a:pt x="2149" y="3522"/>
                </a:lnTo>
                <a:lnTo>
                  <a:pt x="2212" y="3522"/>
                </a:lnTo>
                <a:lnTo>
                  <a:pt x="2218" y="3517"/>
                </a:lnTo>
                <a:lnTo>
                  <a:pt x="2224" y="3514"/>
                </a:lnTo>
                <a:lnTo>
                  <a:pt x="2230" y="3513"/>
                </a:lnTo>
                <a:lnTo>
                  <a:pt x="2237" y="3512"/>
                </a:lnTo>
                <a:lnTo>
                  <a:pt x="2243" y="3512"/>
                </a:lnTo>
                <a:lnTo>
                  <a:pt x="2251" y="3512"/>
                </a:lnTo>
                <a:lnTo>
                  <a:pt x="2261" y="3512"/>
                </a:lnTo>
                <a:lnTo>
                  <a:pt x="2274" y="3512"/>
                </a:lnTo>
                <a:lnTo>
                  <a:pt x="2312" y="3514"/>
                </a:lnTo>
                <a:lnTo>
                  <a:pt x="2353" y="3516"/>
                </a:lnTo>
                <a:lnTo>
                  <a:pt x="2393" y="3517"/>
                </a:lnTo>
                <a:lnTo>
                  <a:pt x="2435" y="3519"/>
                </a:lnTo>
                <a:lnTo>
                  <a:pt x="2479" y="3520"/>
                </a:lnTo>
                <a:lnTo>
                  <a:pt x="2522" y="3520"/>
                </a:lnTo>
                <a:lnTo>
                  <a:pt x="2568" y="3522"/>
                </a:lnTo>
                <a:lnTo>
                  <a:pt x="2615" y="3522"/>
                </a:lnTo>
                <a:lnTo>
                  <a:pt x="2616" y="3516"/>
                </a:lnTo>
                <a:lnTo>
                  <a:pt x="2617" y="3511"/>
                </a:lnTo>
                <a:lnTo>
                  <a:pt x="2620" y="3505"/>
                </a:lnTo>
                <a:lnTo>
                  <a:pt x="2623" y="3498"/>
                </a:lnTo>
                <a:lnTo>
                  <a:pt x="2634" y="3483"/>
                </a:lnTo>
                <a:lnTo>
                  <a:pt x="2649" y="3466"/>
                </a:lnTo>
                <a:lnTo>
                  <a:pt x="2663" y="3450"/>
                </a:lnTo>
                <a:lnTo>
                  <a:pt x="2674" y="3439"/>
                </a:lnTo>
                <a:lnTo>
                  <a:pt x="2678" y="3434"/>
                </a:lnTo>
                <a:lnTo>
                  <a:pt x="2683" y="3431"/>
                </a:lnTo>
                <a:lnTo>
                  <a:pt x="2686" y="3430"/>
                </a:lnTo>
                <a:lnTo>
                  <a:pt x="2688" y="3429"/>
                </a:lnTo>
                <a:lnTo>
                  <a:pt x="2651" y="3417"/>
                </a:lnTo>
                <a:lnTo>
                  <a:pt x="2614" y="3406"/>
                </a:lnTo>
                <a:lnTo>
                  <a:pt x="2578" y="3393"/>
                </a:lnTo>
                <a:lnTo>
                  <a:pt x="2542" y="3380"/>
                </a:lnTo>
                <a:lnTo>
                  <a:pt x="2506" y="3366"/>
                </a:lnTo>
                <a:lnTo>
                  <a:pt x="2471" y="3351"/>
                </a:lnTo>
                <a:lnTo>
                  <a:pt x="2436" y="3337"/>
                </a:lnTo>
                <a:lnTo>
                  <a:pt x="2402" y="3322"/>
                </a:lnTo>
                <a:lnTo>
                  <a:pt x="2368" y="3306"/>
                </a:lnTo>
                <a:lnTo>
                  <a:pt x="2336" y="3289"/>
                </a:lnTo>
                <a:lnTo>
                  <a:pt x="2303" y="3272"/>
                </a:lnTo>
                <a:lnTo>
                  <a:pt x="2271" y="3255"/>
                </a:lnTo>
                <a:lnTo>
                  <a:pt x="2239" y="3237"/>
                </a:lnTo>
                <a:lnTo>
                  <a:pt x="2208" y="3218"/>
                </a:lnTo>
                <a:lnTo>
                  <a:pt x="2177" y="3198"/>
                </a:lnTo>
                <a:lnTo>
                  <a:pt x="2147" y="3178"/>
                </a:lnTo>
                <a:lnTo>
                  <a:pt x="2117" y="3158"/>
                </a:lnTo>
                <a:lnTo>
                  <a:pt x="2087" y="3137"/>
                </a:lnTo>
                <a:lnTo>
                  <a:pt x="2058" y="3115"/>
                </a:lnTo>
                <a:lnTo>
                  <a:pt x="2030" y="3093"/>
                </a:lnTo>
                <a:lnTo>
                  <a:pt x="2002" y="3071"/>
                </a:lnTo>
                <a:lnTo>
                  <a:pt x="1975" y="3047"/>
                </a:lnTo>
                <a:lnTo>
                  <a:pt x="1948" y="3024"/>
                </a:lnTo>
                <a:lnTo>
                  <a:pt x="1921" y="3000"/>
                </a:lnTo>
                <a:lnTo>
                  <a:pt x="1895" y="2975"/>
                </a:lnTo>
                <a:lnTo>
                  <a:pt x="1869" y="2950"/>
                </a:lnTo>
                <a:lnTo>
                  <a:pt x="1844" y="2924"/>
                </a:lnTo>
                <a:lnTo>
                  <a:pt x="1820" y="2898"/>
                </a:lnTo>
                <a:lnTo>
                  <a:pt x="1795" y="2871"/>
                </a:lnTo>
                <a:lnTo>
                  <a:pt x="1771" y="2843"/>
                </a:lnTo>
                <a:lnTo>
                  <a:pt x="1747" y="2816"/>
                </a:lnTo>
                <a:lnTo>
                  <a:pt x="1725" y="2787"/>
                </a:lnTo>
                <a:lnTo>
                  <a:pt x="1703" y="2757"/>
                </a:lnTo>
                <a:lnTo>
                  <a:pt x="1682" y="2729"/>
                </a:lnTo>
                <a:lnTo>
                  <a:pt x="1660" y="2699"/>
                </a:lnTo>
                <a:lnTo>
                  <a:pt x="1640" y="2669"/>
                </a:lnTo>
                <a:lnTo>
                  <a:pt x="1621" y="2638"/>
                </a:lnTo>
                <a:lnTo>
                  <a:pt x="1603" y="2608"/>
                </a:lnTo>
                <a:lnTo>
                  <a:pt x="1585" y="2578"/>
                </a:lnTo>
                <a:lnTo>
                  <a:pt x="1568" y="2547"/>
                </a:lnTo>
                <a:lnTo>
                  <a:pt x="1551" y="2516"/>
                </a:lnTo>
                <a:lnTo>
                  <a:pt x="1535" y="2484"/>
                </a:lnTo>
                <a:lnTo>
                  <a:pt x="1520" y="2452"/>
                </a:lnTo>
                <a:lnTo>
                  <a:pt x="1506" y="2420"/>
                </a:lnTo>
                <a:lnTo>
                  <a:pt x="1493" y="2388"/>
                </a:lnTo>
                <a:lnTo>
                  <a:pt x="1479" y="2356"/>
                </a:lnTo>
                <a:lnTo>
                  <a:pt x="1467" y="2324"/>
                </a:lnTo>
                <a:lnTo>
                  <a:pt x="1455" y="2291"/>
                </a:lnTo>
                <a:lnTo>
                  <a:pt x="1445" y="2258"/>
                </a:lnTo>
                <a:lnTo>
                  <a:pt x="1434" y="2225"/>
                </a:lnTo>
                <a:lnTo>
                  <a:pt x="1425" y="2191"/>
                </a:lnTo>
                <a:lnTo>
                  <a:pt x="1416" y="2157"/>
                </a:lnTo>
                <a:lnTo>
                  <a:pt x="1408" y="2123"/>
                </a:lnTo>
                <a:lnTo>
                  <a:pt x="1400" y="2089"/>
                </a:lnTo>
                <a:lnTo>
                  <a:pt x="1394" y="2054"/>
                </a:lnTo>
                <a:lnTo>
                  <a:pt x="1389" y="2018"/>
                </a:lnTo>
                <a:lnTo>
                  <a:pt x="1383" y="1983"/>
                </a:lnTo>
                <a:lnTo>
                  <a:pt x="1378" y="1948"/>
                </a:lnTo>
                <a:lnTo>
                  <a:pt x="1375" y="1912"/>
                </a:lnTo>
                <a:lnTo>
                  <a:pt x="1372" y="1876"/>
                </a:lnTo>
                <a:lnTo>
                  <a:pt x="1368" y="1840"/>
                </a:lnTo>
                <a:lnTo>
                  <a:pt x="1367" y="1804"/>
                </a:lnTo>
                <a:lnTo>
                  <a:pt x="1366" y="1767"/>
                </a:lnTo>
                <a:lnTo>
                  <a:pt x="1365" y="1729"/>
                </a:lnTo>
                <a:lnTo>
                  <a:pt x="1366" y="1686"/>
                </a:lnTo>
                <a:lnTo>
                  <a:pt x="1367" y="1641"/>
                </a:lnTo>
                <a:lnTo>
                  <a:pt x="1370" y="1598"/>
                </a:lnTo>
                <a:lnTo>
                  <a:pt x="1374" y="1555"/>
                </a:lnTo>
                <a:lnTo>
                  <a:pt x="1378" y="1511"/>
                </a:lnTo>
                <a:lnTo>
                  <a:pt x="1383" y="1469"/>
                </a:lnTo>
                <a:lnTo>
                  <a:pt x="1390" y="1427"/>
                </a:lnTo>
                <a:lnTo>
                  <a:pt x="1397" y="1386"/>
                </a:lnTo>
                <a:lnTo>
                  <a:pt x="1405" y="1345"/>
                </a:lnTo>
                <a:lnTo>
                  <a:pt x="1415" y="1304"/>
                </a:lnTo>
                <a:lnTo>
                  <a:pt x="1426" y="1264"/>
                </a:lnTo>
                <a:lnTo>
                  <a:pt x="1437" y="1223"/>
                </a:lnTo>
                <a:lnTo>
                  <a:pt x="1449" y="1184"/>
                </a:lnTo>
                <a:lnTo>
                  <a:pt x="1463" y="1145"/>
                </a:lnTo>
                <a:lnTo>
                  <a:pt x="1477" y="1106"/>
                </a:lnTo>
                <a:lnTo>
                  <a:pt x="1493" y="1068"/>
                </a:lnTo>
                <a:lnTo>
                  <a:pt x="1508" y="1030"/>
                </a:lnTo>
                <a:lnTo>
                  <a:pt x="1527" y="993"/>
                </a:lnTo>
                <a:lnTo>
                  <a:pt x="1545" y="955"/>
                </a:lnTo>
                <a:lnTo>
                  <a:pt x="1564" y="919"/>
                </a:lnTo>
                <a:lnTo>
                  <a:pt x="1585" y="883"/>
                </a:lnTo>
                <a:lnTo>
                  <a:pt x="1606" y="847"/>
                </a:lnTo>
                <a:lnTo>
                  <a:pt x="1628" y="811"/>
                </a:lnTo>
                <a:lnTo>
                  <a:pt x="1652" y="776"/>
                </a:lnTo>
                <a:lnTo>
                  <a:pt x="1676" y="742"/>
                </a:lnTo>
                <a:lnTo>
                  <a:pt x="1702" y="708"/>
                </a:lnTo>
                <a:lnTo>
                  <a:pt x="1728" y="674"/>
                </a:lnTo>
                <a:lnTo>
                  <a:pt x="1756" y="640"/>
                </a:lnTo>
                <a:lnTo>
                  <a:pt x="1783" y="607"/>
                </a:lnTo>
                <a:lnTo>
                  <a:pt x="1813" y="574"/>
                </a:lnTo>
                <a:lnTo>
                  <a:pt x="1844" y="542"/>
                </a:lnTo>
                <a:lnTo>
                  <a:pt x="1875" y="510"/>
                </a:lnTo>
                <a:lnTo>
                  <a:pt x="1907" y="478"/>
                </a:lnTo>
                <a:lnTo>
                  <a:pt x="1940" y="448"/>
                </a:lnTo>
                <a:lnTo>
                  <a:pt x="1971" y="419"/>
                </a:lnTo>
                <a:lnTo>
                  <a:pt x="2005" y="390"/>
                </a:lnTo>
                <a:lnTo>
                  <a:pt x="2038" y="362"/>
                </a:lnTo>
                <a:lnTo>
                  <a:pt x="2072" y="336"/>
                </a:lnTo>
                <a:lnTo>
                  <a:pt x="2106" y="311"/>
                </a:lnTo>
                <a:lnTo>
                  <a:pt x="2141" y="287"/>
                </a:lnTo>
                <a:lnTo>
                  <a:pt x="2176" y="263"/>
                </a:lnTo>
                <a:lnTo>
                  <a:pt x="2211" y="240"/>
                </a:lnTo>
                <a:lnTo>
                  <a:pt x="2247" y="219"/>
                </a:lnTo>
                <a:lnTo>
                  <a:pt x="2284" y="199"/>
                </a:lnTo>
                <a:lnTo>
                  <a:pt x="2320" y="179"/>
                </a:lnTo>
                <a:lnTo>
                  <a:pt x="2357" y="160"/>
                </a:lnTo>
                <a:lnTo>
                  <a:pt x="2395" y="143"/>
                </a:lnTo>
                <a:lnTo>
                  <a:pt x="2432" y="127"/>
                </a:lnTo>
                <a:lnTo>
                  <a:pt x="2470" y="111"/>
                </a:lnTo>
                <a:lnTo>
                  <a:pt x="2510" y="98"/>
                </a:lnTo>
                <a:lnTo>
                  <a:pt x="2549" y="84"/>
                </a:lnTo>
                <a:lnTo>
                  <a:pt x="2588" y="71"/>
                </a:lnTo>
                <a:lnTo>
                  <a:pt x="2628" y="60"/>
                </a:lnTo>
                <a:lnTo>
                  <a:pt x="2668" y="50"/>
                </a:lnTo>
                <a:lnTo>
                  <a:pt x="2709" y="40"/>
                </a:lnTo>
                <a:lnTo>
                  <a:pt x="2750" y="32"/>
                </a:lnTo>
                <a:lnTo>
                  <a:pt x="2791" y="24"/>
                </a:lnTo>
                <a:lnTo>
                  <a:pt x="2833" y="18"/>
                </a:lnTo>
                <a:lnTo>
                  <a:pt x="2876" y="13"/>
                </a:lnTo>
                <a:lnTo>
                  <a:pt x="2918" y="7"/>
                </a:lnTo>
                <a:lnTo>
                  <a:pt x="2962" y="4"/>
                </a:lnTo>
                <a:lnTo>
                  <a:pt x="3005" y="2"/>
                </a:lnTo>
                <a:lnTo>
                  <a:pt x="3049" y="1"/>
                </a:lnTo>
                <a:lnTo>
                  <a:pt x="3094" y="0"/>
                </a:lnTo>
                <a:lnTo>
                  <a:pt x="3138" y="1"/>
                </a:lnTo>
                <a:lnTo>
                  <a:pt x="3183" y="2"/>
                </a:lnTo>
                <a:lnTo>
                  <a:pt x="3226" y="4"/>
                </a:lnTo>
                <a:lnTo>
                  <a:pt x="3270" y="7"/>
                </a:lnTo>
                <a:lnTo>
                  <a:pt x="3312" y="13"/>
                </a:lnTo>
                <a:lnTo>
                  <a:pt x="3356" y="18"/>
                </a:lnTo>
                <a:lnTo>
                  <a:pt x="3397" y="24"/>
                </a:lnTo>
                <a:lnTo>
                  <a:pt x="3440" y="32"/>
                </a:lnTo>
                <a:lnTo>
                  <a:pt x="3481" y="40"/>
                </a:lnTo>
                <a:lnTo>
                  <a:pt x="3521" y="50"/>
                </a:lnTo>
                <a:lnTo>
                  <a:pt x="3563" y="60"/>
                </a:lnTo>
                <a:lnTo>
                  <a:pt x="3602" y="71"/>
                </a:lnTo>
                <a:lnTo>
                  <a:pt x="3643" y="84"/>
                </a:lnTo>
                <a:lnTo>
                  <a:pt x="3682" y="98"/>
                </a:lnTo>
                <a:lnTo>
                  <a:pt x="3721" y="111"/>
                </a:lnTo>
                <a:lnTo>
                  <a:pt x="3759" y="127"/>
                </a:lnTo>
                <a:lnTo>
                  <a:pt x="3798" y="143"/>
                </a:lnTo>
                <a:lnTo>
                  <a:pt x="3835" y="160"/>
                </a:lnTo>
                <a:lnTo>
                  <a:pt x="3873" y="179"/>
                </a:lnTo>
                <a:lnTo>
                  <a:pt x="3909" y="199"/>
                </a:lnTo>
                <a:lnTo>
                  <a:pt x="3946" y="219"/>
                </a:lnTo>
                <a:lnTo>
                  <a:pt x="3982" y="240"/>
                </a:lnTo>
                <a:lnTo>
                  <a:pt x="4017" y="263"/>
                </a:lnTo>
                <a:lnTo>
                  <a:pt x="4053" y="287"/>
                </a:lnTo>
                <a:lnTo>
                  <a:pt x="4088" y="311"/>
                </a:lnTo>
                <a:lnTo>
                  <a:pt x="4122" y="336"/>
                </a:lnTo>
                <a:lnTo>
                  <a:pt x="4156" y="362"/>
                </a:lnTo>
                <a:lnTo>
                  <a:pt x="4190" y="390"/>
                </a:lnTo>
                <a:lnTo>
                  <a:pt x="4223" y="419"/>
                </a:lnTo>
                <a:lnTo>
                  <a:pt x="4256" y="448"/>
                </a:lnTo>
                <a:lnTo>
                  <a:pt x="4289" y="478"/>
                </a:lnTo>
                <a:lnTo>
                  <a:pt x="4321" y="510"/>
                </a:lnTo>
                <a:lnTo>
                  <a:pt x="4353" y="542"/>
                </a:lnTo>
                <a:lnTo>
                  <a:pt x="4383" y="574"/>
                </a:lnTo>
                <a:lnTo>
                  <a:pt x="4412" y="607"/>
                </a:lnTo>
                <a:lnTo>
                  <a:pt x="4440" y="640"/>
                </a:lnTo>
                <a:lnTo>
                  <a:pt x="4467" y="674"/>
                </a:lnTo>
                <a:lnTo>
                  <a:pt x="4493" y="708"/>
                </a:lnTo>
                <a:lnTo>
                  <a:pt x="4518" y="742"/>
                </a:lnTo>
                <a:lnTo>
                  <a:pt x="4543" y="776"/>
                </a:lnTo>
                <a:lnTo>
                  <a:pt x="4566" y="811"/>
                </a:lnTo>
                <a:lnTo>
                  <a:pt x="4588" y="847"/>
                </a:lnTo>
                <a:lnTo>
                  <a:pt x="4610" y="883"/>
                </a:lnTo>
                <a:lnTo>
                  <a:pt x="4630" y="919"/>
                </a:lnTo>
                <a:lnTo>
                  <a:pt x="4649" y="955"/>
                </a:lnTo>
                <a:lnTo>
                  <a:pt x="4667" y="993"/>
                </a:lnTo>
                <a:lnTo>
                  <a:pt x="4685" y="1030"/>
                </a:lnTo>
                <a:lnTo>
                  <a:pt x="4701" y="1068"/>
                </a:lnTo>
                <a:lnTo>
                  <a:pt x="4716" y="1106"/>
                </a:lnTo>
                <a:lnTo>
                  <a:pt x="4731" y="1145"/>
                </a:lnTo>
                <a:lnTo>
                  <a:pt x="4745" y="1184"/>
                </a:lnTo>
                <a:lnTo>
                  <a:pt x="4756" y="1223"/>
                </a:lnTo>
                <a:lnTo>
                  <a:pt x="4768" y="1264"/>
                </a:lnTo>
                <a:lnTo>
                  <a:pt x="4779" y="1304"/>
                </a:lnTo>
                <a:lnTo>
                  <a:pt x="4788" y="1345"/>
                </a:lnTo>
                <a:lnTo>
                  <a:pt x="4797" y="1386"/>
                </a:lnTo>
                <a:lnTo>
                  <a:pt x="4803" y="1427"/>
                </a:lnTo>
                <a:lnTo>
                  <a:pt x="4810" y="1469"/>
                </a:lnTo>
                <a:lnTo>
                  <a:pt x="4816" y="1511"/>
                </a:lnTo>
                <a:lnTo>
                  <a:pt x="4820" y="1555"/>
                </a:lnTo>
                <a:lnTo>
                  <a:pt x="4823" y="1598"/>
                </a:lnTo>
                <a:lnTo>
                  <a:pt x="4825" y="1641"/>
                </a:lnTo>
                <a:lnTo>
                  <a:pt x="4827" y="1686"/>
                </a:lnTo>
                <a:lnTo>
                  <a:pt x="4827" y="1729"/>
                </a:lnTo>
                <a:lnTo>
                  <a:pt x="4827" y="1768"/>
                </a:lnTo>
                <a:lnTo>
                  <a:pt x="4826" y="1806"/>
                </a:lnTo>
                <a:lnTo>
                  <a:pt x="4824" y="1843"/>
                </a:lnTo>
                <a:lnTo>
                  <a:pt x="4822" y="1880"/>
                </a:lnTo>
                <a:lnTo>
                  <a:pt x="4818" y="1917"/>
                </a:lnTo>
                <a:lnTo>
                  <a:pt x="4814" y="1954"/>
                </a:lnTo>
                <a:lnTo>
                  <a:pt x="4808" y="1990"/>
                </a:lnTo>
                <a:lnTo>
                  <a:pt x="4803" y="2027"/>
                </a:lnTo>
                <a:lnTo>
                  <a:pt x="4797" y="2062"/>
                </a:lnTo>
                <a:lnTo>
                  <a:pt x="4789" y="2098"/>
                </a:lnTo>
                <a:lnTo>
                  <a:pt x="4781" y="2134"/>
                </a:lnTo>
                <a:lnTo>
                  <a:pt x="4772" y="2169"/>
                </a:lnTo>
                <a:lnTo>
                  <a:pt x="4763" y="2204"/>
                </a:lnTo>
                <a:lnTo>
                  <a:pt x="4752" y="2240"/>
                </a:lnTo>
                <a:lnTo>
                  <a:pt x="4740" y="2274"/>
                </a:lnTo>
                <a:lnTo>
                  <a:pt x="4729" y="2308"/>
                </a:lnTo>
                <a:lnTo>
                  <a:pt x="4716" y="2342"/>
                </a:lnTo>
                <a:lnTo>
                  <a:pt x="4702" y="2376"/>
                </a:lnTo>
                <a:lnTo>
                  <a:pt x="4688" y="2410"/>
                </a:lnTo>
                <a:lnTo>
                  <a:pt x="4673" y="2443"/>
                </a:lnTo>
                <a:lnTo>
                  <a:pt x="4657" y="2476"/>
                </a:lnTo>
                <a:lnTo>
                  <a:pt x="4641" y="2508"/>
                </a:lnTo>
                <a:lnTo>
                  <a:pt x="4624" y="2541"/>
                </a:lnTo>
                <a:lnTo>
                  <a:pt x="4605" y="2573"/>
                </a:lnTo>
                <a:lnTo>
                  <a:pt x="4586" y="2606"/>
                </a:lnTo>
                <a:lnTo>
                  <a:pt x="4566" y="2638"/>
                </a:lnTo>
                <a:lnTo>
                  <a:pt x="4546" y="2669"/>
                </a:lnTo>
                <a:lnTo>
                  <a:pt x="4525" y="2701"/>
                </a:lnTo>
                <a:lnTo>
                  <a:pt x="4502" y="2732"/>
                </a:lnTo>
                <a:lnTo>
                  <a:pt x="4480" y="2763"/>
                </a:lnTo>
                <a:lnTo>
                  <a:pt x="4456" y="2793"/>
                </a:lnTo>
                <a:lnTo>
                  <a:pt x="4431" y="2824"/>
                </a:lnTo>
                <a:lnTo>
                  <a:pt x="4407" y="2853"/>
                </a:lnTo>
                <a:lnTo>
                  <a:pt x="4381" y="2883"/>
                </a:lnTo>
                <a:lnTo>
                  <a:pt x="4356" y="2910"/>
                </a:lnTo>
                <a:lnTo>
                  <a:pt x="4329" y="2938"/>
                </a:lnTo>
                <a:lnTo>
                  <a:pt x="4303" y="2965"/>
                </a:lnTo>
                <a:lnTo>
                  <a:pt x="4276" y="2991"/>
                </a:lnTo>
                <a:lnTo>
                  <a:pt x="4249" y="3017"/>
                </a:lnTo>
                <a:lnTo>
                  <a:pt x="4220" y="3041"/>
                </a:lnTo>
                <a:lnTo>
                  <a:pt x="4192" y="3066"/>
                </a:lnTo>
                <a:lnTo>
                  <a:pt x="4164" y="3089"/>
                </a:lnTo>
                <a:lnTo>
                  <a:pt x="4134" y="3112"/>
                </a:lnTo>
                <a:lnTo>
                  <a:pt x="4105" y="3134"/>
                </a:lnTo>
                <a:lnTo>
                  <a:pt x="4075" y="3155"/>
                </a:lnTo>
                <a:lnTo>
                  <a:pt x="4045" y="3176"/>
                </a:lnTo>
                <a:lnTo>
                  <a:pt x="4014" y="3196"/>
                </a:lnTo>
                <a:lnTo>
                  <a:pt x="3982" y="3215"/>
                </a:lnTo>
                <a:lnTo>
                  <a:pt x="3950" y="3233"/>
                </a:lnTo>
                <a:lnTo>
                  <a:pt x="3919" y="3252"/>
                </a:lnTo>
                <a:lnTo>
                  <a:pt x="3887" y="3269"/>
                </a:lnTo>
                <a:lnTo>
                  <a:pt x="3854" y="3286"/>
                </a:lnTo>
                <a:lnTo>
                  <a:pt x="3820" y="3301"/>
                </a:lnTo>
                <a:lnTo>
                  <a:pt x="3786" y="3316"/>
                </a:lnTo>
                <a:lnTo>
                  <a:pt x="3752" y="3331"/>
                </a:lnTo>
                <a:lnTo>
                  <a:pt x="3718" y="3344"/>
                </a:lnTo>
                <a:lnTo>
                  <a:pt x="3683" y="3358"/>
                </a:lnTo>
                <a:lnTo>
                  <a:pt x="3647" y="3370"/>
                </a:lnTo>
                <a:lnTo>
                  <a:pt x="3611" y="3381"/>
                </a:lnTo>
                <a:lnTo>
                  <a:pt x="3575" y="3393"/>
                </a:lnTo>
                <a:lnTo>
                  <a:pt x="3538" y="3402"/>
                </a:lnTo>
                <a:lnTo>
                  <a:pt x="3500" y="3412"/>
                </a:lnTo>
                <a:lnTo>
                  <a:pt x="3463" y="3421"/>
                </a:lnTo>
                <a:lnTo>
                  <a:pt x="3425" y="3429"/>
                </a:lnTo>
                <a:lnTo>
                  <a:pt x="3438" y="3443"/>
                </a:lnTo>
                <a:lnTo>
                  <a:pt x="3449" y="3456"/>
                </a:lnTo>
                <a:lnTo>
                  <a:pt x="3459" y="3468"/>
                </a:lnTo>
                <a:lnTo>
                  <a:pt x="3466" y="3480"/>
                </a:lnTo>
                <a:lnTo>
                  <a:pt x="3473" y="3491"/>
                </a:lnTo>
                <a:lnTo>
                  <a:pt x="3477" y="3501"/>
                </a:lnTo>
                <a:lnTo>
                  <a:pt x="3479" y="3512"/>
                </a:lnTo>
                <a:lnTo>
                  <a:pt x="3480" y="3522"/>
                </a:lnTo>
                <a:close/>
              </a:path>
            </a:pathLst>
          </a:custGeom>
          <a:solidFill>
            <a:schemeClr val="accent1">
              <a:lumMod val="40000"/>
              <a:lumOff val="60000"/>
            </a:schemeClr>
          </a:solidFill>
          <a:ln w="9525">
            <a:noFill/>
            <a:round/>
            <a:headEnd/>
            <a:tailEnd/>
          </a:ln>
        </p:spPr>
        <p:txBody>
          <a:bodyPr/>
          <a:lstStyle/>
          <a:p>
            <a:pPr marL="0" marR="0" lvl="0" indent="0" algn="l" defTabSz="674255" rtl="0" eaLnBrk="1" fontAlgn="auto" latinLnBrk="0" hangingPunct="1">
              <a:lnSpc>
                <a:spcPct val="100000"/>
              </a:lnSpc>
              <a:spcBef>
                <a:spcPts val="0"/>
              </a:spcBef>
              <a:spcAft>
                <a:spcPts val="0"/>
              </a:spcAft>
              <a:buClrTx/>
              <a:buSzTx/>
              <a:buFontTx/>
              <a:buNone/>
              <a:tabLst/>
              <a:defRPr/>
            </a:pPr>
            <a:endParaRPr kumimoji="0" lang="en-GB" sz="1589"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7" name="TextBox 76">
            <a:extLst>
              <a:ext uri="{FF2B5EF4-FFF2-40B4-BE49-F238E27FC236}">
                <a16:creationId xmlns:a16="http://schemas.microsoft.com/office/drawing/2014/main" id="{BBAD862B-8FD5-4E02-8DB0-77516C0F25E0}"/>
              </a:ext>
            </a:extLst>
          </p:cNvPr>
          <p:cNvSpPr txBox="1"/>
          <p:nvPr/>
        </p:nvSpPr>
        <p:spPr>
          <a:xfrm>
            <a:off x="984935" y="5620293"/>
            <a:ext cx="2611722"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5B9BD5"/>
                </a:solidFill>
                <a:effectLst/>
                <a:uLnTx/>
                <a:uFillTx/>
                <a:latin typeface="Calibri" panose="020F0502020204030204"/>
                <a:ea typeface="+mn-ea"/>
                <a:cs typeface="+mn-cs"/>
              </a:rPr>
              <a:t>~ 4 of them will have Obstructive Sleep Apnea</a:t>
            </a:r>
          </a:p>
        </p:txBody>
      </p:sp>
      <p:sp>
        <p:nvSpPr>
          <p:cNvPr id="78" name="TextBox 77">
            <a:extLst>
              <a:ext uri="{FF2B5EF4-FFF2-40B4-BE49-F238E27FC236}">
                <a16:creationId xmlns:a16="http://schemas.microsoft.com/office/drawing/2014/main" id="{594EC5BD-C2EE-44D7-9AC3-36FE3416CCA8}"/>
              </a:ext>
            </a:extLst>
          </p:cNvPr>
          <p:cNvSpPr txBox="1"/>
          <p:nvPr/>
        </p:nvSpPr>
        <p:spPr>
          <a:xfrm>
            <a:off x="7953401" y="5620293"/>
            <a:ext cx="2611722"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4472C4">
                    <a:lumMod val="50000"/>
                  </a:srgbClr>
                </a:solidFill>
                <a:effectLst/>
                <a:uLnTx/>
                <a:uFillTx/>
                <a:latin typeface="Calibri" panose="020F0502020204030204"/>
                <a:ea typeface="+mn-ea"/>
                <a:cs typeface="+mn-cs"/>
              </a:rPr>
              <a:t>~ 4 of them will hav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4472C4">
                    <a:lumMod val="50000"/>
                  </a:srgbClr>
                </a:solidFill>
                <a:effectLst/>
                <a:uLnTx/>
                <a:uFillTx/>
                <a:latin typeface="Calibri" panose="020F0502020204030204"/>
                <a:ea typeface="+mn-ea"/>
                <a:cs typeface="+mn-cs"/>
              </a:rPr>
              <a:t>Central Sleep Apnea</a:t>
            </a:r>
          </a:p>
        </p:txBody>
      </p:sp>
      <p:sp>
        <p:nvSpPr>
          <p:cNvPr id="3" name="TextBox 2">
            <a:extLst>
              <a:ext uri="{FF2B5EF4-FFF2-40B4-BE49-F238E27FC236}">
                <a16:creationId xmlns:a16="http://schemas.microsoft.com/office/drawing/2014/main" id="{B0D858B6-25EC-43F9-97FC-2FB2A7B99D90}"/>
              </a:ext>
            </a:extLst>
          </p:cNvPr>
          <p:cNvSpPr txBox="1"/>
          <p:nvPr/>
        </p:nvSpPr>
        <p:spPr>
          <a:xfrm>
            <a:off x="391528" y="967297"/>
            <a:ext cx="4053165" cy="181588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The use of screening tools </a:t>
            </a:r>
            <a:r>
              <a:rPr kumimoji="0" lang="en-US" sz="1600" b="0" i="1" u="none" strike="noStrike" kern="1200" cap="none" spc="0" normalizeH="0" baseline="0" noProof="0" dirty="0">
                <a:ln>
                  <a:noFill/>
                </a:ln>
                <a:solidFill>
                  <a:prstClr val="black"/>
                </a:solidFill>
                <a:effectLst/>
                <a:uLnTx/>
                <a:uFillTx/>
                <a:latin typeface="Calibri" panose="020F0502020204030204"/>
                <a:ea typeface="+mn-ea"/>
                <a:cs typeface="+mn-cs"/>
              </a:rPr>
              <a:t>may</a:t>
            </a: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 help identify who needs a sleep study:</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Epworth Sleepiness Score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STOP-BANG (&gt;3)</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Generic tool to assess for fatigue, apneas, etc.</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	</a:t>
            </a:r>
          </a:p>
        </p:txBody>
      </p:sp>
      <p:sp>
        <p:nvSpPr>
          <p:cNvPr id="79" name="TextBox 78">
            <a:extLst>
              <a:ext uri="{FF2B5EF4-FFF2-40B4-BE49-F238E27FC236}">
                <a16:creationId xmlns:a16="http://schemas.microsoft.com/office/drawing/2014/main" id="{3181C925-E03D-4E02-8EFE-1CC8B5B869E5}"/>
              </a:ext>
            </a:extLst>
          </p:cNvPr>
          <p:cNvSpPr txBox="1"/>
          <p:nvPr/>
        </p:nvSpPr>
        <p:spPr>
          <a:xfrm>
            <a:off x="7401087" y="992891"/>
            <a:ext cx="4314548" cy="15696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Think about SDB when patients repor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Ongoing fatigue despite medical mgt and HF stability</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Excessive Nocturia</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Frequent awakening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Recurrent hospitalizations</a:t>
            </a:r>
          </a:p>
        </p:txBody>
      </p:sp>
      <p:sp>
        <p:nvSpPr>
          <p:cNvPr id="81" name="TextBox 80">
            <a:extLst>
              <a:ext uri="{FF2B5EF4-FFF2-40B4-BE49-F238E27FC236}">
                <a16:creationId xmlns:a16="http://schemas.microsoft.com/office/drawing/2014/main" id="{C9B6A64D-D541-4E8E-900E-29EA4D38DBB7}"/>
              </a:ext>
            </a:extLst>
          </p:cNvPr>
          <p:cNvSpPr txBox="1"/>
          <p:nvPr/>
        </p:nvSpPr>
        <p:spPr>
          <a:xfrm>
            <a:off x="10045807" y="5992922"/>
            <a:ext cx="2768162" cy="338554"/>
          </a:xfrm>
          <a:prstGeom prst="rect">
            <a:avLst/>
          </a:prstGeom>
          <a:noFill/>
        </p:spPr>
        <p:txBody>
          <a:bodyPr wrap="square" rtlCol="0">
            <a:spAutoFit/>
          </a:bodyPr>
          <a:lstStyle/>
          <a:p>
            <a:pPr lvl="0">
              <a:defRPr/>
            </a:pP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rPr>
              <a:t>Costanzo et al., JACC </a:t>
            </a:r>
            <a:r>
              <a:rPr lang="en-US" sz="800" dirty="0">
                <a:solidFill>
                  <a:prstClr val="black"/>
                </a:solidFill>
              </a:rPr>
              <a:t>2015; 65(1):72-84</a:t>
            </a:r>
            <a:endPar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lvl="0">
              <a:defRPr/>
            </a:pPr>
            <a:r>
              <a:rPr kumimoji="0" lang="en-US" sz="800" b="0" i="0" u="none" strike="noStrike" kern="1200" cap="none" spc="0" normalizeH="0" baseline="0" noProof="0" dirty="0" err="1">
                <a:ln>
                  <a:noFill/>
                </a:ln>
                <a:solidFill>
                  <a:prstClr val="black"/>
                </a:solidFill>
                <a:effectLst/>
                <a:uLnTx/>
                <a:uFillTx/>
                <a:latin typeface="Calibri" panose="020F0502020204030204"/>
                <a:ea typeface="+mn-ea"/>
                <a:cs typeface="+mn-cs"/>
              </a:rPr>
              <a:t>Arzt</a:t>
            </a: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rPr>
              <a:t> et al., JACC: Heart Fail 2016</a:t>
            </a:r>
            <a:r>
              <a:rPr lang="en-US" sz="800" dirty="0">
                <a:solidFill>
                  <a:prstClr val="black"/>
                </a:solidFill>
              </a:rPr>
              <a:t>; 4(2):116-125</a:t>
            </a:r>
            <a:endPar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8" name="TextBox 4">
            <a:extLst>
              <a:ext uri="{FF2B5EF4-FFF2-40B4-BE49-F238E27FC236}">
                <a16:creationId xmlns:a16="http://schemas.microsoft.com/office/drawing/2014/main" id="{38CF9FB5-F1C6-4544-8075-74E542936E70}"/>
              </a:ext>
            </a:extLst>
          </p:cNvPr>
          <p:cNvSpPr txBox="1">
            <a:spLocks noChangeArrowheads="1"/>
          </p:cNvSpPr>
          <p:nvPr/>
        </p:nvSpPr>
        <p:spPr bwMode="auto">
          <a:xfrm>
            <a:off x="231752" y="6085068"/>
            <a:ext cx="2667000" cy="215444"/>
          </a:xfrm>
          <a:prstGeom prst="rect">
            <a:avLst/>
          </a:prstGeom>
          <a:noFill/>
          <a:ln w="9525">
            <a:noFill/>
            <a:miter lim="800000"/>
            <a:headEnd/>
            <a:tailEnd/>
          </a:ln>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Calibri" pitchFamily="34" charset="0"/>
                <a:ea typeface="+mn-ea"/>
                <a:cs typeface="Calibri" pitchFamily="34" charset="0"/>
              </a:rPr>
              <a:t>Labarca et al.</a:t>
            </a:r>
            <a:r>
              <a:rPr kumimoji="0" lang="it-IT" sz="800" b="0" i="0" u="none" strike="noStrike" kern="1200" cap="none" spc="0" normalizeH="0" baseline="0" noProof="0" dirty="0">
                <a:ln>
                  <a:noFill/>
                </a:ln>
                <a:solidFill>
                  <a:prstClr val="black"/>
                </a:solidFill>
                <a:effectLst/>
                <a:uLnTx/>
                <a:uFillTx/>
                <a:latin typeface="Calibri" pitchFamily="34" charset="0"/>
                <a:ea typeface="+mn-ea"/>
                <a:cs typeface="Calibri" pitchFamily="34" charset="0"/>
              </a:rPr>
              <a:t> Sleep Medicine 2019; 61: 82-87</a:t>
            </a:r>
            <a:endParaRPr kumimoji="0" lang="en-US" sz="800" b="0" i="0" u="none" strike="noStrike" kern="1200" cap="none" spc="0" normalizeH="0" baseline="0" noProof="0" dirty="0">
              <a:ln>
                <a:noFill/>
              </a:ln>
              <a:solidFill>
                <a:prstClr val="black"/>
              </a:solidFill>
              <a:effectLst/>
              <a:uLnTx/>
              <a:uFillTx/>
              <a:latin typeface="Calibri" pitchFamily="34" charset="0"/>
              <a:ea typeface="+mn-ea"/>
              <a:cs typeface="Calibri" pitchFamily="34" charset="0"/>
            </a:endParaRPr>
          </a:p>
        </p:txBody>
      </p:sp>
      <p:sp>
        <p:nvSpPr>
          <p:cNvPr id="6" name="Arrow: Bent 5">
            <a:extLst>
              <a:ext uri="{FF2B5EF4-FFF2-40B4-BE49-F238E27FC236}">
                <a16:creationId xmlns:a16="http://schemas.microsoft.com/office/drawing/2014/main" id="{99E15E43-69AC-4B55-8C8E-CF690F9B7ACF}"/>
              </a:ext>
            </a:extLst>
          </p:cNvPr>
          <p:cNvSpPr/>
          <p:nvPr/>
        </p:nvSpPr>
        <p:spPr>
          <a:xfrm rot="5400000">
            <a:off x="7644793" y="2128101"/>
            <a:ext cx="1263670" cy="2563466"/>
          </a:xfrm>
          <a:prstGeom prst="bentArrow">
            <a:avLst>
              <a:gd name="adj1" fmla="val 13083"/>
              <a:gd name="adj2" fmla="val 25000"/>
              <a:gd name="adj3" fmla="val 25000"/>
              <a:gd name="adj4" fmla="val 43750"/>
            </a:avLst>
          </a:prstGeom>
          <a:solidFill>
            <a:schemeClr val="accent1">
              <a:lumMod val="40000"/>
              <a:lumOff val="6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5" name="Arrow: Bent 54">
            <a:extLst>
              <a:ext uri="{FF2B5EF4-FFF2-40B4-BE49-F238E27FC236}">
                <a16:creationId xmlns:a16="http://schemas.microsoft.com/office/drawing/2014/main" id="{0D850B9E-ECF1-48CD-B456-96074B358F9D}"/>
              </a:ext>
            </a:extLst>
          </p:cNvPr>
          <p:cNvSpPr/>
          <p:nvPr/>
        </p:nvSpPr>
        <p:spPr>
          <a:xfrm rot="5400000" flipV="1">
            <a:off x="2693535" y="2115334"/>
            <a:ext cx="1263670" cy="2549500"/>
          </a:xfrm>
          <a:prstGeom prst="bentArrow">
            <a:avLst>
              <a:gd name="adj1" fmla="val 13083"/>
              <a:gd name="adj2" fmla="val 25000"/>
              <a:gd name="adj3" fmla="val 25000"/>
              <a:gd name="adj4" fmla="val 43750"/>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TextBox 6">
            <a:extLst>
              <a:ext uri="{FF2B5EF4-FFF2-40B4-BE49-F238E27FC236}">
                <a16:creationId xmlns:a16="http://schemas.microsoft.com/office/drawing/2014/main" id="{69B211AF-7679-4D56-9BC9-058435D3FB80}"/>
              </a:ext>
            </a:extLst>
          </p:cNvPr>
          <p:cNvSpPr txBox="1"/>
          <p:nvPr/>
        </p:nvSpPr>
        <p:spPr>
          <a:xfrm>
            <a:off x="3936026" y="3533865"/>
            <a:ext cx="3874190" cy="280076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5B9BD5">
                    <a:lumMod val="75000"/>
                  </a:srgbClr>
                </a:solidFill>
                <a:effectLst/>
                <a:uLnTx/>
                <a:uFillTx/>
                <a:latin typeface="Calibri" panose="020F0502020204030204"/>
                <a:ea typeface="+mn-ea"/>
                <a:cs typeface="+mn-cs"/>
              </a:rPr>
              <a:t>When to Scree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srgbClr val="5B9BD5"/>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First HF patient visi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Post-discharge follow up visit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In office within 7-10 days of discharge from a HF-related admiss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During admiss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Avg HF admission is 4-5 day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Screening with ODI or HSAT near end of visit</a:t>
            </a:r>
          </a:p>
        </p:txBody>
      </p:sp>
      <p:sp>
        <p:nvSpPr>
          <p:cNvPr id="53" name="Title 3"/>
          <p:cNvSpPr txBox="1">
            <a:spLocks/>
          </p:cNvSpPr>
          <p:nvPr/>
        </p:nvSpPr>
        <p:spPr>
          <a:xfrm>
            <a:off x="261213" y="181472"/>
            <a:ext cx="10972800" cy="641742"/>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600" b="1" kern="1200">
                <a:solidFill>
                  <a:schemeClr val="tx1"/>
                </a:solidFill>
                <a:latin typeface="+mn-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200" i="0" u="none" strike="noStrike" kern="1200" cap="none" spc="0" normalizeH="0" baseline="0" noProof="0" dirty="0">
                <a:ln>
                  <a:noFill/>
                </a:ln>
                <a:solidFill>
                  <a:schemeClr val="accent2"/>
                </a:solidFill>
                <a:effectLst/>
                <a:uLnTx/>
                <a:uFillTx/>
                <a:latin typeface="Calibri" panose="020F0502020204030204"/>
                <a:ea typeface="+mj-ea"/>
                <a:cs typeface="+mj-cs"/>
              </a:rPr>
              <a:t>Screening Patients for Sleep Disordered Breathing</a:t>
            </a:r>
          </a:p>
        </p:txBody>
      </p:sp>
      <p:sp>
        <p:nvSpPr>
          <p:cNvPr id="54" name="Freeform 18">
            <a:extLst>
              <a:ext uri="{FF2B5EF4-FFF2-40B4-BE49-F238E27FC236}">
                <a16:creationId xmlns:a16="http://schemas.microsoft.com/office/drawing/2014/main" id="{36387740-3010-4962-9BF4-F2F186CFA297}"/>
              </a:ext>
            </a:extLst>
          </p:cNvPr>
          <p:cNvSpPr>
            <a:spLocks/>
          </p:cNvSpPr>
          <p:nvPr/>
        </p:nvSpPr>
        <p:spPr bwMode="auto">
          <a:xfrm>
            <a:off x="5206152" y="2374602"/>
            <a:ext cx="197037" cy="470851"/>
          </a:xfrm>
          <a:custGeom>
            <a:avLst/>
            <a:gdLst>
              <a:gd name="T0" fmla="*/ 13344091 w 6132"/>
              <a:gd name="T1" fmla="*/ 10441401 h 16980"/>
              <a:gd name="T2" fmla="*/ 14439013 w 6132"/>
              <a:gd name="T3" fmla="*/ 10808942 h 16980"/>
              <a:gd name="T4" fmla="*/ 15478309 w 6132"/>
              <a:gd name="T5" fmla="*/ 11467619 h 16980"/>
              <a:gd name="T6" fmla="*/ 16450295 w 6132"/>
              <a:gd name="T7" fmla="*/ 12408541 h 16980"/>
              <a:gd name="T8" fmla="*/ 17214401 w 6132"/>
              <a:gd name="T9" fmla="*/ 13481773 h 16980"/>
              <a:gd name="T10" fmla="*/ 17709159 w 6132"/>
              <a:gd name="T11" fmla="*/ 14605004 h 16980"/>
              <a:gd name="T12" fmla="*/ 17937493 w 6132"/>
              <a:gd name="T13" fmla="*/ 15789994 h 16980"/>
              <a:gd name="T14" fmla="*/ 17922884 w 6132"/>
              <a:gd name="T15" fmla="*/ 28795453 h 16980"/>
              <a:gd name="T16" fmla="*/ 17720901 w 6132"/>
              <a:gd name="T17" fmla="*/ 29724608 h 16980"/>
              <a:gd name="T18" fmla="*/ 17322724 w 6132"/>
              <a:gd name="T19" fmla="*/ 30571448 h 16980"/>
              <a:gd name="T20" fmla="*/ 16731329 w 6132"/>
              <a:gd name="T21" fmla="*/ 31344758 h 16980"/>
              <a:gd name="T22" fmla="*/ 15970146 w 6132"/>
              <a:gd name="T23" fmla="*/ 32000508 h 16980"/>
              <a:gd name="T24" fmla="*/ 15062602 w 6132"/>
              <a:gd name="T25" fmla="*/ 32509198 h 16980"/>
              <a:gd name="T26" fmla="*/ 14014483 w 6132"/>
              <a:gd name="T27" fmla="*/ 32867899 h 16980"/>
              <a:gd name="T28" fmla="*/ 4168927 w 6132"/>
              <a:gd name="T29" fmla="*/ 32935519 h 16980"/>
              <a:gd name="T30" fmla="*/ 3003722 w 6132"/>
              <a:gd name="T31" fmla="*/ 32515054 h 16980"/>
              <a:gd name="T32" fmla="*/ 2104943 w 6132"/>
              <a:gd name="T33" fmla="*/ 32053432 h 16980"/>
              <a:gd name="T34" fmla="*/ 1334994 w 6132"/>
              <a:gd name="T35" fmla="*/ 31503585 h 16980"/>
              <a:gd name="T36" fmla="*/ 723146 w 6132"/>
              <a:gd name="T37" fmla="*/ 30883136 h 16980"/>
              <a:gd name="T38" fmla="*/ 295697 w 6132"/>
              <a:gd name="T39" fmla="*/ 30230369 h 16980"/>
              <a:gd name="T40" fmla="*/ 55622 w 6132"/>
              <a:gd name="T41" fmla="*/ 29542302 h 16980"/>
              <a:gd name="T42" fmla="*/ 2922 w 6132"/>
              <a:gd name="T43" fmla="*/ 16034064 h 16980"/>
              <a:gd name="T44" fmla="*/ 166867 w 6132"/>
              <a:gd name="T45" fmla="*/ 14637376 h 16980"/>
              <a:gd name="T46" fmla="*/ 608925 w 6132"/>
              <a:gd name="T47" fmla="*/ 13408297 h 16980"/>
              <a:gd name="T48" fmla="*/ 1326228 w 6132"/>
              <a:gd name="T49" fmla="*/ 12352689 h 16980"/>
              <a:gd name="T50" fmla="*/ 2309902 w 6132"/>
              <a:gd name="T51" fmla="*/ 11479386 h 16980"/>
              <a:gd name="T52" fmla="*/ 3495559 w 6132"/>
              <a:gd name="T53" fmla="*/ 10853081 h 16980"/>
              <a:gd name="T54" fmla="*/ 4889097 w 6132"/>
              <a:gd name="T55" fmla="*/ 10479630 h 16980"/>
              <a:gd name="T56" fmla="*/ 6475906 w 6132"/>
              <a:gd name="T57" fmla="*/ 10356104 h 16980"/>
              <a:gd name="T58" fmla="*/ 6768627 w 6132"/>
              <a:gd name="T59" fmla="*/ 10332625 h 16980"/>
              <a:gd name="T60" fmla="*/ 7661564 w 6132"/>
              <a:gd name="T61" fmla="*/ 10323786 h 16980"/>
              <a:gd name="T62" fmla="*/ 7863602 w 6132"/>
              <a:gd name="T63" fmla="*/ 10085627 h 16980"/>
              <a:gd name="T64" fmla="*/ 7032131 w 6132"/>
              <a:gd name="T65" fmla="*/ 9768029 h 16980"/>
              <a:gd name="T66" fmla="*/ 6197794 w 6132"/>
              <a:gd name="T67" fmla="*/ 9285801 h 16980"/>
              <a:gd name="T68" fmla="*/ 5471726 w 6132"/>
              <a:gd name="T69" fmla="*/ 8674191 h 16980"/>
              <a:gd name="T70" fmla="*/ 4859825 w 6132"/>
              <a:gd name="T71" fmla="*/ 7936181 h 16980"/>
              <a:gd name="T72" fmla="*/ 4409002 w 6132"/>
              <a:gd name="T73" fmla="*/ 7115803 h 16980"/>
              <a:gd name="T74" fmla="*/ 4122070 w 6132"/>
              <a:gd name="T75" fmla="*/ 6242499 h 16980"/>
              <a:gd name="T76" fmla="*/ 4002059 w 6132"/>
              <a:gd name="T77" fmla="*/ 5304506 h 16980"/>
              <a:gd name="T78" fmla="*/ 4069369 w 6132"/>
              <a:gd name="T79" fmla="*/ 4195974 h 16980"/>
              <a:gd name="T80" fmla="*/ 4370910 w 6132"/>
              <a:gd name="T81" fmla="*/ 3140364 h 16980"/>
              <a:gd name="T82" fmla="*/ 4906682 w 6132"/>
              <a:gd name="T83" fmla="*/ 2181765 h 16980"/>
              <a:gd name="T84" fmla="*/ 5679553 w 6132"/>
              <a:gd name="T85" fmla="*/ 1317301 h 16980"/>
              <a:gd name="T86" fmla="*/ 6578332 w 6132"/>
              <a:gd name="T87" fmla="*/ 643928 h 16980"/>
              <a:gd name="T88" fmla="*/ 7576670 w 6132"/>
              <a:gd name="T89" fmla="*/ 208768 h 16980"/>
              <a:gd name="T90" fmla="*/ 8671588 w 6132"/>
              <a:gd name="T91" fmla="*/ 11767 h 16980"/>
              <a:gd name="T92" fmla="*/ 9825105 w 6132"/>
              <a:gd name="T93" fmla="*/ 52924 h 16980"/>
              <a:gd name="T94" fmla="*/ 10893673 w 6132"/>
              <a:gd name="T95" fmla="*/ 326384 h 16980"/>
              <a:gd name="T96" fmla="*/ 11865659 w 6132"/>
              <a:gd name="T97" fmla="*/ 843912 h 16980"/>
              <a:gd name="T98" fmla="*/ 12743931 w 6132"/>
              <a:gd name="T99" fmla="*/ 1593689 h 16980"/>
              <a:gd name="T100" fmla="*/ 13431908 w 6132"/>
              <a:gd name="T101" fmla="*/ 2490525 h 16980"/>
              <a:gd name="T102" fmla="*/ 13891551 w 6132"/>
              <a:gd name="T103" fmla="*/ 3481443 h 16980"/>
              <a:gd name="T104" fmla="*/ 14111119 w 6132"/>
              <a:gd name="T105" fmla="*/ 4572353 h 16980"/>
              <a:gd name="T106" fmla="*/ 14105275 w 6132"/>
              <a:gd name="T107" fmla="*/ 5636746 h 16980"/>
              <a:gd name="T108" fmla="*/ 13912057 w 6132"/>
              <a:gd name="T109" fmla="*/ 6586506 h 16980"/>
              <a:gd name="T110" fmla="*/ 13537309 w 6132"/>
              <a:gd name="T111" fmla="*/ 7471577 h 16980"/>
              <a:gd name="T112" fmla="*/ 12972265 w 6132"/>
              <a:gd name="T113" fmla="*/ 8303722 h 16980"/>
              <a:gd name="T114" fmla="*/ 12272601 w 6132"/>
              <a:gd name="T115" fmla="*/ 9015324 h 16980"/>
              <a:gd name="T116" fmla="*/ 11473326 w 6132"/>
              <a:gd name="T117" fmla="*/ 9562188 h 16980"/>
              <a:gd name="T118" fmla="*/ 10571626 w 6132"/>
              <a:gd name="T119" fmla="*/ 9941550 h 16980"/>
              <a:gd name="T120" fmla="*/ 10147098 w 6132"/>
              <a:gd name="T121" fmla="*/ 10232633 h 1698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6132"/>
              <a:gd name="T184" fmla="*/ 0 h 16980"/>
              <a:gd name="T185" fmla="*/ 6132 w 6132"/>
              <a:gd name="T186" fmla="*/ 16980 h 16980"/>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6132" h="16980">
                <a:moveTo>
                  <a:pt x="3480" y="3522"/>
                </a:moveTo>
                <a:lnTo>
                  <a:pt x="4254" y="3522"/>
                </a:lnTo>
                <a:lnTo>
                  <a:pt x="4298" y="3522"/>
                </a:lnTo>
                <a:lnTo>
                  <a:pt x="4342" y="3524"/>
                </a:lnTo>
                <a:lnTo>
                  <a:pt x="4386" y="3527"/>
                </a:lnTo>
                <a:lnTo>
                  <a:pt x="4429" y="3531"/>
                </a:lnTo>
                <a:lnTo>
                  <a:pt x="4473" y="3536"/>
                </a:lnTo>
                <a:lnTo>
                  <a:pt x="4515" y="3543"/>
                </a:lnTo>
                <a:lnTo>
                  <a:pt x="4558" y="3551"/>
                </a:lnTo>
                <a:lnTo>
                  <a:pt x="4601" y="3560"/>
                </a:lnTo>
                <a:lnTo>
                  <a:pt x="4643" y="3570"/>
                </a:lnTo>
                <a:lnTo>
                  <a:pt x="4685" y="3582"/>
                </a:lnTo>
                <a:lnTo>
                  <a:pt x="4727" y="3595"/>
                </a:lnTo>
                <a:lnTo>
                  <a:pt x="4769" y="3609"/>
                </a:lnTo>
                <a:lnTo>
                  <a:pt x="4809" y="3624"/>
                </a:lnTo>
                <a:lnTo>
                  <a:pt x="4851" y="3640"/>
                </a:lnTo>
                <a:lnTo>
                  <a:pt x="4892" y="3658"/>
                </a:lnTo>
                <a:lnTo>
                  <a:pt x="4932" y="3676"/>
                </a:lnTo>
                <a:lnTo>
                  <a:pt x="4973" y="3696"/>
                </a:lnTo>
                <a:lnTo>
                  <a:pt x="5013" y="3717"/>
                </a:lnTo>
                <a:lnTo>
                  <a:pt x="5052" y="3739"/>
                </a:lnTo>
                <a:lnTo>
                  <a:pt x="5093" y="3763"/>
                </a:lnTo>
                <a:lnTo>
                  <a:pt x="5132" y="3788"/>
                </a:lnTo>
                <a:lnTo>
                  <a:pt x="5171" y="3814"/>
                </a:lnTo>
                <a:lnTo>
                  <a:pt x="5210" y="3842"/>
                </a:lnTo>
                <a:lnTo>
                  <a:pt x="5249" y="3870"/>
                </a:lnTo>
                <a:lnTo>
                  <a:pt x="5287" y="3900"/>
                </a:lnTo>
                <a:lnTo>
                  <a:pt x="5325" y="3931"/>
                </a:lnTo>
                <a:lnTo>
                  <a:pt x="5364" y="3963"/>
                </a:lnTo>
                <a:lnTo>
                  <a:pt x="5401" y="3997"/>
                </a:lnTo>
                <a:lnTo>
                  <a:pt x="5438" y="4031"/>
                </a:lnTo>
                <a:lnTo>
                  <a:pt x="5475" y="4067"/>
                </a:lnTo>
                <a:lnTo>
                  <a:pt x="5512" y="4104"/>
                </a:lnTo>
                <a:lnTo>
                  <a:pt x="5549" y="4142"/>
                </a:lnTo>
                <a:lnTo>
                  <a:pt x="5584" y="4181"/>
                </a:lnTo>
                <a:lnTo>
                  <a:pt x="5619" y="4220"/>
                </a:lnTo>
                <a:lnTo>
                  <a:pt x="5652" y="4260"/>
                </a:lnTo>
                <a:lnTo>
                  <a:pt x="5685" y="4300"/>
                </a:lnTo>
                <a:lnTo>
                  <a:pt x="5716" y="4339"/>
                </a:lnTo>
                <a:lnTo>
                  <a:pt x="5747" y="4379"/>
                </a:lnTo>
                <a:lnTo>
                  <a:pt x="5775" y="4420"/>
                </a:lnTo>
                <a:lnTo>
                  <a:pt x="5803" y="4460"/>
                </a:lnTo>
                <a:lnTo>
                  <a:pt x="5830" y="4502"/>
                </a:lnTo>
                <a:lnTo>
                  <a:pt x="5855" y="4543"/>
                </a:lnTo>
                <a:lnTo>
                  <a:pt x="5880" y="4585"/>
                </a:lnTo>
                <a:lnTo>
                  <a:pt x="5904" y="4626"/>
                </a:lnTo>
                <a:lnTo>
                  <a:pt x="5925" y="4667"/>
                </a:lnTo>
                <a:lnTo>
                  <a:pt x="5946" y="4710"/>
                </a:lnTo>
                <a:lnTo>
                  <a:pt x="5967" y="4752"/>
                </a:lnTo>
                <a:lnTo>
                  <a:pt x="5986" y="4795"/>
                </a:lnTo>
                <a:lnTo>
                  <a:pt x="6004" y="4838"/>
                </a:lnTo>
                <a:lnTo>
                  <a:pt x="6020" y="4880"/>
                </a:lnTo>
                <a:lnTo>
                  <a:pt x="6036" y="4924"/>
                </a:lnTo>
                <a:lnTo>
                  <a:pt x="6049" y="4967"/>
                </a:lnTo>
                <a:lnTo>
                  <a:pt x="6063" y="5011"/>
                </a:lnTo>
                <a:lnTo>
                  <a:pt x="6075" y="5055"/>
                </a:lnTo>
                <a:lnTo>
                  <a:pt x="6085" y="5100"/>
                </a:lnTo>
                <a:lnTo>
                  <a:pt x="6095" y="5144"/>
                </a:lnTo>
                <a:lnTo>
                  <a:pt x="6104" y="5189"/>
                </a:lnTo>
                <a:lnTo>
                  <a:pt x="6111" y="5234"/>
                </a:lnTo>
                <a:lnTo>
                  <a:pt x="6117" y="5280"/>
                </a:lnTo>
                <a:lnTo>
                  <a:pt x="6123" y="5324"/>
                </a:lnTo>
                <a:lnTo>
                  <a:pt x="6127" y="5370"/>
                </a:lnTo>
                <a:lnTo>
                  <a:pt x="6130" y="5417"/>
                </a:lnTo>
                <a:lnTo>
                  <a:pt x="6131" y="5463"/>
                </a:lnTo>
                <a:lnTo>
                  <a:pt x="6132" y="5509"/>
                </a:lnTo>
                <a:lnTo>
                  <a:pt x="6132" y="9605"/>
                </a:lnTo>
                <a:lnTo>
                  <a:pt x="6132" y="9643"/>
                </a:lnTo>
                <a:lnTo>
                  <a:pt x="6130" y="9682"/>
                </a:lnTo>
                <a:lnTo>
                  <a:pt x="6129" y="9719"/>
                </a:lnTo>
                <a:lnTo>
                  <a:pt x="6126" y="9756"/>
                </a:lnTo>
                <a:lnTo>
                  <a:pt x="6122" y="9793"/>
                </a:lnTo>
                <a:lnTo>
                  <a:pt x="6117" y="9829"/>
                </a:lnTo>
                <a:lnTo>
                  <a:pt x="6112" y="9866"/>
                </a:lnTo>
                <a:lnTo>
                  <a:pt x="6107" y="9901"/>
                </a:lnTo>
                <a:lnTo>
                  <a:pt x="6099" y="9937"/>
                </a:lnTo>
                <a:lnTo>
                  <a:pt x="6092" y="9972"/>
                </a:lnTo>
                <a:lnTo>
                  <a:pt x="6083" y="10007"/>
                </a:lnTo>
                <a:lnTo>
                  <a:pt x="6074" y="10041"/>
                </a:lnTo>
                <a:lnTo>
                  <a:pt x="6063" y="10075"/>
                </a:lnTo>
                <a:lnTo>
                  <a:pt x="6053" y="10109"/>
                </a:lnTo>
                <a:lnTo>
                  <a:pt x="6041" y="10142"/>
                </a:lnTo>
                <a:lnTo>
                  <a:pt x="6028" y="10175"/>
                </a:lnTo>
                <a:lnTo>
                  <a:pt x="6014" y="10208"/>
                </a:lnTo>
                <a:lnTo>
                  <a:pt x="6001" y="10241"/>
                </a:lnTo>
                <a:lnTo>
                  <a:pt x="5986" y="10273"/>
                </a:lnTo>
                <a:lnTo>
                  <a:pt x="5970" y="10305"/>
                </a:lnTo>
                <a:lnTo>
                  <a:pt x="5953" y="10335"/>
                </a:lnTo>
                <a:lnTo>
                  <a:pt x="5935" y="10366"/>
                </a:lnTo>
                <a:lnTo>
                  <a:pt x="5917" y="10397"/>
                </a:lnTo>
                <a:lnTo>
                  <a:pt x="5898" y="10428"/>
                </a:lnTo>
                <a:lnTo>
                  <a:pt x="5877" y="10458"/>
                </a:lnTo>
                <a:lnTo>
                  <a:pt x="5857" y="10487"/>
                </a:lnTo>
                <a:lnTo>
                  <a:pt x="5835" y="10517"/>
                </a:lnTo>
                <a:lnTo>
                  <a:pt x="5813" y="10546"/>
                </a:lnTo>
                <a:lnTo>
                  <a:pt x="5789" y="10575"/>
                </a:lnTo>
                <a:lnTo>
                  <a:pt x="5766" y="10603"/>
                </a:lnTo>
                <a:lnTo>
                  <a:pt x="5740" y="10632"/>
                </a:lnTo>
                <a:lnTo>
                  <a:pt x="5715" y="10660"/>
                </a:lnTo>
                <a:lnTo>
                  <a:pt x="5688" y="10687"/>
                </a:lnTo>
                <a:lnTo>
                  <a:pt x="5661" y="10714"/>
                </a:lnTo>
                <a:lnTo>
                  <a:pt x="5633" y="10739"/>
                </a:lnTo>
                <a:lnTo>
                  <a:pt x="5606" y="10765"/>
                </a:lnTo>
                <a:lnTo>
                  <a:pt x="5576" y="10790"/>
                </a:lnTo>
                <a:lnTo>
                  <a:pt x="5546" y="10814"/>
                </a:lnTo>
                <a:lnTo>
                  <a:pt x="5516" y="10838"/>
                </a:lnTo>
                <a:lnTo>
                  <a:pt x="5486" y="10860"/>
                </a:lnTo>
                <a:lnTo>
                  <a:pt x="5455" y="10883"/>
                </a:lnTo>
                <a:lnTo>
                  <a:pt x="5422" y="10905"/>
                </a:lnTo>
                <a:lnTo>
                  <a:pt x="5390" y="10925"/>
                </a:lnTo>
                <a:lnTo>
                  <a:pt x="5357" y="10947"/>
                </a:lnTo>
                <a:lnTo>
                  <a:pt x="5323" y="10966"/>
                </a:lnTo>
                <a:lnTo>
                  <a:pt x="5288" y="10985"/>
                </a:lnTo>
                <a:lnTo>
                  <a:pt x="5253" y="11004"/>
                </a:lnTo>
                <a:lnTo>
                  <a:pt x="5218" y="11022"/>
                </a:lnTo>
                <a:lnTo>
                  <a:pt x="5182" y="11039"/>
                </a:lnTo>
                <a:lnTo>
                  <a:pt x="5145" y="11056"/>
                </a:lnTo>
                <a:lnTo>
                  <a:pt x="5108" y="11072"/>
                </a:lnTo>
                <a:lnTo>
                  <a:pt x="5069" y="11087"/>
                </a:lnTo>
                <a:lnTo>
                  <a:pt x="5031" y="11102"/>
                </a:lnTo>
                <a:lnTo>
                  <a:pt x="4992" y="11117"/>
                </a:lnTo>
                <a:lnTo>
                  <a:pt x="4952" y="11130"/>
                </a:lnTo>
                <a:lnTo>
                  <a:pt x="4911" y="11143"/>
                </a:lnTo>
                <a:lnTo>
                  <a:pt x="4871" y="11155"/>
                </a:lnTo>
                <a:lnTo>
                  <a:pt x="4828" y="11167"/>
                </a:lnTo>
                <a:lnTo>
                  <a:pt x="4787" y="11178"/>
                </a:lnTo>
                <a:lnTo>
                  <a:pt x="4743" y="11189"/>
                </a:lnTo>
                <a:lnTo>
                  <a:pt x="4701" y="11199"/>
                </a:lnTo>
                <a:lnTo>
                  <a:pt x="4656" y="11208"/>
                </a:lnTo>
                <a:lnTo>
                  <a:pt x="4612" y="11217"/>
                </a:lnTo>
                <a:lnTo>
                  <a:pt x="4567" y="11225"/>
                </a:lnTo>
                <a:lnTo>
                  <a:pt x="4567" y="16980"/>
                </a:lnTo>
                <a:lnTo>
                  <a:pt x="1510" y="16980"/>
                </a:lnTo>
                <a:lnTo>
                  <a:pt x="1510" y="11225"/>
                </a:lnTo>
                <a:lnTo>
                  <a:pt x="1424" y="11201"/>
                </a:lnTo>
                <a:lnTo>
                  <a:pt x="1340" y="11175"/>
                </a:lnTo>
                <a:lnTo>
                  <a:pt x="1298" y="11161"/>
                </a:lnTo>
                <a:lnTo>
                  <a:pt x="1258" y="11148"/>
                </a:lnTo>
                <a:lnTo>
                  <a:pt x="1218" y="11134"/>
                </a:lnTo>
                <a:lnTo>
                  <a:pt x="1178" y="11120"/>
                </a:lnTo>
                <a:lnTo>
                  <a:pt x="1139" y="11105"/>
                </a:lnTo>
                <a:lnTo>
                  <a:pt x="1101" y="11089"/>
                </a:lnTo>
                <a:lnTo>
                  <a:pt x="1064" y="11074"/>
                </a:lnTo>
                <a:lnTo>
                  <a:pt x="1026" y="11058"/>
                </a:lnTo>
                <a:lnTo>
                  <a:pt x="990" y="11042"/>
                </a:lnTo>
                <a:lnTo>
                  <a:pt x="954" y="11025"/>
                </a:lnTo>
                <a:lnTo>
                  <a:pt x="918" y="11009"/>
                </a:lnTo>
                <a:lnTo>
                  <a:pt x="884" y="10991"/>
                </a:lnTo>
                <a:lnTo>
                  <a:pt x="849" y="10974"/>
                </a:lnTo>
                <a:lnTo>
                  <a:pt x="816" y="10956"/>
                </a:lnTo>
                <a:lnTo>
                  <a:pt x="782" y="10938"/>
                </a:lnTo>
                <a:lnTo>
                  <a:pt x="750" y="10920"/>
                </a:lnTo>
                <a:lnTo>
                  <a:pt x="719" y="10901"/>
                </a:lnTo>
                <a:lnTo>
                  <a:pt x="687" y="10882"/>
                </a:lnTo>
                <a:lnTo>
                  <a:pt x="656" y="10862"/>
                </a:lnTo>
                <a:lnTo>
                  <a:pt x="626" y="10841"/>
                </a:lnTo>
                <a:lnTo>
                  <a:pt x="596" y="10821"/>
                </a:lnTo>
                <a:lnTo>
                  <a:pt x="567" y="10801"/>
                </a:lnTo>
                <a:lnTo>
                  <a:pt x="539" y="10780"/>
                </a:lnTo>
                <a:lnTo>
                  <a:pt x="510" y="10758"/>
                </a:lnTo>
                <a:lnTo>
                  <a:pt x="484" y="10736"/>
                </a:lnTo>
                <a:lnTo>
                  <a:pt x="456" y="10714"/>
                </a:lnTo>
                <a:lnTo>
                  <a:pt x="431" y="10691"/>
                </a:lnTo>
                <a:lnTo>
                  <a:pt x="405" y="10668"/>
                </a:lnTo>
                <a:lnTo>
                  <a:pt x="380" y="10646"/>
                </a:lnTo>
                <a:lnTo>
                  <a:pt x="355" y="10622"/>
                </a:lnTo>
                <a:lnTo>
                  <a:pt x="332" y="10599"/>
                </a:lnTo>
                <a:lnTo>
                  <a:pt x="310" y="10576"/>
                </a:lnTo>
                <a:lnTo>
                  <a:pt x="289" y="10551"/>
                </a:lnTo>
                <a:lnTo>
                  <a:pt x="267" y="10528"/>
                </a:lnTo>
                <a:lnTo>
                  <a:pt x="247" y="10503"/>
                </a:lnTo>
                <a:lnTo>
                  <a:pt x="228" y="10480"/>
                </a:lnTo>
                <a:lnTo>
                  <a:pt x="209" y="10455"/>
                </a:lnTo>
                <a:lnTo>
                  <a:pt x="191" y="10431"/>
                </a:lnTo>
                <a:lnTo>
                  <a:pt x="174" y="10407"/>
                </a:lnTo>
                <a:lnTo>
                  <a:pt x="158" y="10382"/>
                </a:lnTo>
                <a:lnTo>
                  <a:pt x="142" y="10357"/>
                </a:lnTo>
                <a:lnTo>
                  <a:pt x="128" y="10332"/>
                </a:lnTo>
                <a:lnTo>
                  <a:pt x="114" y="10307"/>
                </a:lnTo>
                <a:lnTo>
                  <a:pt x="101" y="10281"/>
                </a:lnTo>
                <a:lnTo>
                  <a:pt x="89" y="10256"/>
                </a:lnTo>
                <a:lnTo>
                  <a:pt x="77" y="10230"/>
                </a:lnTo>
                <a:lnTo>
                  <a:pt x="67" y="10205"/>
                </a:lnTo>
                <a:lnTo>
                  <a:pt x="57" y="10179"/>
                </a:lnTo>
                <a:lnTo>
                  <a:pt x="48" y="10153"/>
                </a:lnTo>
                <a:lnTo>
                  <a:pt x="39" y="10127"/>
                </a:lnTo>
                <a:lnTo>
                  <a:pt x="32" y="10100"/>
                </a:lnTo>
                <a:lnTo>
                  <a:pt x="25" y="10074"/>
                </a:lnTo>
                <a:lnTo>
                  <a:pt x="19" y="10047"/>
                </a:lnTo>
                <a:lnTo>
                  <a:pt x="14" y="10021"/>
                </a:lnTo>
                <a:lnTo>
                  <a:pt x="9" y="9994"/>
                </a:lnTo>
                <a:lnTo>
                  <a:pt x="6" y="9967"/>
                </a:lnTo>
                <a:lnTo>
                  <a:pt x="3" y="9940"/>
                </a:lnTo>
                <a:lnTo>
                  <a:pt x="1" y="9912"/>
                </a:lnTo>
                <a:lnTo>
                  <a:pt x="0" y="9885"/>
                </a:lnTo>
                <a:lnTo>
                  <a:pt x="0" y="9857"/>
                </a:lnTo>
                <a:lnTo>
                  <a:pt x="0" y="5509"/>
                </a:lnTo>
                <a:lnTo>
                  <a:pt x="1" y="5453"/>
                </a:lnTo>
                <a:lnTo>
                  <a:pt x="2" y="5398"/>
                </a:lnTo>
                <a:lnTo>
                  <a:pt x="5" y="5342"/>
                </a:lnTo>
                <a:lnTo>
                  <a:pt x="9" y="5288"/>
                </a:lnTo>
                <a:lnTo>
                  <a:pt x="15" y="5235"/>
                </a:lnTo>
                <a:lnTo>
                  <a:pt x="21" y="5182"/>
                </a:lnTo>
                <a:lnTo>
                  <a:pt x="28" y="5130"/>
                </a:lnTo>
                <a:lnTo>
                  <a:pt x="37" y="5079"/>
                </a:lnTo>
                <a:lnTo>
                  <a:pt x="47" y="5028"/>
                </a:lnTo>
                <a:lnTo>
                  <a:pt x="57" y="4978"/>
                </a:lnTo>
                <a:lnTo>
                  <a:pt x="70" y="4929"/>
                </a:lnTo>
                <a:lnTo>
                  <a:pt x="83" y="4880"/>
                </a:lnTo>
                <a:lnTo>
                  <a:pt x="97" y="4832"/>
                </a:lnTo>
                <a:lnTo>
                  <a:pt x="112" y="4785"/>
                </a:lnTo>
                <a:lnTo>
                  <a:pt x="129" y="4739"/>
                </a:lnTo>
                <a:lnTo>
                  <a:pt x="147" y="4693"/>
                </a:lnTo>
                <a:lnTo>
                  <a:pt x="166" y="4648"/>
                </a:lnTo>
                <a:lnTo>
                  <a:pt x="187" y="4604"/>
                </a:lnTo>
                <a:lnTo>
                  <a:pt x="208" y="4560"/>
                </a:lnTo>
                <a:lnTo>
                  <a:pt x="230" y="4518"/>
                </a:lnTo>
                <a:lnTo>
                  <a:pt x="255" y="4476"/>
                </a:lnTo>
                <a:lnTo>
                  <a:pt x="279" y="4435"/>
                </a:lnTo>
                <a:lnTo>
                  <a:pt x="306" y="4393"/>
                </a:lnTo>
                <a:lnTo>
                  <a:pt x="332" y="4354"/>
                </a:lnTo>
                <a:lnTo>
                  <a:pt x="361" y="4315"/>
                </a:lnTo>
                <a:lnTo>
                  <a:pt x="391" y="4275"/>
                </a:lnTo>
                <a:lnTo>
                  <a:pt x="421" y="4238"/>
                </a:lnTo>
                <a:lnTo>
                  <a:pt x="453" y="4201"/>
                </a:lnTo>
                <a:lnTo>
                  <a:pt x="486" y="4165"/>
                </a:lnTo>
                <a:lnTo>
                  <a:pt x="520" y="4129"/>
                </a:lnTo>
                <a:lnTo>
                  <a:pt x="556" y="4093"/>
                </a:lnTo>
                <a:lnTo>
                  <a:pt x="592" y="4059"/>
                </a:lnTo>
                <a:lnTo>
                  <a:pt x="629" y="4025"/>
                </a:lnTo>
                <a:lnTo>
                  <a:pt x="668" y="3994"/>
                </a:lnTo>
                <a:lnTo>
                  <a:pt x="707" y="3963"/>
                </a:lnTo>
                <a:lnTo>
                  <a:pt x="747" y="3933"/>
                </a:lnTo>
                <a:lnTo>
                  <a:pt x="789" y="3904"/>
                </a:lnTo>
                <a:lnTo>
                  <a:pt x="830" y="3876"/>
                </a:lnTo>
                <a:lnTo>
                  <a:pt x="873" y="3849"/>
                </a:lnTo>
                <a:lnTo>
                  <a:pt x="916" y="3823"/>
                </a:lnTo>
                <a:lnTo>
                  <a:pt x="961" y="3799"/>
                </a:lnTo>
                <a:lnTo>
                  <a:pt x="1005" y="3775"/>
                </a:lnTo>
                <a:lnTo>
                  <a:pt x="1052" y="3752"/>
                </a:lnTo>
                <a:lnTo>
                  <a:pt x="1099" y="3731"/>
                </a:lnTo>
                <a:lnTo>
                  <a:pt x="1146" y="3711"/>
                </a:lnTo>
                <a:lnTo>
                  <a:pt x="1194" y="3691"/>
                </a:lnTo>
                <a:lnTo>
                  <a:pt x="1244" y="3672"/>
                </a:lnTo>
                <a:lnTo>
                  <a:pt x="1294" y="3655"/>
                </a:lnTo>
                <a:lnTo>
                  <a:pt x="1345" y="3640"/>
                </a:lnTo>
                <a:lnTo>
                  <a:pt x="1397" y="3624"/>
                </a:lnTo>
                <a:lnTo>
                  <a:pt x="1450" y="3610"/>
                </a:lnTo>
                <a:lnTo>
                  <a:pt x="1503" y="3597"/>
                </a:lnTo>
                <a:lnTo>
                  <a:pt x="1558" y="3584"/>
                </a:lnTo>
                <a:lnTo>
                  <a:pt x="1614" y="3574"/>
                </a:lnTo>
                <a:lnTo>
                  <a:pt x="1670" y="3564"/>
                </a:lnTo>
                <a:lnTo>
                  <a:pt x="1726" y="3554"/>
                </a:lnTo>
                <a:lnTo>
                  <a:pt x="1785" y="3547"/>
                </a:lnTo>
                <a:lnTo>
                  <a:pt x="1843" y="3540"/>
                </a:lnTo>
                <a:lnTo>
                  <a:pt x="1902" y="3534"/>
                </a:lnTo>
                <a:lnTo>
                  <a:pt x="1963" y="3530"/>
                </a:lnTo>
                <a:lnTo>
                  <a:pt x="2024" y="3526"/>
                </a:lnTo>
                <a:lnTo>
                  <a:pt x="2086" y="3524"/>
                </a:lnTo>
                <a:lnTo>
                  <a:pt x="2149" y="3522"/>
                </a:lnTo>
                <a:lnTo>
                  <a:pt x="2212" y="3522"/>
                </a:lnTo>
                <a:lnTo>
                  <a:pt x="2218" y="3517"/>
                </a:lnTo>
                <a:lnTo>
                  <a:pt x="2224" y="3514"/>
                </a:lnTo>
                <a:lnTo>
                  <a:pt x="2230" y="3513"/>
                </a:lnTo>
                <a:lnTo>
                  <a:pt x="2237" y="3512"/>
                </a:lnTo>
                <a:lnTo>
                  <a:pt x="2243" y="3512"/>
                </a:lnTo>
                <a:lnTo>
                  <a:pt x="2251" y="3512"/>
                </a:lnTo>
                <a:lnTo>
                  <a:pt x="2261" y="3512"/>
                </a:lnTo>
                <a:lnTo>
                  <a:pt x="2274" y="3512"/>
                </a:lnTo>
                <a:lnTo>
                  <a:pt x="2312" y="3514"/>
                </a:lnTo>
                <a:lnTo>
                  <a:pt x="2353" y="3516"/>
                </a:lnTo>
                <a:lnTo>
                  <a:pt x="2393" y="3517"/>
                </a:lnTo>
                <a:lnTo>
                  <a:pt x="2435" y="3519"/>
                </a:lnTo>
                <a:lnTo>
                  <a:pt x="2479" y="3520"/>
                </a:lnTo>
                <a:lnTo>
                  <a:pt x="2522" y="3520"/>
                </a:lnTo>
                <a:lnTo>
                  <a:pt x="2568" y="3522"/>
                </a:lnTo>
                <a:lnTo>
                  <a:pt x="2615" y="3522"/>
                </a:lnTo>
                <a:lnTo>
                  <a:pt x="2616" y="3516"/>
                </a:lnTo>
                <a:lnTo>
                  <a:pt x="2617" y="3511"/>
                </a:lnTo>
                <a:lnTo>
                  <a:pt x="2620" y="3505"/>
                </a:lnTo>
                <a:lnTo>
                  <a:pt x="2623" y="3498"/>
                </a:lnTo>
                <a:lnTo>
                  <a:pt x="2634" y="3483"/>
                </a:lnTo>
                <a:lnTo>
                  <a:pt x="2649" y="3466"/>
                </a:lnTo>
                <a:lnTo>
                  <a:pt x="2663" y="3450"/>
                </a:lnTo>
                <a:lnTo>
                  <a:pt x="2674" y="3439"/>
                </a:lnTo>
                <a:lnTo>
                  <a:pt x="2678" y="3434"/>
                </a:lnTo>
                <a:lnTo>
                  <a:pt x="2683" y="3431"/>
                </a:lnTo>
                <a:lnTo>
                  <a:pt x="2686" y="3430"/>
                </a:lnTo>
                <a:lnTo>
                  <a:pt x="2688" y="3429"/>
                </a:lnTo>
                <a:lnTo>
                  <a:pt x="2651" y="3417"/>
                </a:lnTo>
                <a:lnTo>
                  <a:pt x="2614" y="3406"/>
                </a:lnTo>
                <a:lnTo>
                  <a:pt x="2578" y="3393"/>
                </a:lnTo>
                <a:lnTo>
                  <a:pt x="2542" y="3380"/>
                </a:lnTo>
                <a:lnTo>
                  <a:pt x="2506" y="3366"/>
                </a:lnTo>
                <a:lnTo>
                  <a:pt x="2471" y="3351"/>
                </a:lnTo>
                <a:lnTo>
                  <a:pt x="2436" y="3337"/>
                </a:lnTo>
                <a:lnTo>
                  <a:pt x="2402" y="3322"/>
                </a:lnTo>
                <a:lnTo>
                  <a:pt x="2368" y="3306"/>
                </a:lnTo>
                <a:lnTo>
                  <a:pt x="2336" y="3289"/>
                </a:lnTo>
                <a:lnTo>
                  <a:pt x="2303" y="3272"/>
                </a:lnTo>
                <a:lnTo>
                  <a:pt x="2271" y="3255"/>
                </a:lnTo>
                <a:lnTo>
                  <a:pt x="2239" y="3237"/>
                </a:lnTo>
                <a:lnTo>
                  <a:pt x="2208" y="3218"/>
                </a:lnTo>
                <a:lnTo>
                  <a:pt x="2177" y="3198"/>
                </a:lnTo>
                <a:lnTo>
                  <a:pt x="2147" y="3178"/>
                </a:lnTo>
                <a:lnTo>
                  <a:pt x="2117" y="3158"/>
                </a:lnTo>
                <a:lnTo>
                  <a:pt x="2087" y="3137"/>
                </a:lnTo>
                <a:lnTo>
                  <a:pt x="2058" y="3115"/>
                </a:lnTo>
                <a:lnTo>
                  <a:pt x="2030" y="3093"/>
                </a:lnTo>
                <a:lnTo>
                  <a:pt x="2002" y="3071"/>
                </a:lnTo>
                <a:lnTo>
                  <a:pt x="1975" y="3047"/>
                </a:lnTo>
                <a:lnTo>
                  <a:pt x="1948" y="3024"/>
                </a:lnTo>
                <a:lnTo>
                  <a:pt x="1921" y="3000"/>
                </a:lnTo>
                <a:lnTo>
                  <a:pt x="1895" y="2975"/>
                </a:lnTo>
                <a:lnTo>
                  <a:pt x="1869" y="2950"/>
                </a:lnTo>
                <a:lnTo>
                  <a:pt x="1844" y="2924"/>
                </a:lnTo>
                <a:lnTo>
                  <a:pt x="1820" y="2898"/>
                </a:lnTo>
                <a:lnTo>
                  <a:pt x="1795" y="2871"/>
                </a:lnTo>
                <a:lnTo>
                  <a:pt x="1771" y="2843"/>
                </a:lnTo>
                <a:lnTo>
                  <a:pt x="1747" y="2816"/>
                </a:lnTo>
                <a:lnTo>
                  <a:pt x="1725" y="2787"/>
                </a:lnTo>
                <a:lnTo>
                  <a:pt x="1703" y="2757"/>
                </a:lnTo>
                <a:lnTo>
                  <a:pt x="1682" y="2729"/>
                </a:lnTo>
                <a:lnTo>
                  <a:pt x="1660" y="2699"/>
                </a:lnTo>
                <a:lnTo>
                  <a:pt x="1640" y="2669"/>
                </a:lnTo>
                <a:lnTo>
                  <a:pt x="1621" y="2638"/>
                </a:lnTo>
                <a:lnTo>
                  <a:pt x="1603" y="2608"/>
                </a:lnTo>
                <a:lnTo>
                  <a:pt x="1585" y="2578"/>
                </a:lnTo>
                <a:lnTo>
                  <a:pt x="1568" y="2547"/>
                </a:lnTo>
                <a:lnTo>
                  <a:pt x="1551" y="2516"/>
                </a:lnTo>
                <a:lnTo>
                  <a:pt x="1535" y="2484"/>
                </a:lnTo>
                <a:lnTo>
                  <a:pt x="1520" y="2452"/>
                </a:lnTo>
                <a:lnTo>
                  <a:pt x="1506" y="2420"/>
                </a:lnTo>
                <a:lnTo>
                  <a:pt x="1493" y="2388"/>
                </a:lnTo>
                <a:lnTo>
                  <a:pt x="1479" y="2356"/>
                </a:lnTo>
                <a:lnTo>
                  <a:pt x="1467" y="2324"/>
                </a:lnTo>
                <a:lnTo>
                  <a:pt x="1455" y="2291"/>
                </a:lnTo>
                <a:lnTo>
                  <a:pt x="1445" y="2258"/>
                </a:lnTo>
                <a:lnTo>
                  <a:pt x="1434" y="2225"/>
                </a:lnTo>
                <a:lnTo>
                  <a:pt x="1425" y="2191"/>
                </a:lnTo>
                <a:lnTo>
                  <a:pt x="1416" y="2157"/>
                </a:lnTo>
                <a:lnTo>
                  <a:pt x="1408" y="2123"/>
                </a:lnTo>
                <a:lnTo>
                  <a:pt x="1400" y="2089"/>
                </a:lnTo>
                <a:lnTo>
                  <a:pt x="1394" y="2054"/>
                </a:lnTo>
                <a:lnTo>
                  <a:pt x="1389" y="2018"/>
                </a:lnTo>
                <a:lnTo>
                  <a:pt x="1383" y="1983"/>
                </a:lnTo>
                <a:lnTo>
                  <a:pt x="1378" y="1948"/>
                </a:lnTo>
                <a:lnTo>
                  <a:pt x="1375" y="1912"/>
                </a:lnTo>
                <a:lnTo>
                  <a:pt x="1372" y="1876"/>
                </a:lnTo>
                <a:lnTo>
                  <a:pt x="1368" y="1840"/>
                </a:lnTo>
                <a:lnTo>
                  <a:pt x="1367" y="1804"/>
                </a:lnTo>
                <a:lnTo>
                  <a:pt x="1366" y="1767"/>
                </a:lnTo>
                <a:lnTo>
                  <a:pt x="1365" y="1729"/>
                </a:lnTo>
                <a:lnTo>
                  <a:pt x="1366" y="1686"/>
                </a:lnTo>
                <a:lnTo>
                  <a:pt x="1367" y="1641"/>
                </a:lnTo>
                <a:lnTo>
                  <a:pt x="1370" y="1598"/>
                </a:lnTo>
                <a:lnTo>
                  <a:pt x="1374" y="1555"/>
                </a:lnTo>
                <a:lnTo>
                  <a:pt x="1378" y="1511"/>
                </a:lnTo>
                <a:lnTo>
                  <a:pt x="1383" y="1469"/>
                </a:lnTo>
                <a:lnTo>
                  <a:pt x="1390" y="1427"/>
                </a:lnTo>
                <a:lnTo>
                  <a:pt x="1397" y="1386"/>
                </a:lnTo>
                <a:lnTo>
                  <a:pt x="1405" y="1345"/>
                </a:lnTo>
                <a:lnTo>
                  <a:pt x="1415" y="1304"/>
                </a:lnTo>
                <a:lnTo>
                  <a:pt x="1426" y="1264"/>
                </a:lnTo>
                <a:lnTo>
                  <a:pt x="1437" y="1223"/>
                </a:lnTo>
                <a:lnTo>
                  <a:pt x="1449" y="1184"/>
                </a:lnTo>
                <a:lnTo>
                  <a:pt x="1463" y="1145"/>
                </a:lnTo>
                <a:lnTo>
                  <a:pt x="1477" y="1106"/>
                </a:lnTo>
                <a:lnTo>
                  <a:pt x="1493" y="1068"/>
                </a:lnTo>
                <a:lnTo>
                  <a:pt x="1508" y="1030"/>
                </a:lnTo>
                <a:lnTo>
                  <a:pt x="1527" y="993"/>
                </a:lnTo>
                <a:lnTo>
                  <a:pt x="1545" y="955"/>
                </a:lnTo>
                <a:lnTo>
                  <a:pt x="1564" y="919"/>
                </a:lnTo>
                <a:lnTo>
                  <a:pt x="1585" y="883"/>
                </a:lnTo>
                <a:lnTo>
                  <a:pt x="1606" y="847"/>
                </a:lnTo>
                <a:lnTo>
                  <a:pt x="1628" y="811"/>
                </a:lnTo>
                <a:lnTo>
                  <a:pt x="1652" y="776"/>
                </a:lnTo>
                <a:lnTo>
                  <a:pt x="1676" y="742"/>
                </a:lnTo>
                <a:lnTo>
                  <a:pt x="1702" y="708"/>
                </a:lnTo>
                <a:lnTo>
                  <a:pt x="1728" y="674"/>
                </a:lnTo>
                <a:lnTo>
                  <a:pt x="1756" y="640"/>
                </a:lnTo>
                <a:lnTo>
                  <a:pt x="1783" y="607"/>
                </a:lnTo>
                <a:lnTo>
                  <a:pt x="1813" y="574"/>
                </a:lnTo>
                <a:lnTo>
                  <a:pt x="1844" y="542"/>
                </a:lnTo>
                <a:lnTo>
                  <a:pt x="1875" y="510"/>
                </a:lnTo>
                <a:lnTo>
                  <a:pt x="1907" y="478"/>
                </a:lnTo>
                <a:lnTo>
                  <a:pt x="1940" y="448"/>
                </a:lnTo>
                <a:lnTo>
                  <a:pt x="1971" y="419"/>
                </a:lnTo>
                <a:lnTo>
                  <a:pt x="2005" y="390"/>
                </a:lnTo>
                <a:lnTo>
                  <a:pt x="2038" y="362"/>
                </a:lnTo>
                <a:lnTo>
                  <a:pt x="2072" y="336"/>
                </a:lnTo>
                <a:lnTo>
                  <a:pt x="2106" y="311"/>
                </a:lnTo>
                <a:lnTo>
                  <a:pt x="2141" y="287"/>
                </a:lnTo>
                <a:lnTo>
                  <a:pt x="2176" y="263"/>
                </a:lnTo>
                <a:lnTo>
                  <a:pt x="2211" y="240"/>
                </a:lnTo>
                <a:lnTo>
                  <a:pt x="2247" y="219"/>
                </a:lnTo>
                <a:lnTo>
                  <a:pt x="2284" y="199"/>
                </a:lnTo>
                <a:lnTo>
                  <a:pt x="2320" y="179"/>
                </a:lnTo>
                <a:lnTo>
                  <a:pt x="2357" y="160"/>
                </a:lnTo>
                <a:lnTo>
                  <a:pt x="2395" y="143"/>
                </a:lnTo>
                <a:lnTo>
                  <a:pt x="2432" y="127"/>
                </a:lnTo>
                <a:lnTo>
                  <a:pt x="2470" y="111"/>
                </a:lnTo>
                <a:lnTo>
                  <a:pt x="2510" y="98"/>
                </a:lnTo>
                <a:lnTo>
                  <a:pt x="2549" y="84"/>
                </a:lnTo>
                <a:lnTo>
                  <a:pt x="2588" y="71"/>
                </a:lnTo>
                <a:lnTo>
                  <a:pt x="2628" y="60"/>
                </a:lnTo>
                <a:lnTo>
                  <a:pt x="2668" y="50"/>
                </a:lnTo>
                <a:lnTo>
                  <a:pt x="2709" y="40"/>
                </a:lnTo>
                <a:lnTo>
                  <a:pt x="2750" y="32"/>
                </a:lnTo>
                <a:lnTo>
                  <a:pt x="2791" y="24"/>
                </a:lnTo>
                <a:lnTo>
                  <a:pt x="2833" y="18"/>
                </a:lnTo>
                <a:lnTo>
                  <a:pt x="2876" y="13"/>
                </a:lnTo>
                <a:lnTo>
                  <a:pt x="2918" y="7"/>
                </a:lnTo>
                <a:lnTo>
                  <a:pt x="2962" y="4"/>
                </a:lnTo>
                <a:lnTo>
                  <a:pt x="3005" y="2"/>
                </a:lnTo>
                <a:lnTo>
                  <a:pt x="3049" y="1"/>
                </a:lnTo>
                <a:lnTo>
                  <a:pt x="3094" y="0"/>
                </a:lnTo>
                <a:lnTo>
                  <a:pt x="3138" y="1"/>
                </a:lnTo>
                <a:lnTo>
                  <a:pt x="3183" y="2"/>
                </a:lnTo>
                <a:lnTo>
                  <a:pt x="3226" y="4"/>
                </a:lnTo>
                <a:lnTo>
                  <a:pt x="3270" y="7"/>
                </a:lnTo>
                <a:lnTo>
                  <a:pt x="3312" y="13"/>
                </a:lnTo>
                <a:lnTo>
                  <a:pt x="3356" y="18"/>
                </a:lnTo>
                <a:lnTo>
                  <a:pt x="3397" y="24"/>
                </a:lnTo>
                <a:lnTo>
                  <a:pt x="3440" y="32"/>
                </a:lnTo>
                <a:lnTo>
                  <a:pt x="3481" y="40"/>
                </a:lnTo>
                <a:lnTo>
                  <a:pt x="3521" y="50"/>
                </a:lnTo>
                <a:lnTo>
                  <a:pt x="3563" y="60"/>
                </a:lnTo>
                <a:lnTo>
                  <a:pt x="3602" y="71"/>
                </a:lnTo>
                <a:lnTo>
                  <a:pt x="3643" y="84"/>
                </a:lnTo>
                <a:lnTo>
                  <a:pt x="3682" y="98"/>
                </a:lnTo>
                <a:lnTo>
                  <a:pt x="3721" y="111"/>
                </a:lnTo>
                <a:lnTo>
                  <a:pt x="3759" y="127"/>
                </a:lnTo>
                <a:lnTo>
                  <a:pt x="3798" y="143"/>
                </a:lnTo>
                <a:lnTo>
                  <a:pt x="3835" y="160"/>
                </a:lnTo>
                <a:lnTo>
                  <a:pt x="3873" y="179"/>
                </a:lnTo>
                <a:lnTo>
                  <a:pt x="3909" y="199"/>
                </a:lnTo>
                <a:lnTo>
                  <a:pt x="3946" y="219"/>
                </a:lnTo>
                <a:lnTo>
                  <a:pt x="3982" y="240"/>
                </a:lnTo>
                <a:lnTo>
                  <a:pt x="4017" y="263"/>
                </a:lnTo>
                <a:lnTo>
                  <a:pt x="4053" y="287"/>
                </a:lnTo>
                <a:lnTo>
                  <a:pt x="4088" y="311"/>
                </a:lnTo>
                <a:lnTo>
                  <a:pt x="4122" y="336"/>
                </a:lnTo>
                <a:lnTo>
                  <a:pt x="4156" y="362"/>
                </a:lnTo>
                <a:lnTo>
                  <a:pt x="4190" y="390"/>
                </a:lnTo>
                <a:lnTo>
                  <a:pt x="4223" y="419"/>
                </a:lnTo>
                <a:lnTo>
                  <a:pt x="4256" y="448"/>
                </a:lnTo>
                <a:lnTo>
                  <a:pt x="4289" y="478"/>
                </a:lnTo>
                <a:lnTo>
                  <a:pt x="4321" y="510"/>
                </a:lnTo>
                <a:lnTo>
                  <a:pt x="4353" y="542"/>
                </a:lnTo>
                <a:lnTo>
                  <a:pt x="4383" y="574"/>
                </a:lnTo>
                <a:lnTo>
                  <a:pt x="4412" y="607"/>
                </a:lnTo>
                <a:lnTo>
                  <a:pt x="4440" y="640"/>
                </a:lnTo>
                <a:lnTo>
                  <a:pt x="4467" y="674"/>
                </a:lnTo>
                <a:lnTo>
                  <a:pt x="4493" y="708"/>
                </a:lnTo>
                <a:lnTo>
                  <a:pt x="4518" y="742"/>
                </a:lnTo>
                <a:lnTo>
                  <a:pt x="4543" y="776"/>
                </a:lnTo>
                <a:lnTo>
                  <a:pt x="4566" y="811"/>
                </a:lnTo>
                <a:lnTo>
                  <a:pt x="4588" y="847"/>
                </a:lnTo>
                <a:lnTo>
                  <a:pt x="4610" y="883"/>
                </a:lnTo>
                <a:lnTo>
                  <a:pt x="4630" y="919"/>
                </a:lnTo>
                <a:lnTo>
                  <a:pt x="4649" y="955"/>
                </a:lnTo>
                <a:lnTo>
                  <a:pt x="4667" y="993"/>
                </a:lnTo>
                <a:lnTo>
                  <a:pt x="4685" y="1030"/>
                </a:lnTo>
                <a:lnTo>
                  <a:pt x="4701" y="1068"/>
                </a:lnTo>
                <a:lnTo>
                  <a:pt x="4716" y="1106"/>
                </a:lnTo>
                <a:lnTo>
                  <a:pt x="4731" y="1145"/>
                </a:lnTo>
                <a:lnTo>
                  <a:pt x="4745" y="1184"/>
                </a:lnTo>
                <a:lnTo>
                  <a:pt x="4756" y="1223"/>
                </a:lnTo>
                <a:lnTo>
                  <a:pt x="4768" y="1264"/>
                </a:lnTo>
                <a:lnTo>
                  <a:pt x="4779" y="1304"/>
                </a:lnTo>
                <a:lnTo>
                  <a:pt x="4788" y="1345"/>
                </a:lnTo>
                <a:lnTo>
                  <a:pt x="4797" y="1386"/>
                </a:lnTo>
                <a:lnTo>
                  <a:pt x="4803" y="1427"/>
                </a:lnTo>
                <a:lnTo>
                  <a:pt x="4810" y="1469"/>
                </a:lnTo>
                <a:lnTo>
                  <a:pt x="4816" y="1511"/>
                </a:lnTo>
                <a:lnTo>
                  <a:pt x="4820" y="1555"/>
                </a:lnTo>
                <a:lnTo>
                  <a:pt x="4823" y="1598"/>
                </a:lnTo>
                <a:lnTo>
                  <a:pt x="4825" y="1641"/>
                </a:lnTo>
                <a:lnTo>
                  <a:pt x="4827" y="1686"/>
                </a:lnTo>
                <a:lnTo>
                  <a:pt x="4827" y="1729"/>
                </a:lnTo>
                <a:lnTo>
                  <a:pt x="4827" y="1768"/>
                </a:lnTo>
                <a:lnTo>
                  <a:pt x="4826" y="1806"/>
                </a:lnTo>
                <a:lnTo>
                  <a:pt x="4824" y="1843"/>
                </a:lnTo>
                <a:lnTo>
                  <a:pt x="4822" y="1880"/>
                </a:lnTo>
                <a:lnTo>
                  <a:pt x="4818" y="1917"/>
                </a:lnTo>
                <a:lnTo>
                  <a:pt x="4814" y="1954"/>
                </a:lnTo>
                <a:lnTo>
                  <a:pt x="4808" y="1990"/>
                </a:lnTo>
                <a:lnTo>
                  <a:pt x="4803" y="2027"/>
                </a:lnTo>
                <a:lnTo>
                  <a:pt x="4797" y="2062"/>
                </a:lnTo>
                <a:lnTo>
                  <a:pt x="4789" y="2098"/>
                </a:lnTo>
                <a:lnTo>
                  <a:pt x="4781" y="2134"/>
                </a:lnTo>
                <a:lnTo>
                  <a:pt x="4772" y="2169"/>
                </a:lnTo>
                <a:lnTo>
                  <a:pt x="4763" y="2204"/>
                </a:lnTo>
                <a:lnTo>
                  <a:pt x="4752" y="2240"/>
                </a:lnTo>
                <a:lnTo>
                  <a:pt x="4740" y="2274"/>
                </a:lnTo>
                <a:lnTo>
                  <a:pt x="4729" y="2308"/>
                </a:lnTo>
                <a:lnTo>
                  <a:pt x="4716" y="2342"/>
                </a:lnTo>
                <a:lnTo>
                  <a:pt x="4702" y="2376"/>
                </a:lnTo>
                <a:lnTo>
                  <a:pt x="4688" y="2410"/>
                </a:lnTo>
                <a:lnTo>
                  <a:pt x="4673" y="2443"/>
                </a:lnTo>
                <a:lnTo>
                  <a:pt x="4657" y="2476"/>
                </a:lnTo>
                <a:lnTo>
                  <a:pt x="4641" y="2508"/>
                </a:lnTo>
                <a:lnTo>
                  <a:pt x="4624" y="2541"/>
                </a:lnTo>
                <a:lnTo>
                  <a:pt x="4605" y="2573"/>
                </a:lnTo>
                <a:lnTo>
                  <a:pt x="4586" y="2606"/>
                </a:lnTo>
                <a:lnTo>
                  <a:pt x="4566" y="2638"/>
                </a:lnTo>
                <a:lnTo>
                  <a:pt x="4546" y="2669"/>
                </a:lnTo>
                <a:lnTo>
                  <a:pt x="4525" y="2701"/>
                </a:lnTo>
                <a:lnTo>
                  <a:pt x="4502" y="2732"/>
                </a:lnTo>
                <a:lnTo>
                  <a:pt x="4480" y="2763"/>
                </a:lnTo>
                <a:lnTo>
                  <a:pt x="4456" y="2793"/>
                </a:lnTo>
                <a:lnTo>
                  <a:pt x="4431" y="2824"/>
                </a:lnTo>
                <a:lnTo>
                  <a:pt x="4407" y="2853"/>
                </a:lnTo>
                <a:lnTo>
                  <a:pt x="4381" y="2883"/>
                </a:lnTo>
                <a:lnTo>
                  <a:pt x="4356" y="2910"/>
                </a:lnTo>
                <a:lnTo>
                  <a:pt x="4329" y="2938"/>
                </a:lnTo>
                <a:lnTo>
                  <a:pt x="4303" y="2965"/>
                </a:lnTo>
                <a:lnTo>
                  <a:pt x="4276" y="2991"/>
                </a:lnTo>
                <a:lnTo>
                  <a:pt x="4249" y="3017"/>
                </a:lnTo>
                <a:lnTo>
                  <a:pt x="4220" y="3041"/>
                </a:lnTo>
                <a:lnTo>
                  <a:pt x="4192" y="3066"/>
                </a:lnTo>
                <a:lnTo>
                  <a:pt x="4164" y="3089"/>
                </a:lnTo>
                <a:lnTo>
                  <a:pt x="4134" y="3112"/>
                </a:lnTo>
                <a:lnTo>
                  <a:pt x="4105" y="3134"/>
                </a:lnTo>
                <a:lnTo>
                  <a:pt x="4075" y="3155"/>
                </a:lnTo>
                <a:lnTo>
                  <a:pt x="4045" y="3176"/>
                </a:lnTo>
                <a:lnTo>
                  <a:pt x="4014" y="3196"/>
                </a:lnTo>
                <a:lnTo>
                  <a:pt x="3982" y="3215"/>
                </a:lnTo>
                <a:lnTo>
                  <a:pt x="3950" y="3233"/>
                </a:lnTo>
                <a:lnTo>
                  <a:pt x="3919" y="3252"/>
                </a:lnTo>
                <a:lnTo>
                  <a:pt x="3887" y="3269"/>
                </a:lnTo>
                <a:lnTo>
                  <a:pt x="3854" y="3286"/>
                </a:lnTo>
                <a:lnTo>
                  <a:pt x="3820" y="3301"/>
                </a:lnTo>
                <a:lnTo>
                  <a:pt x="3786" y="3316"/>
                </a:lnTo>
                <a:lnTo>
                  <a:pt x="3752" y="3331"/>
                </a:lnTo>
                <a:lnTo>
                  <a:pt x="3718" y="3344"/>
                </a:lnTo>
                <a:lnTo>
                  <a:pt x="3683" y="3358"/>
                </a:lnTo>
                <a:lnTo>
                  <a:pt x="3647" y="3370"/>
                </a:lnTo>
                <a:lnTo>
                  <a:pt x="3611" y="3381"/>
                </a:lnTo>
                <a:lnTo>
                  <a:pt x="3575" y="3393"/>
                </a:lnTo>
                <a:lnTo>
                  <a:pt x="3538" y="3402"/>
                </a:lnTo>
                <a:lnTo>
                  <a:pt x="3500" y="3412"/>
                </a:lnTo>
                <a:lnTo>
                  <a:pt x="3463" y="3421"/>
                </a:lnTo>
                <a:lnTo>
                  <a:pt x="3425" y="3429"/>
                </a:lnTo>
                <a:lnTo>
                  <a:pt x="3438" y="3443"/>
                </a:lnTo>
                <a:lnTo>
                  <a:pt x="3449" y="3456"/>
                </a:lnTo>
                <a:lnTo>
                  <a:pt x="3459" y="3468"/>
                </a:lnTo>
                <a:lnTo>
                  <a:pt x="3466" y="3480"/>
                </a:lnTo>
                <a:lnTo>
                  <a:pt x="3473" y="3491"/>
                </a:lnTo>
                <a:lnTo>
                  <a:pt x="3477" y="3501"/>
                </a:lnTo>
                <a:lnTo>
                  <a:pt x="3479" y="3512"/>
                </a:lnTo>
                <a:lnTo>
                  <a:pt x="3480" y="3522"/>
                </a:lnTo>
                <a:close/>
              </a:path>
            </a:pathLst>
          </a:custGeom>
          <a:solidFill>
            <a:schemeClr val="accent1"/>
          </a:solidFill>
          <a:ln w="9525">
            <a:noFill/>
            <a:round/>
            <a:headEnd/>
            <a:tailEnd/>
          </a:ln>
        </p:spPr>
        <p:txBody>
          <a:bodyPr/>
          <a:lstStyle/>
          <a:p>
            <a:pPr marL="0" marR="0" lvl="0" indent="0" algn="l" defTabSz="674255" rtl="0" eaLnBrk="1" fontAlgn="auto" latinLnBrk="0" hangingPunct="1">
              <a:lnSpc>
                <a:spcPct val="100000"/>
              </a:lnSpc>
              <a:spcBef>
                <a:spcPts val="0"/>
              </a:spcBef>
              <a:spcAft>
                <a:spcPts val="0"/>
              </a:spcAft>
              <a:buClrTx/>
              <a:buSzTx/>
              <a:buFontTx/>
              <a:buNone/>
              <a:tabLst/>
              <a:defRPr/>
            </a:pPr>
            <a:endParaRPr kumimoji="0" lang="en-GB" sz="1589"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6" name="Freeform 19">
            <a:extLst>
              <a:ext uri="{FF2B5EF4-FFF2-40B4-BE49-F238E27FC236}">
                <a16:creationId xmlns:a16="http://schemas.microsoft.com/office/drawing/2014/main" id="{D048F652-5920-488E-BFF0-24972D9C1682}"/>
              </a:ext>
            </a:extLst>
          </p:cNvPr>
          <p:cNvSpPr>
            <a:spLocks/>
          </p:cNvSpPr>
          <p:nvPr/>
        </p:nvSpPr>
        <p:spPr bwMode="auto">
          <a:xfrm>
            <a:off x="5478830" y="2374602"/>
            <a:ext cx="197037" cy="470851"/>
          </a:xfrm>
          <a:custGeom>
            <a:avLst/>
            <a:gdLst>
              <a:gd name="T0" fmla="*/ 13344091 w 6132"/>
              <a:gd name="T1" fmla="*/ 10441401 h 16980"/>
              <a:gd name="T2" fmla="*/ 14439013 w 6132"/>
              <a:gd name="T3" fmla="*/ 10808942 h 16980"/>
              <a:gd name="T4" fmla="*/ 15478309 w 6132"/>
              <a:gd name="T5" fmla="*/ 11467619 h 16980"/>
              <a:gd name="T6" fmla="*/ 16450295 w 6132"/>
              <a:gd name="T7" fmla="*/ 12408541 h 16980"/>
              <a:gd name="T8" fmla="*/ 17214401 w 6132"/>
              <a:gd name="T9" fmla="*/ 13481773 h 16980"/>
              <a:gd name="T10" fmla="*/ 17709159 w 6132"/>
              <a:gd name="T11" fmla="*/ 14605004 h 16980"/>
              <a:gd name="T12" fmla="*/ 17937493 w 6132"/>
              <a:gd name="T13" fmla="*/ 15789994 h 16980"/>
              <a:gd name="T14" fmla="*/ 17922884 w 6132"/>
              <a:gd name="T15" fmla="*/ 28795453 h 16980"/>
              <a:gd name="T16" fmla="*/ 17720901 w 6132"/>
              <a:gd name="T17" fmla="*/ 29724608 h 16980"/>
              <a:gd name="T18" fmla="*/ 17322724 w 6132"/>
              <a:gd name="T19" fmla="*/ 30571448 h 16980"/>
              <a:gd name="T20" fmla="*/ 16731329 w 6132"/>
              <a:gd name="T21" fmla="*/ 31344758 h 16980"/>
              <a:gd name="T22" fmla="*/ 15970146 w 6132"/>
              <a:gd name="T23" fmla="*/ 32000508 h 16980"/>
              <a:gd name="T24" fmla="*/ 15062602 w 6132"/>
              <a:gd name="T25" fmla="*/ 32509198 h 16980"/>
              <a:gd name="T26" fmla="*/ 14014483 w 6132"/>
              <a:gd name="T27" fmla="*/ 32867899 h 16980"/>
              <a:gd name="T28" fmla="*/ 4168927 w 6132"/>
              <a:gd name="T29" fmla="*/ 32935519 h 16980"/>
              <a:gd name="T30" fmla="*/ 3003722 w 6132"/>
              <a:gd name="T31" fmla="*/ 32515054 h 16980"/>
              <a:gd name="T32" fmla="*/ 2104943 w 6132"/>
              <a:gd name="T33" fmla="*/ 32053432 h 16980"/>
              <a:gd name="T34" fmla="*/ 1334994 w 6132"/>
              <a:gd name="T35" fmla="*/ 31503585 h 16980"/>
              <a:gd name="T36" fmla="*/ 723146 w 6132"/>
              <a:gd name="T37" fmla="*/ 30883136 h 16980"/>
              <a:gd name="T38" fmla="*/ 295697 w 6132"/>
              <a:gd name="T39" fmla="*/ 30230369 h 16980"/>
              <a:gd name="T40" fmla="*/ 55622 w 6132"/>
              <a:gd name="T41" fmla="*/ 29542302 h 16980"/>
              <a:gd name="T42" fmla="*/ 2922 w 6132"/>
              <a:gd name="T43" fmla="*/ 16034064 h 16980"/>
              <a:gd name="T44" fmla="*/ 166867 w 6132"/>
              <a:gd name="T45" fmla="*/ 14637376 h 16980"/>
              <a:gd name="T46" fmla="*/ 608925 w 6132"/>
              <a:gd name="T47" fmla="*/ 13408297 h 16980"/>
              <a:gd name="T48" fmla="*/ 1326228 w 6132"/>
              <a:gd name="T49" fmla="*/ 12352689 h 16980"/>
              <a:gd name="T50" fmla="*/ 2309902 w 6132"/>
              <a:gd name="T51" fmla="*/ 11479386 h 16980"/>
              <a:gd name="T52" fmla="*/ 3495559 w 6132"/>
              <a:gd name="T53" fmla="*/ 10853081 h 16980"/>
              <a:gd name="T54" fmla="*/ 4889097 w 6132"/>
              <a:gd name="T55" fmla="*/ 10479630 h 16980"/>
              <a:gd name="T56" fmla="*/ 6475906 w 6132"/>
              <a:gd name="T57" fmla="*/ 10356104 h 16980"/>
              <a:gd name="T58" fmla="*/ 6768627 w 6132"/>
              <a:gd name="T59" fmla="*/ 10332625 h 16980"/>
              <a:gd name="T60" fmla="*/ 7661564 w 6132"/>
              <a:gd name="T61" fmla="*/ 10323786 h 16980"/>
              <a:gd name="T62" fmla="*/ 7863602 w 6132"/>
              <a:gd name="T63" fmla="*/ 10085627 h 16980"/>
              <a:gd name="T64" fmla="*/ 7032131 w 6132"/>
              <a:gd name="T65" fmla="*/ 9768029 h 16980"/>
              <a:gd name="T66" fmla="*/ 6197794 w 6132"/>
              <a:gd name="T67" fmla="*/ 9285801 h 16980"/>
              <a:gd name="T68" fmla="*/ 5471726 w 6132"/>
              <a:gd name="T69" fmla="*/ 8674191 h 16980"/>
              <a:gd name="T70" fmla="*/ 4859825 w 6132"/>
              <a:gd name="T71" fmla="*/ 7936181 h 16980"/>
              <a:gd name="T72" fmla="*/ 4409002 w 6132"/>
              <a:gd name="T73" fmla="*/ 7115803 h 16980"/>
              <a:gd name="T74" fmla="*/ 4122070 w 6132"/>
              <a:gd name="T75" fmla="*/ 6242499 h 16980"/>
              <a:gd name="T76" fmla="*/ 4002059 w 6132"/>
              <a:gd name="T77" fmla="*/ 5304506 h 16980"/>
              <a:gd name="T78" fmla="*/ 4069369 w 6132"/>
              <a:gd name="T79" fmla="*/ 4195974 h 16980"/>
              <a:gd name="T80" fmla="*/ 4370910 w 6132"/>
              <a:gd name="T81" fmla="*/ 3140364 h 16980"/>
              <a:gd name="T82" fmla="*/ 4906682 w 6132"/>
              <a:gd name="T83" fmla="*/ 2181765 h 16980"/>
              <a:gd name="T84" fmla="*/ 5679553 w 6132"/>
              <a:gd name="T85" fmla="*/ 1317301 h 16980"/>
              <a:gd name="T86" fmla="*/ 6578332 w 6132"/>
              <a:gd name="T87" fmla="*/ 643928 h 16980"/>
              <a:gd name="T88" fmla="*/ 7576670 w 6132"/>
              <a:gd name="T89" fmla="*/ 208768 h 16980"/>
              <a:gd name="T90" fmla="*/ 8671588 w 6132"/>
              <a:gd name="T91" fmla="*/ 11767 h 16980"/>
              <a:gd name="T92" fmla="*/ 9825105 w 6132"/>
              <a:gd name="T93" fmla="*/ 52924 h 16980"/>
              <a:gd name="T94" fmla="*/ 10893673 w 6132"/>
              <a:gd name="T95" fmla="*/ 326384 h 16980"/>
              <a:gd name="T96" fmla="*/ 11865659 w 6132"/>
              <a:gd name="T97" fmla="*/ 843912 h 16980"/>
              <a:gd name="T98" fmla="*/ 12743931 w 6132"/>
              <a:gd name="T99" fmla="*/ 1593689 h 16980"/>
              <a:gd name="T100" fmla="*/ 13431908 w 6132"/>
              <a:gd name="T101" fmla="*/ 2490525 h 16980"/>
              <a:gd name="T102" fmla="*/ 13891551 w 6132"/>
              <a:gd name="T103" fmla="*/ 3481443 h 16980"/>
              <a:gd name="T104" fmla="*/ 14111119 w 6132"/>
              <a:gd name="T105" fmla="*/ 4572353 h 16980"/>
              <a:gd name="T106" fmla="*/ 14105275 w 6132"/>
              <a:gd name="T107" fmla="*/ 5636746 h 16980"/>
              <a:gd name="T108" fmla="*/ 13912057 w 6132"/>
              <a:gd name="T109" fmla="*/ 6586506 h 16980"/>
              <a:gd name="T110" fmla="*/ 13537309 w 6132"/>
              <a:gd name="T111" fmla="*/ 7471577 h 16980"/>
              <a:gd name="T112" fmla="*/ 12972265 w 6132"/>
              <a:gd name="T113" fmla="*/ 8303722 h 16980"/>
              <a:gd name="T114" fmla="*/ 12272601 w 6132"/>
              <a:gd name="T115" fmla="*/ 9015324 h 16980"/>
              <a:gd name="T116" fmla="*/ 11473326 w 6132"/>
              <a:gd name="T117" fmla="*/ 9562188 h 16980"/>
              <a:gd name="T118" fmla="*/ 10571626 w 6132"/>
              <a:gd name="T119" fmla="*/ 9941550 h 16980"/>
              <a:gd name="T120" fmla="*/ 10147098 w 6132"/>
              <a:gd name="T121" fmla="*/ 10232633 h 1698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6132"/>
              <a:gd name="T184" fmla="*/ 0 h 16980"/>
              <a:gd name="T185" fmla="*/ 6132 w 6132"/>
              <a:gd name="T186" fmla="*/ 16980 h 16980"/>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6132" h="16980">
                <a:moveTo>
                  <a:pt x="3480" y="3522"/>
                </a:moveTo>
                <a:lnTo>
                  <a:pt x="4254" y="3522"/>
                </a:lnTo>
                <a:lnTo>
                  <a:pt x="4298" y="3522"/>
                </a:lnTo>
                <a:lnTo>
                  <a:pt x="4342" y="3524"/>
                </a:lnTo>
                <a:lnTo>
                  <a:pt x="4386" y="3527"/>
                </a:lnTo>
                <a:lnTo>
                  <a:pt x="4429" y="3531"/>
                </a:lnTo>
                <a:lnTo>
                  <a:pt x="4473" y="3536"/>
                </a:lnTo>
                <a:lnTo>
                  <a:pt x="4515" y="3543"/>
                </a:lnTo>
                <a:lnTo>
                  <a:pt x="4558" y="3551"/>
                </a:lnTo>
                <a:lnTo>
                  <a:pt x="4601" y="3560"/>
                </a:lnTo>
                <a:lnTo>
                  <a:pt x="4643" y="3570"/>
                </a:lnTo>
                <a:lnTo>
                  <a:pt x="4685" y="3582"/>
                </a:lnTo>
                <a:lnTo>
                  <a:pt x="4727" y="3595"/>
                </a:lnTo>
                <a:lnTo>
                  <a:pt x="4769" y="3609"/>
                </a:lnTo>
                <a:lnTo>
                  <a:pt x="4809" y="3624"/>
                </a:lnTo>
                <a:lnTo>
                  <a:pt x="4851" y="3640"/>
                </a:lnTo>
                <a:lnTo>
                  <a:pt x="4892" y="3658"/>
                </a:lnTo>
                <a:lnTo>
                  <a:pt x="4932" y="3676"/>
                </a:lnTo>
                <a:lnTo>
                  <a:pt x="4973" y="3696"/>
                </a:lnTo>
                <a:lnTo>
                  <a:pt x="5013" y="3717"/>
                </a:lnTo>
                <a:lnTo>
                  <a:pt x="5052" y="3739"/>
                </a:lnTo>
                <a:lnTo>
                  <a:pt x="5093" y="3763"/>
                </a:lnTo>
                <a:lnTo>
                  <a:pt x="5132" y="3788"/>
                </a:lnTo>
                <a:lnTo>
                  <a:pt x="5171" y="3814"/>
                </a:lnTo>
                <a:lnTo>
                  <a:pt x="5210" y="3842"/>
                </a:lnTo>
                <a:lnTo>
                  <a:pt x="5249" y="3870"/>
                </a:lnTo>
                <a:lnTo>
                  <a:pt x="5287" y="3900"/>
                </a:lnTo>
                <a:lnTo>
                  <a:pt x="5325" y="3931"/>
                </a:lnTo>
                <a:lnTo>
                  <a:pt x="5364" y="3963"/>
                </a:lnTo>
                <a:lnTo>
                  <a:pt x="5401" y="3997"/>
                </a:lnTo>
                <a:lnTo>
                  <a:pt x="5438" y="4031"/>
                </a:lnTo>
                <a:lnTo>
                  <a:pt x="5475" y="4067"/>
                </a:lnTo>
                <a:lnTo>
                  <a:pt x="5512" y="4104"/>
                </a:lnTo>
                <a:lnTo>
                  <a:pt x="5549" y="4142"/>
                </a:lnTo>
                <a:lnTo>
                  <a:pt x="5584" y="4181"/>
                </a:lnTo>
                <a:lnTo>
                  <a:pt x="5619" y="4220"/>
                </a:lnTo>
                <a:lnTo>
                  <a:pt x="5652" y="4260"/>
                </a:lnTo>
                <a:lnTo>
                  <a:pt x="5685" y="4300"/>
                </a:lnTo>
                <a:lnTo>
                  <a:pt x="5716" y="4339"/>
                </a:lnTo>
                <a:lnTo>
                  <a:pt x="5747" y="4379"/>
                </a:lnTo>
                <a:lnTo>
                  <a:pt x="5775" y="4420"/>
                </a:lnTo>
                <a:lnTo>
                  <a:pt x="5803" y="4460"/>
                </a:lnTo>
                <a:lnTo>
                  <a:pt x="5830" y="4502"/>
                </a:lnTo>
                <a:lnTo>
                  <a:pt x="5855" y="4543"/>
                </a:lnTo>
                <a:lnTo>
                  <a:pt x="5880" y="4585"/>
                </a:lnTo>
                <a:lnTo>
                  <a:pt x="5904" y="4626"/>
                </a:lnTo>
                <a:lnTo>
                  <a:pt x="5925" y="4667"/>
                </a:lnTo>
                <a:lnTo>
                  <a:pt x="5946" y="4710"/>
                </a:lnTo>
                <a:lnTo>
                  <a:pt x="5967" y="4752"/>
                </a:lnTo>
                <a:lnTo>
                  <a:pt x="5986" y="4795"/>
                </a:lnTo>
                <a:lnTo>
                  <a:pt x="6004" y="4838"/>
                </a:lnTo>
                <a:lnTo>
                  <a:pt x="6020" y="4880"/>
                </a:lnTo>
                <a:lnTo>
                  <a:pt x="6036" y="4924"/>
                </a:lnTo>
                <a:lnTo>
                  <a:pt x="6049" y="4967"/>
                </a:lnTo>
                <a:lnTo>
                  <a:pt x="6063" y="5011"/>
                </a:lnTo>
                <a:lnTo>
                  <a:pt x="6075" y="5055"/>
                </a:lnTo>
                <a:lnTo>
                  <a:pt x="6085" y="5100"/>
                </a:lnTo>
                <a:lnTo>
                  <a:pt x="6095" y="5144"/>
                </a:lnTo>
                <a:lnTo>
                  <a:pt x="6104" y="5189"/>
                </a:lnTo>
                <a:lnTo>
                  <a:pt x="6111" y="5234"/>
                </a:lnTo>
                <a:lnTo>
                  <a:pt x="6117" y="5280"/>
                </a:lnTo>
                <a:lnTo>
                  <a:pt x="6123" y="5324"/>
                </a:lnTo>
                <a:lnTo>
                  <a:pt x="6127" y="5370"/>
                </a:lnTo>
                <a:lnTo>
                  <a:pt x="6130" y="5417"/>
                </a:lnTo>
                <a:lnTo>
                  <a:pt x="6131" y="5463"/>
                </a:lnTo>
                <a:lnTo>
                  <a:pt x="6132" y="5509"/>
                </a:lnTo>
                <a:lnTo>
                  <a:pt x="6132" y="9605"/>
                </a:lnTo>
                <a:lnTo>
                  <a:pt x="6132" y="9643"/>
                </a:lnTo>
                <a:lnTo>
                  <a:pt x="6130" y="9682"/>
                </a:lnTo>
                <a:lnTo>
                  <a:pt x="6129" y="9719"/>
                </a:lnTo>
                <a:lnTo>
                  <a:pt x="6126" y="9756"/>
                </a:lnTo>
                <a:lnTo>
                  <a:pt x="6122" y="9793"/>
                </a:lnTo>
                <a:lnTo>
                  <a:pt x="6117" y="9829"/>
                </a:lnTo>
                <a:lnTo>
                  <a:pt x="6112" y="9866"/>
                </a:lnTo>
                <a:lnTo>
                  <a:pt x="6107" y="9901"/>
                </a:lnTo>
                <a:lnTo>
                  <a:pt x="6099" y="9937"/>
                </a:lnTo>
                <a:lnTo>
                  <a:pt x="6092" y="9972"/>
                </a:lnTo>
                <a:lnTo>
                  <a:pt x="6083" y="10007"/>
                </a:lnTo>
                <a:lnTo>
                  <a:pt x="6074" y="10041"/>
                </a:lnTo>
                <a:lnTo>
                  <a:pt x="6063" y="10075"/>
                </a:lnTo>
                <a:lnTo>
                  <a:pt x="6053" y="10109"/>
                </a:lnTo>
                <a:lnTo>
                  <a:pt x="6041" y="10142"/>
                </a:lnTo>
                <a:lnTo>
                  <a:pt x="6028" y="10175"/>
                </a:lnTo>
                <a:lnTo>
                  <a:pt x="6014" y="10208"/>
                </a:lnTo>
                <a:lnTo>
                  <a:pt x="6001" y="10241"/>
                </a:lnTo>
                <a:lnTo>
                  <a:pt x="5986" y="10273"/>
                </a:lnTo>
                <a:lnTo>
                  <a:pt x="5970" y="10305"/>
                </a:lnTo>
                <a:lnTo>
                  <a:pt x="5953" y="10335"/>
                </a:lnTo>
                <a:lnTo>
                  <a:pt x="5935" y="10366"/>
                </a:lnTo>
                <a:lnTo>
                  <a:pt x="5917" y="10397"/>
                </a:lnTo>
                <a:lnTo>
                  <a:pt x="5898" y="10428"/>
                </a:lnTo>
                <a:lnTo>
                  <a:pt x="5877" y="10458"/>
                </a:lnTo>
                <a:lnTo>
                  <a:pt x="5857" y="10487"/>
                </a:lnTo>
                <a:lnTo>
                  <a:pt x="5835" y="10517"/>
                </a:lnTo>
                <a:lnTo>
                  <a:pt x="5813" y="10546"/>
                </a:lnTo>
                <a:lnTo>
                  <a:pt x="5789" y="10575"/>
                </a:lnTo>
                <a:lnTo>
                  <a:pt x="5766" y="10603"/>
                </a:lnTo>
                <a:lnTo>
                  <a:pt x="5740" y="10632"/>
                </a:lnTo>
                <a:lnTo>
                  <a:pt x="5715" y="10660"/>
                </a:lnTo>
                <a:lnTo>
                  <a:pt x="5688" y="10687"/>
                </a:lnTo>
                <a:lnTo>
                  <a:pt x="5661" y="10714"/>
                </a:lnTo>
                <a:lnTo>
                  <a:pt x="5633" y="10739"/>
                </a:lnTo>
                <a:lnTo>
                  <a:pt x="5606" y="10765"/>
                </a:lnTo>
                <a:lnTo>
                  <a:pt x="5576" y="10790"/>
                </a:lnTo>
                <a:lnTo>
                  <a:pt x="5546" y="10814"/>
                </a:lnTo>
                <a:lnTo>
                  <a:pt x="5516" y="10838"/>
                </a:lnTo>
                <a:lnTo>
                  <a:pt x="5486" y="10860"/>
                </a:lnTo>
                <a:lnTo>
                  <a:pt x="5455" y="10883"/>
                </a:lnTo>
                <a:lnTo>
                  <a:pt x="5422" y="10905"/>
                </a:lnTo>
                <a:lnTo>
                  <a:pt x="5390" y="10925"/>
                </a:lnTo>
                <a:lnTo>
                  <a:pt x="5357" y="10947"/>
                </a:lnTo>
                <a:lnTo>
                  <a:pt x="5323" y="10966"/>
                </a:lnTo>
                <a:lnTo>
                  <a:pt x="5288" y="10985"/>
                </a:lnTo>
                <a:lnTo>
                  <a:pt x="5253" y="11004"/>
                </a:lnTo>
                <a:lnTo>
                  <a:pt x="5218" y="11022"/>
                </a:lnTo>
                <a:lnTo>
                  <a:pt x="5182" y="11039"/>
                </a:lnTo>
                <a:lnTo>
                  <a:pt x="5145" y="11056"/>
                </a:lnTo>
                <a:lnTo>
                  <a:pt x="5108" y="11072"/>
                </a:lnTo>
                <a:lnTo>
                  <a:pt x="5069" y="11087"/>
                </a:lnTo>
                <a:lnTo>
                  <a:pt x="5031" y="11102"/>
                </a:lnTo>
                <a:lnTo>
                  <a:pt x="4992" y="11117"/>
                </a:lnTo>
                <a:lnTo>
                  <a:pt x="4952" y="11130"/>
                </a:lnTo>
                <a:lnTo>
                  <a:pt x="4911" y="11143"/>
                </a:lnTo>
                <a:lnTo>
                  <a:pt x="4871" y="11155"/>
                </a:lnTo>
                <a:lnTo>
                  <a:pt x="4828" y="11167"/>
                </a:lnTo>
                <a:lnTo>
                  <a:pt x="4787" y="11178"/>
                </a:lnTo>
                <a:lnTo>
                  <a:pt x="4743" y="11189"/>
                </a:lnTo>
                <a:lnTo>
                  <a:pt x="4701" y="11199"/>
                </a:lnTo>
                <a:lnTo>
                  <a:pt x="4656" y="11208"/>
                </a:lnTo>
                <a:lnTo>
                  <a:pt x="4612" y="11217"/>
                </a:lnTo>
                <a:lnTo>
                  <a:pt x="4567" y="11225"/>
                </a:lnTo>
                <a:lnTo>
                  <a:pt x="4567" y="16980"/>
                </a:lnTo>
                <a:lnTo>
                  <a:pt x="1510" y="16980"/>
                </a:lnTo>
                <a:lnTo>
                  <a:pt x="1510" y="11225"/>
                </a:lnTo>
                <a:lnTo>
                  <a:pt x="1424" y="11201"/>
                </a:lnTo>
                <a:lnTo>
                  <a:pt x="1340" y="11175"/>
                </a:lnTo>
                <a:lnTo>
                  <a:pt x="1298" y="11161"/>
                </a:lnTo>
                <a:lnTo>
                  <a:pt x="1258" y="11148"/>
                </a:lnTo>
                <a:lnTo>
                  <a:pt x="1218" y="11134"/>
                </a:lnTo>
                <a:lnTo>
                  <a:pt x="1178" y="11120"/>
                </a:lnTo>
                <a:lnTo>
                  <a:pt x="1139" y="11105"/>
                </a:lnTo>
                <a:lnTo>
                  <a:pt x="1101" y="11089"/>
                </a:lnTo>
                <a:lnTo>
                  <a:pt x="1064" y="11074"/>
                </a:lnTo>
                <a:lnTo>
                  <a:pt x="1026" y="11058"/>
                </a:lnTo>
                <a:lnTo>
                  <a:pt x="990" y="11042"/>
                </a:lnTo>
                <a:lnTo>
                  <a:pt x="954" y="11025"/>
                </a:lnTo>
                <a:lnTo>
                  <a:pt x="918" y="11009"/>
                </a:lnTo>
                <a:lnTo>
                  <a:pt x="884" y="10991"/>
                </a:lnTo>
                <a:lnTo>
                  <a:pt x="849" y="10974"/>
                </a:lnTo>
                <a:lnTo>
                  <a:pt x="816" y="10956"/>
                </a:lnTo>
                <a:lnTo>
                  <a:pt x="782" y="10938"/>
                </a:lnTo>
                <a:lnTo>
                  <a:pt x="750" y="10920"/>
                </a:lnTo>
                <a:lnTo>
                  <a:pt x="719" y="10901"/>
                </a:lnTo>
                <a:lnTo>
                  <a:pt x="687" y="10882"/>
                </a:lnTo>
                <a:lnTo>
                  <a:pt x="656" y="10862"/>
                </a:lnTo>
                <a:lnTo>
                  <a:pt x="626" y="10841"/>
                </a:lnTo>
                <a:lnTo>
                  <a:pt x="596" y="10821"/>
                </a:lnTo>
                <a:lnTo>
                  <a:pt x="567" y="10801"/>
                </a:lnTo>
                <a:lnTo>
                  <a:pt x="539" y="10780"/>
                </a:lnTo>
                <a:lnTo>
                  <a:pt x="510" y="10758"/>
                </a:lnTo>
                <a:lnTo>
                  <a:pt x="484" y="10736"/>
                </a:lnTo>
                <a:lnTo>
                  <a:pt x="456" y="10714"/>
                </a:lnTo>
                <a:lnTo>
                  <a:pt x="431" y="10691"/>
                </a:lnTo>
                <a:lnTo>
                  <a:pt x="405" y="10668"/>
                </a:lnTo>
                <a:lnTo>
                  <a:pt x="380" y="10646"/>
                </a:lnTo>
                <a:lnTo>
                  <a:pt x="355" y="10622"/>
                </a:lnTo>
                <a:lnTo>
                  <a:pt x="332" y="10599"/>
                </a:lnTo>
                <a:lnTo>
                  <a:pt x="310" y="10576"/>
                </a:lnTo>
                <a:lnTo>
                  <a:pt x="289" y="10551"/>
                </a:lnTo>
                <a:lnTo>
                  <a:pt x="267" y="10528"/>
                </a:lnTo>
                <a:lnTo>
                  <a:pt x="247" y="10503"/>
                </a:lnTo>
                <a:lnTo>
                  <a:pt x="228" y="10480"/>
                </a:lnTo>
                <a:lnTo>
                  <a:pt x="209" y="10455"/>
                </a:lnTo>
                <a:lnTo>
                  <a:pt x="191" y="10431"/>
                </a:lnTo>
                <a:lnTo>
                  <a:pt x="174" y="10407"/>
                </a:lnTo>
                <a:lnTo>
                  <a:pt x="158" y="10382"/>
                </a:lnTo>
                <a:lnTo>
                  <a:pt x="142" y="10357"/>
                </a:lnTo>
                <a:lnTo>
                  <a:pt x="128" y="10332"/>
                </a:lnTo>
                <a:lnTo>
                  <a:pt x="114" y="10307"/>
                </a:lnTo>
                <a:lnTo>
                  <a:pt x="101" y="10281"/>
                </a:lnTo>
                <a:lnTo>
                  <a:pt x="89" y="10256"/>
                </a:lnTo>
                <a:lnTo>
                  <a:pt x="77" y="10230"/>
                </a:lnTo>
                <a:lnTo>
                  <a:pt x="67" y="10205"/>
                </a:lnTo>
                <a:lnTo>
                  <a:pt x="57" y="10179"/>
                </a:lnTo>
                <a:lnTo>
                  <a:pt x="48" y="10153"/>
                </a:lnTo>
                <a:lnTo>
                  <a:pt x="39" y="10127"/>
                </a:lnTo>
                <a:lnTo>
                  <a:pt x="32" y="10100"/>
                </a:lnTo>
                <a:lnTo>
                  <a:pt x="25" y="10074"/>
                </a:lnTo>
                <a:lnTo>
                  <a:pt x="19" y="10047"/>
                </a:lnTo>
                <a:lnTo>
                  <a:pt x="14" y="10021"/>
                </a:lnTo>
                <a:lnTo>
                  <a:pt x="9" y="9994"/>
                </a:lnTo>
                <a:lnTo>
                  <a:pt x="6" y="9967"/>
                </a:lnTo>
                <a:lnTo>
                  <a:pt x="3" y="9940"/>
                </a:lnTo>
                <a:lnTo>
                  <a:pt x="1" y="9912"/>
                </a:lnTo>
                <a:lnTo>
                  <a:pt x="0" y="9885"/>
                </a:lnTo>
                <a:lnTo>
                  <a:pt x="0" y="9857"/>
                </a:lnTo>
                <a:lnTo>
                  <a:pt x="0" y="5509"/>
                </a:lnTo>
                <a:lnTo>
                  <a:pt x="1" y="5453"/>
                </a:lnTo>
                <a:lnTo>
                  <a:pt x="2" y="5398"/>
                </a:lnTo>
                <a:lnTo>
                  <a:pt x="5" y="5342"/>
                </a:lnTo>
                <a:lnTo>
                  <a:pt x="9" y="5288"/>
                </a:lnTo>
                <a:lnTo>
                  <a:pt x="15" y="5235"/>
                </a:lnTo>
                <a:lnTo>
                  <a:pt x="21" y="5182"/>
                </a:lnTo>
                <a:lnTo>
                  <a:pt x="28" y="5130"/>
                </a:lnTo>
                <a:lnTo>
                  <a:pt x="37" y="5079"/>
                </a:lnTo>
                <a:lnTo>
                  <a:pt x="47" y="5028"/>
                </a:lnTo>
                <a:lnTo>
                  <a:pt x="57" y="4978"/>
                </a:lnTo>
                <a:lnTo>
                  <a:pt x="70" y="4929"/>
                </a:lnTo>
                <a:lnTo>
                  <a:pt x="83" y="4880"/>
                </a:lnTo>
                <a:lnTo>
                  <a:pt x="97" y="4832"/>
                </a:lnTo>
                <a:lnTo>
                  <a:pt x="112" y="4785"/>
                </a:lnTo>
                <a:lnTo>
                  <a:pt x="129" y="4739"/>
                </a:lnTo>
                <a:lnTo>
                  <a:pt x="147" y="4693"/>
                </a:lnTo>
                <a:lnTo>
                  <a:pt x="166" y="4648"/>
                </a:lnTo>
                <a:lnTo>
                  <a:pt x="187" y="4604"/>
                </a:lnTo>
                <a:lnTo>
                  <a:pt x="208" y="4560"/>
                </a:lnTo>
                <a:lnTo>
                  <a:pt x="230" y="4518"/>
                </a:lnTo>
                <a:lnTo>
                  <a:pt x="255" y="4476"/>
                </a:lnTo>
                <a:lnTo>
                  <a:pt x="279" y="4435"/>
                </a:lnTo>
                <a:lnTo>
                  <a:pt x="306" y="4393"/>
                </a:lnTo>
                <a:lnTo>
                  <a:pt x="332" y="4354"/>
                </a:lnTo>
                <a:lnTo>
                  <a:pt x="361" y="4315"/>
                </a:lnTo>
                <a:lnTo>
                  <a:pt x="391" y="4275"/>
                </a:lnTo>
                <a:lnTo>
                  <a:pt x="421" y="4238"/>
                </a:lnTo>
                <a:lnTo>
                  <a:pt x="453" y="4201"/>
                </a:lnTo>
                <a:lnTo>
                  <a:pt x="486" y="4165"/>
                </a:lnTo>
                <a:lnTo>
                  <a:pt x="520" y="4129"/>
                </a:lnTo>
                <a:lnTo>
                  <a:pt x="556" y="4093"/>
                </a:lnTo>
                <a:lnTo>
                  <a:pt x="592" y="4059"/>
                </a:lnTo>
                <a:lnTo>
                  <a:pt x="629" y="4025"/>
                </a:lnTo>
                <a:lnTo>
                  <a:pt x="668" y="3994"/>
                </a:lnTo>
                <a:lnTo>
                  <a:pt x="707" y="3963"/>
                </a:lnTo>
                <a:lnTo>
                  <a:pt x="747" y="3933"/>
                </a:lnTo>
                <a:lnTo>
                  <a:pt x="789" y="3904"/>
                </a:lnTo>
                <a:lnTo>
                  <a:pt x="830" y="3876"/>
                </a:lnTo>
                <a:lnTo>
                  <a:pt x="873" y="3849"/>
                </a:lnTo>
                <a:lnTo>
                  <a:pt x="916" y="3823"/>
                </a:lnTo>
                <a:lnTo>
                  <a:pt x="961" y="3799"/>
                </a:lnTo>
                <a:lnTo>
                  <a:pt x="1005" y="3775"/>
                </a:lnTo>
                <a:lnTo>
                  <a:pt x="1052" y="3752"/>
                </a:lnTo>
                <a:lnTo>
                  <a:pt x="1099" y="3731"/>
                </a:lnTo>
                <a:lnTo>
                  <a:pt x="1146" y="3711"/>
                </a:lnTo>
                <a:lnTo>
                  <a:pt x="1194" y="3691"/>
                </a:lnTo>
                <a:lnTo>
                  <a:pt x="1244" y="3672"/>
                </a:lnTo>
                <a:lnTo>
                  <a:pt x="1294" y="3655"/>
                </a:lnTo>
                <a:lnTo>
                  <a:pt x="1345" y="3640"/>
                </a:lnTo>
                <a:lnTo>
                  <a:pt x="1397" y="3624"/>
                </a:lnTo>
                <a:lnTo>
                  <a:pt x="1450" y="3610"/>
                </a:lnTo>
                <a:lnTo>
                  <a:pt x="1503" y="3597"/>
                </a:lnTo>
                <a:lnTo>
                  <a:pt x="1558" y="3584"/>
                </a:lnTo>
                <a:lnTo>
                  <a:pt x="1614" y="3574"/>
                </a:lnTo>
                <a:lnTo>
                  <a:pt x="1670" y="3564"/>
                </a:lnTo>
                <a:lnTo>
                  <a:pt x="1726" y="3554"/>
                </a:lnTo>
                <a:lnTo>
                  <a:pt x="1785" y="3547"/>
                </a:lnTo>
                <a:lnTo>
                  <a:pt x="1843" y="3540"/>
                </a:lnTo>
                <a:lnTo>
                  <a:pt x="1902" y="3534"/>
                </a:lnTo>
                <a:lnTo>
                  <a:pt x="1963" y="3530"/>
                </a:lnTo>
                <a:lnTo>
                  <a:pt x="2024" y="3526"/>
                </a:lnTo>
                <a:lnTo>
                  <a:pt x="2086" y="3524"/>
                </a:lnTo>
                <a:lnTo>
                  <a:pt x="2149" y="3522"/>
                </a:lnTo>
                <a:lnTo>
                  <a:pt x="2212" y="3522"/>
                </a:lnTo>
                <a:lnTo>
                  <a:pt x="2218" y="3517"/>
                </a:lnTo>
                <a:lnTo>
                  <a:pt x="2224" y="3514"/>
                </a:lnTo>
                <a:lnTo>
                  <a:pt x="2230" y="3513"/>
                </a:lnTo>
                <a:lnTo>
                  <a:pt x="2237" y="3512"/>
                </a:lnTo>
                <a:lnTo>
                  <a:pt x="2243" y="3512"/>
                </a:lnTo>
                <a:lnTo>
                  <a:pt x="2251" y="3512"/>
                </a:lnTo>
                <a:lnTo>
                  <a:pt x="2261" y="3512"/>
                </a:lnTo>
                <a:lnTo>
                  <a:pt x="2274" y="3512"/>
                </a:lnTo>
                <a:lnTo>
                  <a:pt x="2312" y="3514"/>
                </a:lnTo>
                <a:lnTo>
                  <a:pt x="2353" y="3516"/>
                </a:lnTo>
                <a:lnTo>
                  <a:pt x="2393" y="3517"/>
                </a:lnTo>
                <a:lnTo>
                  <a:pt x="2435" y="3519"/>
                </a:lnTo>
                <a:lnTo>
                  <a:pt x="2479" y="3520"/>
                </a:lnTo>
                <a:lnTo>
                  <a:pt x="2522" y="3520"/>
                </a:lnTo>
                <a:lnTo>
                  <a:pt x="2568" y="3522"/>
                </a:lnTo>
                <a:lnTo>
                  <a:pt x="2615" y="3522"/>
                </a:lnTo>
                <a:lnTo>
                  <a:pt x="2616" y="3516"/>
                </a:lnTo>
                <a:lnTo>
                  <a:pt x="2617" y="3511"/>
                </a:lnTo>
                <a:lnTo>
                  <a:pt x="2620" y="3505"/>
                </a:lnTo>
                <a:lnTo>
                  <a:pt x="2623" y="3498"/>
                </a:lnTo>
                <a:lnTo>
                  <a:pt x="2634" y="3483"/>
                </a:lnTo>
                <a:lnTo>
                  <a:pt x="2649" y="3466"/>
                </a:lnTo>
                <a:lnTo>
                  <a:pt x="2663" y="3450"/>
                </a:lnTo>
                <a:lnTo>
                  <a:pt x="2674" y="3439"/>
                </a:lnTo>
                <a:lnTo>
                  <a:pt x="2678" y="3434"/>
                </a:lnTo>
                <a:lnTo>
                  <a:pt x="2683" y="3431"/>
                </a:lnTo>
                <a:lnTo>
                  <a:pt x="2686" y="3430"/>
                </a:lnTo>
                <a:lnTo>
                  <a:pt x="2688" y="3429"/>
                </a:lnTo>
                <a:lnTo>
                  <a:pt x="2651" y="3417"/>
                </a:lnTo>
                <a:lnTo>
                  <a:pt x="2614" y="3406"/>
                </a:lnTo>
                <a:lnTo>
                  <a:pt x="2578" y="3393"/>
                </a:lnTo>
                <a:lnTo>
                  <a:pt x="2542" y="3380"/>
                </a:lnTo>
                <a:lnTo>
                  <a:pt x="2506" y="3366"/>
                </a:lnTo>
                <a:lnTo>
                  <a:pt x="2471" y="3351"/>
                </a:lnTo>
                <a:lnTo>
                  <a:pt x="2436" y="3337"/>
                </a:lnTo>
                <a:lnTo>
                  <a:pt x="2402" y="3322"/>
                </a:lnTo>
                <a:lnTo>
                  <a:pt x="2368" y="3306"/>
                </a:lnTo>
                <a:lnTo>
                  <a:pt x="2336" y="3289"/>
                </a:lnTo>
                <a:lnTo>
                  <a:pt x="2303" y="3272"/>
                </a:lnTo>
                <a:lnTo>
                  <a:pt x="2271" y="3255"/>
                </a:lnTo>
                <a:lnTo>
                  <a:pt x="2239" y="3237"/>
                </a:lnTo>
                <a:lnTo>
                  <a:pt x="2208" y="3218"/>
                </a:lnTo>
                <a:lnTo>
                  <a:pt x="2177" y="3198"/>
                </a:lnTo>
                <a:lnTo>
                  <a:pt x="2147" y="3178"/>
                </a:lnTo>
                <a:lnTo>
                  <a:pt x="2117" y="3158"/>
                </a:lnTo>
                <a:lnTo>
                  <a:pt x="2087" y="3137"/>
                </a:lnTo>
                <a:lnTo>
                  <a:pt x="2058" y="3115"/>
                </a:lnTo>
                <a:lnTo>
                  <a:pt x="2030" y="3093"/>
                </a:lnTo>
                <a:lnTo>
                  <a:pt x="2002" y="3071"/>
                </a:lnTo>
                <a:lnTo>
                  <a:pt x="1975" y="3047"/>
                </a:lnTo>
                <a:lnTo>
                  <a:pt x="1948" y="3024"/>
                </a:lnTo>
                <a:lnTo>
                  <a:pt x="1921" y="3000"/>
                </a:lnTo>
                <a:lnTo>
                  <a:pt x="1895" y="2975"/>
                </a:lnTo>
                <a:lnTo>
                  <a:pt x="1869" y="2950"/>
                </a:lnTo>
                <a:lnTo>
                  <a:pt x="1844" y="2924"/>
                </a:lnTo>
                <a:lnTo>
                  <a:pt x="1820" y="2898"/>
                </a:lnTo>
                <a:lnTo>
                  <a:pt x="1795" y="2871"/>
                </a:lnTo>
                <a:lnTo>
                  <a:pt x="1771" y="2843"/>
                </a:lnTo>
                <a:lnTo>
                  <a:pt x="1747" y="2816"/>
                </a:lnTo>
                <a:lnTo>
                  <a:pt x="1725" y="2787"/>
                </a:lnTo>
                <a:lnTo>
                  <a:pt x="1703" y="2757"/>
                </a:lnTo>
                <a:lnTo>
                  <a:pt x="1682" y="2729"/>
                </a:lnTo>
                <a:lnTo>
                  <a:pt x="1660" y="2699"/>
                </a:lnTo>
                <a:lnTo>
                  <a:pt x="1640" y="2669"/>
                </a:lnTo>
                <a:lnTo>
                  <a:pt x="1621" y="2638"/>
                </a:lnTo>
                <a:lnTo>
                  <a:pt x="1603" y="2608"/>
                </a:lnTo>
                <a:lnTo>
                  <a:pt x="1585" y="2578"/>
                </a:lnTo>
                <a:lnTo>
                  <a:pt x="1568" y="2547"/>
                </a:lnTo>
                <a:lnTo>
                  <a:pt x="1551" y="2516"/>
                </a:lnTo>
                <a:lnTo>
                  <a:pt x="1535" y="2484"/>
                </a:lnTo>
                <a:lnTo>
                  <a:pt x="1520" y="2452"/>
                </a:lnTo>
                <a:lnTo>
                  <a:pt x="1506" y="2420"/>
                </a:lnTo>
                <a:lnTo>
                  <a:pt x="1493" y="2388"/>
                </a:lnTo>
                <a:lnTo>
                  <a:pt x="1479" y="2356"/>
                </a:lnTo>
                <a:lnTo>
                  <a:pt x="1467" y="2324"/>
                </a:lnTo>
                <a:lnTo>
                  <a:pt x="1455" y="2291"/>
                </a:lnTo>
                <a:lnTo>
                  <a:pt x="1445" y="2258"/>
                </a:lnTo>
                <a:lnTo>
                  <a:pt x="1434" y="2225"/>
                </a:lnTo>
                <a:lnTo>
                  <a:pt x="1425" y="2191"/>
                </a:lnTo>
                <a:lnTo>
                  <a:pt x="1416" y="2157"/>
                </a:lnTo>
                <a:lnTo>
                  <a:pt x="1408" y="2123"/>
                </a:lnTo>
                <a:lnTo>
                  <a:pt x="1400" y="2089"/>
                </a:lnTo>
                <a:lnTo>
                  <a:pt x="1394" y="2054"/>
                </a:lnTo>
                <a:lnTo>
                  <a:pt x="1389" y="2018"/>
                </a:lnTo>
                <a:lnTo>
                  <a:pt x="1383" y="1983"/>
                </a:lnTo>
                <a:lnTo>
                  <a:pt x="1378" y="1948"/>
                </a:lnTo>
                <a:lnTo>
                  <a:pt x="1375" y="1912"/>
                </a:lnTo>
                <a:lnTo>
                  <a:pt x="1372" y="1876"/>
                </a:lnTo>
                <a:lnTo>
                  <a:pt x="1368" y="1840"/>
                </a:lnTo>
                <a:lnTo>
                  <a:pt x="1367" y="1804"/>
                </a:lnTo>
                <a:lnTo>
                  <a:pt x="1366" y="1767"/>
                </a:lnTo>
                <a:lnTo>
                  <a:pt x="1365" y="1729"/>
                </a:lnTo>
                <a:lnTo>
                  <a:pt x="1366" y="1686"/>
                </a:lnTo>
                <a:lnTo>
                  <a:pt x="1367" y="1641"/>
                </a:lnTo>
                <a:lnTo>
                  <a:pt x="1370" y="1598"/>
                </a:lnTo>
                <a:lnTo>
                  <a:pt x="1374" y="1555"/>
                </a:lnTo>
                <a:lnTo>
                  <a:pt x="1378" y="1511"/>
                </a:lnTo>
                <a:lnTo>
                  <a:pt x="1383" y="1469"/>
                </a:lnTo>
                <a:lnTo>
                  <a:pt x="1390" y="1427"/>
                </a:lnTo>
                <a:lnTo>
                  <a:pt x="1397" y="1386"/>
                </a:lnTo>
                <a:lnTo>
                  <a:pt x="1405" y="1345"/>
                </a:lnTo>
                <a:lnTo>
                  <a:pt x="1415" y="1304"/>
                </a:lnTo>
                <a:lnTo>
                  <a:pt x="1426" y="1264"/>
                </a:lnTo>
                <a:lnTo>
                  <a:pt x="1437" y="1223"/>
                </a:lnTo>
                <a:lnTo>
                  <a:pt x="1449" y="1184"/>
                </a:lnTo>
                <a:lnTo>
                  <a:pt x="1463" y="1145"/>
                </a:lnTo>
                <a:lnTo>
                  <a:pt x="1477" y="1106"/>
                </a:lnTo>
                <a:lnTo>
                  <a:pt x="1493" y="1068"/>
                </a:lnTo>
                <a:lnTo>
                  <a:pt x="1508" y="1030"/>
                </a:lnTo>
                <a:lnTo>
                  <a:pt x="1527" y="993"/>
                </a:lnTo>
                <a:lnTo>
                  <a:pt x="1545" y="955"/>
                </a:lnTo>
                <a:lnTo>
                  <a:pt x="1564" y="919"/>
                </a:lnTo>
                <a:lnTo>
                  <a:pt x="1585" y="883"/>
                </a:lnTo>
                <a:lnTo>
                  <a:pt x="1606" y="847"/>
                </a:lnTo>
                <a:lnTo>
                  <a:pt x="1628" y="811"/>
                </a:lnTo>
                <a:lnTo>
                  <a:pt x="1652" y="776"/>
                </a:lnTo>
                <a:lnTo>
                  <a:pt x="1676" y="742"/>
                </a:lnTo>
                <a:lnTo>
                  <a:pt x="1702" y="708"/>
                </a:lnTo>
                <a:lnTo>
                  <a:pt x="1728" y="674"/>
                </a:lnTo>
                <a:lnTo>
                  <a:pt x="1756" y="640"/>
                </a:lnTo>
                <a:lnTo>
                  <a:pt x="1783" y="607"/>
                </a:lnTo>
                <a:lnTo>
                  <a:pt x="1813" y="574"/>
                </a:lnTo>
                <a:lnTo>
                  <a:pt x="1844" y="542"/>
                </a:lnTo>
                <a:lnTo>
                  <a:pt x="1875" y="510"/>
                </a:lnTo>
                <a:lnTo>
                  <a:pt x="1907" y="478"/>
                </a:lnTo>
                <a:lnTo>
                  <a:pt x="1940" y="448"/>
                </a:lnTo>
                <a:lnTo>
                  <a:pt x="1971" y="419"/>
                </a:lnTo>
                <a:lnTo>
                  <a:pt x="2005" y="390"/>
                </a:lnTo>
                <a:lnTo>
                  <a:pt x="2038" y="362"/>
                </a:lnTo>
                <a:lnTo>
                  <a:pt x="2072" y="336"/>
                </a:lnTo>
                <a:lnTo>
                  <a:pt x="2106" y="311"/>
                </a:lnTo>
                <a:lnTo>
                  <a:pt x="2141" y="287"/>
                </a:lnTo>
                <a:lnTo>
                  <a:pt x="2176" y="263"/>
                </a:lnTo>
                <a:lnTo>
                  <a:pt x="2211" y="240"/>
                </a:lnTo>
                <a:lnTo>
                  <a:pt x="2247" y="219"/>
                </a:lnTo>
                <a:lnTo>
                  <a:pt x="2284" y="199"/>
                </a:lnTo>
                <a:lnTo>
                  <a:pt x="2320" y="179"/>
                </a:lnTo>
                <a:lnTo>
                  <a:pt x="2357" y="160"/>
                </a:lnTo>
                <a:lnTo>
                  <a:pt x="2395" y="143"/>
                </a:lnTo>
                <a:lnTo>
                  <a:pt x="2432" y="127"/>
                </a:lnTo>
                <a:lnTo>
                  <a:pt x="2470" y="111"/>
                </a:lnTo>
                <a:lnTo>
                  <a:pt x="2510" y="98"/>
                </a:lnTo>
                <a:lnTo>
                  <a:pt x="2549" y="84"/>
                </a:lnTo>
                <a:lnTo>
                  <a:pt x="2588" y="71"/>
                </a:lnTo>
                <a:lnTo>
                  <a:pt x="2628" y="60"/>
                </a:lnTo>
                <a:lnTo>
                  <a:pt x="2668" y="50"/>
                </a:lnTo>
                <a:lnTo>
                  <a:pt x="2709" y="40"/>
                </a:lnTo>
                <a:lnTo>
                  <a:pt x="2750" y="32"/>
                </a:lnTo>
                <a:lnTo>
                  <a:pt x="2791" y="24"/>
                </a:lnTo>
                <a:lnTo>
                  <a:pt x="2833" y="18"/>
                </a:lnTo>
                <a:lnTo>
                  <a:pt x="2876" y="13"/>
                </a:lnTo>
                <a:lnTo>
                  <a:pt x="2918" y="7"/>
                </a:lnTo>
                <a:lnTo>
                  <a:pt x="2962" y="4"/>
                </a:lnTo>
                <a:lnTo>
                  <a:pt x="3005" y="2"/>
                </a:lnTo>
                <a:lnTo>
                  <a:pt x="3049" y="1"/>
                </a:lnTo>
                <a:lnTo>
                  <a:pt x="3094" y="0"/>
                </a:lnTo>
                <a:lnTo>
                  <a:pt x="3138" y="1"/>
                </a:lnTo>
                <a:lnTo>
                  <a:pt x="3183" y="2"/>
                </a:lnTo>
                <a:lnTo>
                  <a:pt x="3226" y="4"/>
                </a:lnTo>
                <a:lnTo>
                  <a:pt x="3270" y="7"/>
                </a:lnTo>
                <a:lnTo>
                  <a:pt x="3312" y="13"/>
                </a:lnTo>
                <a:lnTo>
                  <a:pt x="3356" y="18"/>
                </a:lnTo>
                <a:lnTo>
                  <a:pt x="3397" y="24"/>
                </a:lnTo>
                <a:lnTo>
                  <a:pt x="3440" y="32"/>
                </a:lnTo>
                <a:lnTo>
                  <a:pt x="3481" y="40"/>
                </a:lnTo>
                <a:lnTo>
                  <a:pt x="3521" y="50"/>
                </a:lnTo>
                <a:lnTo>
                  <a:pt x="3563" y="60"/>
                </a:lnTo>
                <a:lnTo>
                  <a:pt x="3602" y="71"/>
                </a:lnTo>
                <a:lnTo>
                  <a:pt x="3643" y="84"/>
                </a:lnTo>
                <a:lnTo>
                  <a:pt x="3682" y="98"/>
                </a:lnTo>
                <a:lnTo>
                  <a:pt x="3721" y="111"/>
                </a:lnTo>
                <a:lnTo>
                  <a:pt x="3759" y="127"/>
                </a:lnTo>
                <a:lnTo>
                  <a:pt x="3798" y="143"/>
                </a:lnTo>
                <a:lnTo>
                  <a:pt x="3835" y="160"/>
                </a:lnTo>
                <a:lnTo>
                  <a:pt x="3873" y="179"/>
                </a:lnTo>
                <a:lnTo>
                  <a:pt x="3909" y="199"/>
                </a:lnTo>
                <a:lnTo>
                  <a:pt x="3946" y="219"/>
                </a:lnTo>
                <a:lnTo>
                  <a:pt x="3982" y="240"/>
                </a:lnTo>
                <a:lnTo>
                  <a:pt x="4017" y="263"/>
                </a:lnTo>
                <a:lnTo>
                  <a:pt x="4053" y="287"/>
                </a:lnTo>
                <a:lnTo>
                  <a:pt x="4088" y="311"/>
                </a:lnTo>
                <a:lnTo>
                  <a:pt x="4122" y="336"/>
                </a:lnTo>
                <a:lnTo>
                  <a:pt x="4156" y="362"/>
                </a:lnTo>
                <a:lnTo>
                  <a:pt x="4190" y="390"/>
                </a:lnTo>
                <a:lnTo>
                  <a:pt x="4223" y="419"/>
                </a:lnTo>
                <a:lnTo>
                  <a:pt x="4256" y="448"/>
                </a:lnTo>
                <a:lnTo>
                  <a:pt x="4289" y="478"/>
                </a:lnTo>
                <a:lnTo>
                  <a:pt x="4321" y="510"/>
                </a:lnTo>
                <a:lnTo>
                  <a:pt x="4353" y="542"/>
                </a:lnTo>
                <a:lnTo>
                  <a:pt x="4383" y="574"/>
                </a:lnTo>
                <a:lnTo>
                  <a:pt x="4412" y="607"/>
                </a:lnTo>
                <a:lnTo>
                  <a:pt x="4440" y="640"/>
                </a:lnTo>
                <a:lnTo>
                  <a:pt x="4467" y="674"/>
                </a:lnTo>
                <a:lnTo>
                  <a:pt x="4493" y="708"/>
                </a:lnTo>
                <a:lnTo>
                  <a:pt x="4518" y="742"/>
                </a:lnTo>
                <a:lnTo>
                  <a:pt x="4543" y="776"/>
                </a:lnTo>
                <a:lnTo>
                  <a:pt x="4566" y="811"/>
                </a:lnTo>
                <a:lnTo>
                  <a:pt x="4588" y="847"/>
                </a:lnTo>
                <a:lnTo>
                  <a:pt x="4610" y="883"/>
                </a:lnTo>
                <a:lnTo>
                  <a:pt x="4630" y="919"/>
                </a:lnTo>
                <a:lnTo>
                  <a:pt x="4649" y="955"/>
                </a:lnTo>
                <a:lnTo>
                  <a:pt x="4667" y="993"/>
                </a:lnTo>
                <a:lnTo>
                  <a:pt x="4685" y="1030"/>
                </a:lnTo>
                <a:lnTo>
                  <a:pt x="4701" y="1068"/>
                </a:lnTo>
                <a:lnTo>
                  <a:pt x="4716" y="1106"/>
                </a:lnTo>
                <a:lnTo>
                  <a:pt x="4731" y="1145"/>
                </a:lnTo>
                <a:lnTo>
                  <a:pt x="4745" y="1184"/>
                </a:lnTo>
                <a:lnTo>
                  <a:pt x="4756" y="1223"/>
                </a:lnTo>
                <a:lnTo>
                  <a:pt x="4768" y="1264"/>
                </a:lnTo>
                <a:lnTo>
                  <a:pt x="4779" y="1304"/>
                </a:lnTo>
                <a:lnTo>
                  <a:pt x="4788" y="1345"/>
                </a:lnTo>
                <a:lnTo>
                  <a:pt x="4797" y="1386"/>
                </a:lnTo>
                <a:lnTo>
                  <a:pt x="4803" y="1427"/>
                </a:lnTo>
                <a:lnTo>
                  <a:pt x="4810" y="1469"/>
                </a:lnTo>
                <a:lnTo>
                  <a:pt x="4816" y="1511"/>
                </a:lnTo>
                <a:lnTo>
                  <a:pt x="4820" y="1555"/>
                </a:lnTo>
                <a:lnTo>
                  <a:pt x="4823" y="1598"/>
                </a:lnTo>
                <a:lnTo>
                  <a:pt x="4825" y="1641"/>
                </a:lnTo>
                <a:lnTo>
                  <a:pt x="4827" y="1686"/>
                </a:lnTo>
                <a:lnTo>
                  <a:pt x="4827" y="1729"/>
                </a:lnTo>
                <a:lnTo>
                  <a:pt x="4827" y="1768"/>
                </a:lnTo>
                <a:lnTo>
                  <a:pt x="4826" y="1806"/>
                </a:lnTo>
                <a:lnTo>
                  <a:pt x="4824" y="1843"/>
                </a:lnTo>
                <a:lnTo>
                  <a:pt x="4822" y="1880"/>
                </a:lnTo>
                <a:lnTo>
                  <a:pt x="4818" y="1917"/>
                </a:lnTo>
                <a:lnTo>
                  <a:pt x="4814" y="1954"/>
                </a:lnTo>
                <a:lnTo>
                  <a:pt x="4808" y="1990"/>
                </a:lnTo>
                <a:lnTo>
                  <a:pt x="4803" y="2027"/>
                </a:lnTo>
                <a:lnTo>
                  <a:pt x="4797" y="2062"/>
                </a:lnTo>
                <a:lnTo>
                  <a:pt x="4789" y="2098"/>
                </a:lnTo>
                <a:lnTo>
                  <a:pt x="4781" y="2134"/>
                </a:lnTo>
                <a:lnTo>
                  <a:pt x="4772" y="2169"/>
                </a:lnTo>
                <a:lnTo>
                  <a:pt x="4763" y="2204"/>
                </a:lnTo>
                <a:lnTo>
                  <a:pt x="4752" y="2240"/>
                </a:lnTo>
                <a:lnTo>
                  <a:pt x="4740" y="2274"/>
                </a:lnTo>
                <a:lnTo>
                  <a:pt x="4729" y="2308"/>
                </a:lnTo>
                <a:lnTo>
                  <a:pt x="4716" y="2342"/>
                </a:lnTo>
                <a:lnTo>
                  <a:pt x="4702" y="2376"/>
                </a:lnTo>
                <a:lnTo>
                  <a:pt x="4688" y="2410"/>
                </a:lnTo>
                <a:lnTo>
                  <a:pt x="4673" y="2443"/>
                </a:lnTo>
                <a:lnTo>
                  <a:pt x="4657" y="2476"/>
                </a:lnTo>
                <a:lnTo>
                  <a:pt x="4641" y="2508"/>
                </a:lnTo>
                <a:lnTo>
                  <a:pt x="4624" y="2541"/>
                </a:lnTo>
                <a:lnTo>
                  <a:pt x="4605" y="2573"/>
                </a:lnTo>
                <a:lnTo>
                  <a:pt x="4586" y="2606"/>
                </a:lnTo>
                <a:lnTo>
                  <a:pt x="4566" y="2638"/>
                </a:lnTo>
                <a:lnTo>
                  <a:pt x="4546" y="2669"/>
                </a:lnTo>
                <a:lnTo>
                  <a:pt x="4525" y="2701"/>
                </a:lnTo>
                <a:lnTo>
                  <a:pt x="4502" y="2732"/>
                </a:lnTo>
                <a:lnTo>
                  <a:pt x="4480" y="2763"/>
                </a:lnTo>
                <a:lnTo>
                  <a:pt x="4456" y="2793"/>
                </a:lnTo>
                <a:lnTo>
                  <a:pt x="4431" y="2824"/>
                </a:lnTo>
                <a:lnTo>
                  <a:pt x="4407" y="2853"/>
                </a:lnTo>
                <a:lnTo>
                  <a:pt x="4381" y="2883"/>
                </a:lnTo>
                <a:lnTo>
                  <a:pt x="4356" y="2910"/>
                </a:lnTo>
                <a:lnTo>
                  <a:pt x="4329" y="2938"/>
                </a:lnTo>
                <a:lnTo>
                  <a:pt x="4303" y="2965"/>
                </a:lnTo>
                <a:lnTo>
                  <a:pt x="4276" y="2991"/>
                </a:lnTo>
                <a:lnTo>
                  <a:pt x="4249" y="3017"/>
                </a:lnTo>
                <a:lnTo>
                  <a:pt x="4220" y="3041"/>
                </a:lnTo>
                <a:lnTo>
                  <a:pt x="4192" y="3066"/>
                </a:lnTo>
                <a:lnTo>
                  <a:pt x="4164" y="3089"/>
                </a:lnTo>
                <a:lnTo>
                  <a:pt x="4134" y="3112"/>
                </a:lnTo>
                <a:lnTo>
                  <a:pt x="4105" y="3134"/>
                </a:lnTo>
                <a:lnTo>
                  <a:pt x="4075" y="3155"/>
                </a:lnTo>
                <a:lnTo>
                  <a:pt x="4045" y="3176"/>
                </a:lnTo>
                <a:lnTo>
                  <a:pt x="4014" y="3196"/>
                </a:lnTo>
                <a:lnTo>
                  <a:pt x="3982" y="3215"/>
                </a:lnTo>
                <a:lnTo>
                  <a:pt x="3950" y="3233"/>
                </a:lnTo>
                <a:lnTo>
                  <a:pt x="3919" y="3252"/>
                </a:lnTo>
                <a:lnTo>
                  <a:pt x="3887" y="3269"/>
                </a:lnTo>
                <a:lnTo>
                  <a:pt x="3854" y="3286"/>
                </a:lnTo>
                <a:lnTo>
                  <a:pt x="3820" y="3301"/>
                </a:lnTo>
                <a:lnTo>
                  <a:pt x="3786" y="3316"/>
                </a:lnTo>
                <a:lnTo>
                  <a:pt x="3752" y="3331"/>
                </a:lnTo>
                <a:lnTo>
                  <a:pt x="3718" y="3344"/>
                </a:lnTo>
                <a:lnTo>
                  <a:pt x="3683" y="3358"/>
                </a:lnTo>
                <a:lnTo>
                  <a:pt x="3647" y="3370"/>
                </a:lnTo>
                <a:lnTo>
                  <a:pt x="3611" y="3381"/>
                </a:lnTo>
                <a:lnTo>
                  <a:pt x="3575" y="3393"/>
                </a:lnTo>
                <a:lnTo>
                  <a:pt x="3538" y="3402"/>
                </a:lnTo>
                <a:lnTo>
                  <a:pt x="3500" y="3412"/>
                </a:lnTo>
                <a:lnTo>
                  <a:pt x="3463" y="3421"/>
                </a:lnTo>
                <a:lnTo>
                  <a:pt x="3425" y="3429"/>
                </a:lnTo>
                <a:lnTo>
                  <a:pt x="3438" y="3443"/>
                </a:lnTo>
                <a:lnTo>
                  <a:pt x="3449" y="3456"/>
                </a:lnTo>
                <a:lnTo>
                  <a:pt x="3459" y="3468"/>
                </a:lnTo>
                <a:lnTo>
                  <a:pt x="3466" y="3480"/>
                </a:lnTo>
                <a:lnTo>
                  <a:pt x="3473" y="3491"/>
                </a:lnTo>
                <a:lnTo>
                  <a:pt x="3477" y="3501"/>
                </a:lnTo>
                <a:lnTo>
                  <a:pt x="3479" y="3512"/>
                </a:lnTo>
                <a:lnTo>
                  <a:pt x="3480" y="3522"/>
                </a:lnTo>
                <a:close/>
              </a:path>
            </a:pathLst>
          </a:custGeom>
          <a:solidFill>
            <a:schemeClr val="accent1"/>
          </a:solidFill>
          <a:ln w="9525">
            <a:noFill/>
            <a:round/>
            <a:headEnd/>
            <a:tailEnd/>
          </a:ln>
        </p:spPr>
        <p:txBody>
          <a:bodyPr/>
          <a:lstStyle/>
          <a:p>
            <a:pPr marL="0" marR="0" lvl="0" indent="0" algn="l" defTabSz="674255" rtl="0" eaLnBrk="1" fontAlgn="auto" latinLnBrk="0" hangingPunct="1">
              <a:lnSpc>
                <a:spcPct val="100000"/>
              </a:lnSpc>
              <a:spcBef>
                <a:spcPts val="0"/>
              </a:spcBef>
              <a:spcAft>
                <a:spcPts val="0"/>
              </a:spcAft>
              <a:buClrTx/>
              <a:buSzTx/>
              <a:buFontTx/>
              <a:buNone/>
              <a:tabLst/>
              <a:defRPr/>
            </a:pPr>
            <a:endParaRPr kumimoji="0" lang="en-GB" sz="1589"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7" name="Freeform 18">
            <a:extLst>
              <a:ext uri="{FF2B5EF4-FFF2-40B4-BE49-F238E27FC236}">
                <a16:creationId xmlns:a16="http://schemas.microsoft.com/office/drawing/2014/main" id="{36387740-3010-4962-9BF4-F2F186CFA297}"/>
              </a:ext>
            </a:extLst>
          </p:cNvPr>
          <p:cNvSpPr>
            <a:spLocks/>
          </p:cNvSpPr>
          <p:nvPr/>
        </p:nvSpPr>
        <p:spPr bwMode="auto">
          <a:xfrm>
            <a:off x="5204370" y="1856608"/>
            <a:ext cx="197037" cy="470851"/>
          </a:xfrm>
          <a:custGeom>
            <a:avLst/>
            <a:gdLst>
              <a:gd name="T0" fmla="*/ 13344091 w 6132"/>
              <a:gd name="T1" fmla="*/ 10441401 h 16980"/>
              <a:gd name="T2" fmla="*/ 14439013 w 6132"/>
              <a:gd name="T3" fmla="*/ 10808942 h 16980"/>
              <a:gd name="T4" fmla="*/ 15478309 w 6132"/>
              <a:gd name="T5" fmla="*/ 11467619 h 16980"/>
              <a:gd name="T6" fmla="*/ 16450295 w 6132"/>
              <a:gd name="T7" fmla="*/ 12408541 h 16980"/>
              <a:gd name="T8" fmla="*/ 17214401 w 6132"/>
              <a:gd name="T9" fmla="*/ 13481773 h 16980"/>
              <a:gd name="T10" fmla="*/ 17709159 w 6132"/>
              <a:gd name="T11" fmla="*/ 14605004 h 16980"/>
              <a:gd name="T12" fmla="*/ 17937493 w 6132"/>
              <a:gd name="T13" fmla="*/ 15789994 h 16980"/>
              <a:gd name="T14" fmla="*/ 17922884 w 6132"/>
              <a:gd name="T15" fmla="*/ 28795453 h 16980"/>
              <a:gd name="T16" fmla="*/ 17720901 w 6132"/>
              <a:gd name="T17" fmla="*/ 29724608 h 16980"/>
              <a:gd name="T18" fmla="*/ 17322724 w 6132"/>
              <a:gd name="T19" fmla="*/ 30571448 h 16980"/>
              <a:gd name="T20" fmla="*/ 16731329 w 6132"/>
              <a:gd name="T21" fmla="*/ 31344758 h 16980"/>
              <a:gd name="T22" fmla="*/ 15970146 w 6132"/>
              <a:gd name="T23" fmla="*/ 32000508 h 16980"/>
              <a:gd name="T24" fmla="*/ 15062602 w 6132"/>
              <a:gd name="T25" fmla="*/ 32509198 h 16980"/>
              <a:gd name="T26" fmla="*/ 14014483 w 6132"/>
              <a:gd name="T27" fmla="*/ 32867899 h 16980"/>
              <a:gd name="T28" fmla="*/ 4168927 w 6132"/>
              <a:gd name="T29" fmla="*/ 32935519 h 16980"/>
              <a:gd name="T30" fmla="*/ 3003722 w 6132"/>
              <a:gd name="T31" fmla="*/ 32515054 h 16980"/>
              <a:gd name="T32" fmla="*/ 2104943 w 6132"/>
              <a:gd name="T33" fmla="*/ 32053432 h 16980"/>
              <a:gd name="T34" fmla="*/ 1334994 w 6132"/>
              <a:gd name="T35" fmla="*/ 31503585 h 16980"/>
              <a:gd name="T36" fmla="*/ 723146 w 6132"/>
              <a:gd name="T37" fmla="*/ 30883136 h 16980"/>
              <a:gd name="T38" fmla="*/ 295697 w 6132"/>
              <a:gd name="T39" fmla="*/ 30230369 h 16980"/>
              <a:gd name="T40" fmla="*/ 55622 w 6132"/>
              <a:gd name="T41" fmla="*/ 29542302 h 16980"/>
              <a:gd name="T42" fmla="*/ 2922 w 6132"/>
              <a:gd name="T43" fmla="*/ 16034064 h 16980"/>
              <a:gd name="T44" fmla="*/ 166867 w 6132"/>
              <a:gd name="T45" fmla="*/ 14637376 h 16980"/>
              <a:gd name="T46" fmla="*/ 608925 w 6132"/>
              <a:gd name="T47" fmla="*/ 13408297 h 16980"/>
              <a:gd name="T48" fmla="*/ 1326228 w 6132"/>
              <a:gd name="T49" fmla="*/ 12352689 h 16980"/>
              <a:gd name="T50" fmla="*/ 2309902 w 6132"/>
              <a:gd name="T51" fmla="*/ 11479386 h 16980"/>
              <a:gd name="T52" fmla="*/ 3495559 w 6132"/>
              <a:gd name="T53" fmla="*/ 10853081 h 16980"/>
              <a:gd name="T54" fmla="*/ 4889097 w 6132"/>
              <a:gd name="T55" fmla="*/ 10479630 h 16980"/>
              <a:gd name="T56" fmla="*/ 6475906 w 6132"/>
              <a:gd name="T57" fmla="*/ 10356104 h 16980"/>
              <a:gd name="T58" fmla="*/ 6768627 w 6132"/>
              <a:gd name="T59" fmla="*/ 10332625 h 16980"/>
              <a:gd name="T60" fmla="*/ 7661564 w 6132"/>
              <a:gd name="T61" fmla="*/ 10323786 h 16980"/>
              <a:gd name="T62" fmla="*/ 7863602 w 6132"/>
              <a:gd name="T63" fmla="*/ 10085627 h 16980"/>
              <a:gd name="T64" fmla="*/ 7032131 w 6132"/>
              <a:gd name="T65" fmla="*/ 9768029 h 16980"/>
              <a:gd name="T66" fmla="*/ 6197794 w 6132"/>
              <a:gd name="T67" fmla="*/ 9285801 h 16980"/>
              <a:gd name="T68" fmla="*/ 5471726 w 6132"/>
              <a:gd name="T69" fmla="*/ 8674191 h 16980"/>
              <a:gd name="T70" fmla="*/ 4859825 w 6132"/>
              <a:gd name="T71" fmla="*/ 7936181 h 16980"/>
              <a:gd name="T72" fmla="*/ 4409002 w 6132"/>
              <a:gd name="T73" fmla="*/ 7115803 h 16980"/>
              <a:gd name="T74" fmla="*/ 4122070 w 6132"/>
              <a:gd name="T75" fmla="*/ 6242499 h 16980"/>
              <a:gd name="T76" fmla="*/ 4002059 w 6132"/>
              <a:gd name="T77" fmla="*/ 5304506 h 16980"/>
              <a:gd name="T78" fmla="*/ 4069369 w 6132"/>
              <a:gd name="T79" fmla="*/ 4195974 h 16980"/>
              <a:gd name="T80" fmla="*/ 4370910 w 6132"/>
              <a:gd name="T81" fmla="*/ 3140364 h 16980"/>
              <a:gd name="T82" fmla="*/ 4906682 w 6132"/>
              <a:gd name="T83" fmla="*/ 2181765 h 16980"/>
              <a:gd name="T84" fmla="*/ 5679553 w 6132"/>
              <a:gd name="T85" fmla="*/ 1317301 h 16980"/>
              <a:gd name="T86" fmla="*/ 6578332 w 6132"/>
              <a:gd name="T87" fmla="*/ 643928 h 16980"/>
              <a:gd name="T88" fmla="*/ 7576670 w 6132"/>
              <a:gd name="T89" fmla="*/ 208768 h 16980"/>
              <a:gd name="T90" fmla="*/ 8671588 w 6132"/>
              <a:gd name="T91" fmla="*/ 11767 h 16980"/>
              <a:gd name="T92" fmla="*/ 9825105 w 6132"/>
              <a:gd name="T93" fmla="*/ 52924 h 16980"/>
              <a:gd name="T94" fmla="*/ 10893673 w 6132"/>
              <a:gd name="T95" fmla="*/ 326384 h 16980"/>
              <a:gd name="T96" fmla="*/ 11865659 w 6132"/>
              <a:gd name="T97" fmla="*/ 843912 h 16980"/>
              <a:gd name="T98" fmla="*/ 12743931 w 6132"/>
              <a:gd name="T99" fmla="*/ 1593689 h 16980"/>
              <a:gd name="T100" fmla="*/ 13431908 w 6132"/>
              <a:gd name="T101" fmla="*/ 2490525 h 16980"/>
              <a:gd name="T102" fmla="*/ 13891551 w 6132"/>
              <a:gd name="T103" fmla="*/ 3481443 h 16980"/>
              <a:gd name="T104" fmla="*/ 14111119 w 6132"/>
              <a:gd name="T105" fmla="*/ 4572353 h 16980"/>
              <a:gd name="T106" fmla="*/ 14105275 w 6132"/>
              <a:gd name="T107" fmla="*/ 5636746 h 16980"/>
              <a:gd name="T108" fmla="*/ 13912057 w 6132"/>
              <a:gd name="T109" fmla="*/ 6586506 h 16980"/>
              <a:gd name="T110" fmla="*/ 13537309 w 6132"/>
              <a:gd name="T111" fmla="*/ 7471577 h 16980"/>
              <a:gd name="T112" fmla="*/ 12972265 w 6132"/>
              <a:gd name="T113" fmla="*/ 8303722 h 16980"/>
              <a:gd name="T114" fmla="*/ 12272601 w 6132"/>
              <a:gd name="T115" fmla="*/ 9015324 h 16980"/>
              <a:gd name="T116" fmla="*/ 11473326 w 6132"/>
              <a:gd name="T117" fmla="*/ 9562188 h 16980"/>
              <a:gd name="T118" fmla="*/ 10571626 w 6132"/>
              <a:gd name="T119" fmla="*/ 9941550 h 16980"/>
              <a:gd name="T120" fmla="*/ 10147098 w 6132"/>
              <a:gd name="T121" fmla="*/ 10232633 h 1698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6132"/>
              <a:gd name="T184" fmla="*/ 0 h 16980"/>
              <a:gd name="T185" fmla="*/ 6132 w 6132"/>
              <a:gd name="T186" fmla="*/ 16980 h 16980"/>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6132" h="16980">
                <a:moveTo>
                  <a:pt x="3480" y="3522"/>
                </a:moveTo>
                <a:lnTo>
                  <a:pt x="4254" y="3522"/>
                </a:lnTo>
                <a:lnTo>
                  <a:pt x="4298" y="3522"/>
                </a:lnTo>
                <a:lnTo>
                  <a:pt x="4342" y="3524"/>
                </a:lnTo>
                <a:lnTo>
                  <a:pt x="4386" y="3527"/>
                </a:lnTo>
                <a:lnTo>
                  <a:pt x="4429" y="3531"/>
                </a:lnTo>
                <a:lnTo>
                  <a:pt x="4473" y="3536"/>
                </a:lnTo>
                <a:lnTo>
                  <a:pt x="4515" y="3543"/>
                </a:lnTo>
                <a:lnTo>
                  <a:pt x="4558" y="3551"/>
                </a:lnTo>
                <a:lnTo>
                  <a:pt x="4601" y="3560"/>
                </a:lnTo>
                <a:lnTo>
                  <a:pt x="4643" y="3570"/>
                </a:lnTo>
                <a:lnTo>
                  <a:pt x="4685" y="3582"/>
                </a:lnTo>
                <a:lnTo>
                  <a:pt x="4727" y="3595"/>
                </a:lnTo>
                <a:lnTo>
                  <a:pt x="4769" y="3609"/>
                </a:lnTo>
                <a:lnTo>
                  <a:pt x="4809" y="3624"/>
                </a:lnTo>
                <a:lnTo>
                  <a:pt x="4851" y="3640"/>
                </a:lnTo>
                <a:lnTo>
                  <a:pt x="4892" y="3658"/>
                </a:lnTo>
                <a:lnTo>
                  <a:pt x="4932" y="3676"/>
                </a:lnTo>
                <a:lnTo>
                  <a:pt x="4973" y="3696"/>
                </a:lnTo>
                <a:lnTo>
                  <a:pt x="5013" y="3717"/>
                </a:lnTo>
                <a:lnTo>
                  <a:pt x="5052" y="3739"/>
                </a:lnTo>
                <a:lnTo>
                  <a:pt x="5093" y="3763"/>
                </a:lnTo>
                <a:lnTo>
                  <a:pt x="5132" y="3788"/>
                </a:lnTo>
                <a:lnTo>
                  <a:pt x="5171" y="3814"/>
                </a:lnTo>
                <a:lnTo>
                  <a:pt x="5210" y="3842"/>
                </a:lnTo>
                <a:lnTo>
                  <a:pt x="5249" y="3870"/>
                </a:lnTo>
                <a:lnTo>
                  <a:pt x="5287" y="3900"/>
                </a:lnTo>
                <a:lnTo>
                  <a:pt x="5325" y="3931"/>
                </a:lnTo>
                <a:lnTo>
                  <a:pt x="5364" y="3963"/>
                </a:lnTo>
                <a:lnTo>
                  <a:pt x="5401" y="3997"/>
                </a:lnTo>
                <a:lnTo>
                  <a:pt x="5438" y="4031"/>
                </a:lnTo>
                <a:lnTo>
                  <a:pt x="5475" y="4067"/>
                </a:lnTo>
                <a:lnTo>
                  <a:pt x="5512" y="4104"/>
                </a:lnTo>
                <a:lnTo>
                  <a:pt x="5549" y="4142"/>
                </a:lnTo>
                <a:lnTo>
                  <a:pt x="5584" y="4181"/>
                </a:lnTo>
                <a:lnTo>
                  <a:pt x="5619" y="4220"/>
                </a:lnTo>
                <a:lnTo>
                  <a:pt x="5652" y="4260"/>
                </a:lnTo>
                <a:lnTo>
                  <a:pt x="5685" y="4300"/>
                </a:lnTo>
                <a:lnTo>
                  <a:pt x="5716" y="4339"/>
                </a:lnTo>
                <a:lnTo>
                  <a:pt x="5747" y="4379"/>
                </a:lnTo>
                <a:lnTo>
                  <a:pt x="5775" y="4420"/>
                </a:lnTo>
                <a:lnTo>
                  <a:pt x="5803" y="4460"/>
                </a:lnTo>
                <a:lnTo>
                  <a:pt x="5830" y="4502"/>
                </a:lnTo>
                <a:lnTo>
                  <a:pt x="5855" y="4543"/>
                </a:lnTo>
                <a:lnTo>
                  <a:pt x="5880" y="4585"/>
                </a:lnTo>
                <a:lnTo>
                  <a:pt x="5904" y="4626"/>
                </a:lnTo>
                <a:lnTo>
                  <a:pt x="5925" y="4667"/>
                </a:lnTo>
                <a:lnTo>
                  <a:pt x="5946" y="4710"/>
                </a:lnTo>
                <a:lnTo>
                  <a:pt x="5967" y="4752"/>
                </a:lnTo>
                <a:lnTo>
                  <a:pt x="5986" y="4795"/>
                </a:lnTo>
                <a:lnTo>
                  <a:pt x="6004" y="4838"/>
                </a:lnTo>
                <a:lnTo>
                  <a:pt x="6020" y="4880"/>
                </a:lnTo>
                <a:lnTo>
                  <a:pt x="6036" y="4924"/>
                </a:lnTo>
                <a:lnTo>
                  <a:pt x="6049" y="4967"/>
                </a:lnTo>
                <a:lnTo>
                  <a:pt x="6063" y="5011"/>
                </a:lnTo>
                <a:lnTo>
                  <a:pt x="6075" y="5055"/>
                </a:lnTo>
                <a:lnTo>
                  <a:pt x="6085" y="5100"/>
                </a:lnTo>
                <a:lnTo>
                  <a:pt x="6095" y="5144"/>
                </a:lnTo>
                <a:lnTo>
                  <a:pt x="6104" y="5189"/>
                </a:lnTo>
                <a:lnTo>
                  <a:pt x="6111" y="5234"/>
                </a:lnTo>
                <a:lnTo>
                  <a:pt x="6117" y="5280"/>
                </a:lnTo>
                <a:lnTo>
                  <a:pt x="6123" y="5324"/>
                </a:lnTo>
                <a:lnTo>
                  <a:pt x="6127" y="5370"/>
                </a:lnTo>
                <a:lnTo>
                  <a:pt x="6130" y="5417"/>
                </a:lnTo>
                <a:lnTo>
                  <a:pt x="6131" y="5463"/>
                </a:lnTo>
                <a:lnTo>
                  <a:pt x="6132" y="5509"/>
                </a:lnTo>
                <a:lnTo>
                  <a:pt x="6132" y="9605"/>
                </a:lnTo>
                <a:lnTo>
                  <a:pt x="6132" y="9643"/>
                </a:lnTo>
                <a:lnTo>
                  <a:pt x="6130" y="9682"/>
                </a:lnTo>
                <a:lnTo>
                  <a:pt x="6129" y="9719"/>
                </a:lnTo>
                <a:lnTo>
                  <a:pt x="6126" y="9756"/>
                </a:lnTo>
                <a:lnTo>
                  <a:pt x="6122" y="9793"/>
                </a:lnTo>
                <a:lnTo>
                  <a:pt x="6117" y="9829"/>
                </a:lnTo>
                <a:lnTo>
                  <a:pt x="6112" y="9866"/>
                </a:lnTo>
                <a:lnTo>
                  <a:pt x="6107" y="9901"/>
                </a:lnTo>
                <a:lnTo>
                  <a:pt x="6099" y="9937"/>
                </a:lnTo>
                <a:lnTo>
                  <a:pt x="6092" y="9972"/>
                </a:lnTo>
                <a:lnTo>
                  <a:pt x="6083" y="10007"/>
                </a:lnTo>
                <a:lnTo>
                  <a:pt x="6074" y="10041"/>
                </a:lnTo>
                <a:lnTo>
                  <a:pt x="6063" y="10075"/>
                </a:lnTo>
                <a:lnTo>
                  <a:pt x="6053" y="10109"/>
                </a:lnTo>
                <a:lnTo>
                  <a:pt x="6041" y="10142"/>
                </a:lnTo>
                <a:lnTo>
                  <a:pt x="6028" y="10175"/>
                </a:lnTo>
                <a:lnTo>
                  <a:pt x="6014" y="10208"/>
                </a:lnTo>
                <a:lnTo>
                  <a:pt x="6001" y="10241"/>
                </a:lnTo>
                <a:lnTo>
                  <a:pt x="5986" y="10273"/>
                </a:lnTo>
                <a:lnTo>
                  <a:pt x="5970" y="10305"/>
                </a:lnTo>
                <a:lnTo>
                  <a:pt x="5953" y="10335"/>
                </a:lnTo>
                <a:lnTo>
                  <a:pt x="5935" y="10366"/>
                </a:lnTo>
                <a:lnTo>
                  <a:pt x="5917" y="10397"/>
                </a:lnTo>
                <a:lnTo>
                  <a:pt x="5898" y="10428"/>
                </a:lnTo>
                <a:lnTo>
                  <a:pt x="5877" y="10458"/>
                </a:lnTo>
                <a:lnTo>
                  <a:pt x="5857" y="10487"/>
                </a:lnTo>
                <a:lnTo>
                  <a:pt x="5835" y="10517"/>
                </a:lnTo>
                <a:lnTo>
                  <a:pt x="5813" y="10546"/>
                </a:lnTo>
                <a:lnTo>
                  <a:pt x="5789" y="10575"/>
                </a:lnTo>
                <a:lnTo>
                  <a:pt x="5766" y="10603"/>
                </a:lnTo>
                <a:lnTo>
                  <a:pt x="5740" y="10632"/>
                </a:lnTo>
                <a:lnTo>
                  <a:pt x="5715" y="10660"/>
                </a:lnTo>
                <a:lnTo>
                  <a:pt x="5688" y="10687"/>
                </a:lnTo>
                <a:lnTo>
                  <a:pt x="5661" y="10714"/>
                </a:lnTo>
                <a:lnTo>
                  <a:pt x="5633" y="10739"/>
                </a:lnTo>
                <a:lnTo>
                  <a:pt x="5606" y="10765"/>
                </a:lnTo>
                <a:lnTo>
                  <a:pt x="5576" y="10790"/>
                </a:lnTo>
                <a:lnTo>
                  <a:pt x="5546" y="10814"/>
                </a:lnTo>
                <a:lnTo>
                  <a:pt x="5516" y="10838"/>
                </a:lnTo>
                <a:lnTo>
                  <a:pt x="5486" y="10860"/>
                </a:lnTo>
                <a:lnTo>
                  <a:pt x="5455" y="10883"/>
                </a:lnTo>
                <a:lnTo>
                  <a:pt x="5422" y="10905"/>
                </a:lnTo>
                <a:lnTo>
                  <a:pt x="5390" y="10925"/>
                </a:lnTo>
                <a:lnTo>
                  <a:pt x="5357" y="10947"/>
                </a:lnTo>
                <a:lnTo>
                  <a:pt x="5323" y="10966"/>
                </a:lnTo>
                <a:lnTo>
                  <a:pt x="5288" y="10985"/>
                </a:lnTo>
                <a:lnTo>
                  <a:pt x="5253" y="11004"/>
                </a:lnTo>
                <a:lnTo>
                  <a:pt x="5218" y="11022"/>
                </a:lnTo>
                <a:lnTo>
                  <a:pt x="5182" y="11039"/>
                </a:lnTo>
                <a:lnTo>
                  <a:pt x="5145" y="11056"/>
                </a:lnTo>
                <a:lnTo>
                  <a:pt x="5108" y="11072"/>
                </a:lnTo>
                <a:lnTo>
                  <a:pt x="5069" y="11087"/>
                </a:lnTo>
                <a:lnTo>
                  <a:pt x="5031" y="11102"/>
                </a:lnTo>
                <a:lnTo>
                  <a:pt x="4992" y="11117"/>
                </a:lnTo>
                <a:lnTo>
                  <a:pt x="4952" y="11130"/>
                </a:lnTo>
                <a:lnTo>
                  <a:pt x="4911" y="11143"/>
                </a:lnTo>
                <a:lnTo>
                  <a:pt x="4871" y="11155"/>
                </a:lnTo>
                <a:lnTo>
                  <a:pt x="4828" y="11167"/>
                </a:lnTo>
                <a:lnTo>
                  <a:pt x="4787" y="11178"/>
                </a:lnTo>
                <a:lnTo>
                  <a:pt x="4743" y="11189"/>
                </a:lnTo>
                <a:lnTo>
                  <a:pt x="4701" y="11199"/>
                </a:lnTo>
                <a:lnTo>
                  <a:pt x="4656" y="11208"/>
                </a:lnTo>
                <a:lnTo>
                  <a:pt x="4612" y="11217"/>
                </a:lnTo>
                <a:lnTo>
                  <a:pt x="4567" y="11225"/>
                </a:lnTo>
                <a:lnTo>
                  <a:pt x="4567" y="16980"/>
                </a:lnTo>
                <a:lnTo>
                  <a:pt x="1510" y="16980"/>
                </a:lnTo>
                <a:lnTo>
                  <a:pt x="1510" y="11225"/>
                </a:lnTo>
                <a:lnTo>
                  <a:pt x="1424" y="11201"/>
                </a:lnTo>
                <a:lnTo>
                  <a:pt x="1340" y="11175"/>
                </a:lnTo>
                <a:lnTo>
                  <a:pt x="1298" y="11161"/>
                </a:lnTo>
                <a:lnTo>
                  <a:pt x="1258" y="11148"/>
                </a:lnTo>
                <a:lnTo>
                  <a:pt x="1218" y="11134"/>
                </a:lnTo>
                <a:lnTo>
                  <a:pt x="1178" y="11120"/>
                </a:lnTo>
                <a:lnTo>
                  <a:pt x="1139" y="11105"/>
                </a:lnTo>
                <a:lnTo>
                  <a:pt x="1101" y="11089"/>
                </a:lnTo>
                <a:lnTo>
                  <a:pt x="1064" y="11074"/>
                </a:lnTo>
                <a:lnTo>
                  <a:pt x="1026" y="11058"/>
                </a:lnTo>
                <a:lnTo>
                  <a:pt x="990" y="11042"/>
                </a:lnTo>
                <a:lnTo>
                  <a:pt x="954" y="11025"/>
                </a:lnTo>
                <a:lnTo>
                  <a:pt x="918" y="11009"/>
                </a:lnTo>
                <a:lnTo>
                  <a:pt x="884" y="10991"/>
                </a:lnTo>
                <a:lnTo>
                  <a:pt x="849" y="10974"/>
                </a:lnTo>
                <a:lnTo>
                  <a:pt x="816" y="10956"/>
                </a:lnTo>
                <a:lnTo>
                  <a:pt x="782" y="10938"/>
                </a:lnTo>
                <a:lnTo>
                  <a:pt x="750" y="10920"/>
                </a:lnTo>
                <a:lnTo>
                  <a:pt x="719" y="10901"/>
                </a:lnTo>
                <a:lnTo>
                  <a:pt x="687" y="10882"/>
                </a:lnTo>
                <a:lnTo>
                  <a:pt x="656" y="10862"/>
                </a:lnTo>
                <a:lnTo>
                  <a:pt x="626" y="10841"/>
                </a:lnTo>
                <a:lnTo>
                  <a:pt x="596" y="10821"/>
                </a:lnTo>
                <a:lnTo>
                  <a:pt x="567" y="10801"/>
                </a:lnTo>
                <a:lnTo>
                  <a:pt x="539" y="10780"/>
                </a:lnTo>
                <a:lnTo>
                  <a:pt x="510" y="10758"/>
                </a:lnTo>
                <a:lnTo>
                  <a:pt x="484" y="10736"/>
                </a:lnTo>
                <a:lnTo>
                  <a:pt x="456" y="10714"/>
                </a:lnTo>
                <a:lnTo>
                  <a:pt x="431" y="10691"/>
                </a:lnTo>
                <a:lnTo>
                  <a:pt x="405" y="10668"/>
                </a:lnTo>
                <a:lnTo>
                  <a:pt x="380" y="10646"/>
                </a:lnTo>
                <a:lnTo>
                  <a:pt x="355" y="10622"/>
                </a:lnTo>
                <a:lnTo>
                  <a:pt x="332" y="10599"/>
                </a:lnTo>
                <a:lnTo>
                  <a:pt x="310" y="10576"/>
                </a:lnTo>
                <a:lnTo>
                  <a:pt x="289" y="10551"/>
                </a:lnTo>
                <a:lnTo>
                  <a:pt x="267" y="10528"/>
                </a:lnTo>
                <a:lnTo>
                  <a:pt x="247" y="10503"/>
                </a:lnTo>
                <a:lnTo>
                  <a:pt x="228" y="10480"/>
                </a:lnTo>
                <a:lnTo>
                  <a:pt x="209" y="10455"/>
                </a:lnTo>
                <a:lnTo>
                  <a:pt x="191" y="10431"/>
                </a:lnTo>
                <a:lnTo>
                  <a:pt x="174" y="10407"/>
                </a:lnTo>
                <a:lnTo>
                  <a:pt x="158" y="10382"/>
                </a:lnTo>
                <a:lnTo>
                  <a:pt x="142" y="10357"/>
                </a:lnTo>
                <a:lnTo>
                  <a:pt x="128" y="10332"/>
                </a:lnTo>
                <a:lnTo>
                  <a:pt x="114" y="10307"/>
                </a:lnTo>
                <a:lnTo>
                  <a:pt x="101" y="10281"/>
                </a:lnTo>
                <a:lnTo>
                  <a:pt x="89" y="10256"/>
                </a:lnTo>
                <a:lnTo>
                  <a:pt x="77" y="10230"/>
                </a:lnTo>
                <a:lnTo>
                  <a:pt x="67" y="10205"/>
                </a:lnTo>
                <a:lnTo>
                  <a:pt x="57" y="10179"/>
                </a:lnTo>
                <a:lnTo>
                  <a:pt x="48" y="10153"/>
                </a:lnTo>
                <a:lnTo>
                  <a:pt x="39" y="10127"/>
                </a:lnTo>
                <a:lnTo>
                  <a:pt x="32" y="10100"/>
                </a:lnTo>
                <a:lnTo>
                  <a:pt x="25" y="10074"/>
                </a:lnTo>
                <a:lnTo>
                  <a:pt x="19" y="10047"/>
                </a:lnTo>
                <a:lnTo>
                  <a:pt x="14" y="10021"/>
                </a:lnTo>
                <a:lnTo>
                  <a:pt x="9" y="9994"/>
                </a:lnTo>
                <a:lnTo>
                  <a:pt x="6" y="9967"/>
                </a:lnTo>
                <a:lnTo>
                  <a:pt x="3" y="9940"/>
                </a:lnTo>
                <a:lnTo>
                  <a:pt x="1" y="9912"/>
                </a:lnTo>
                <a:lnTo>
                  <a:pt x="0" y="9885"/>
                </a:lnTo>
                <a:lnTo>
                  <a:pt x="0" y="9857"/>
                </a:lnTo>
                <a:lnTo>
                  <a:pt x="0" y="5509"/>
                </a:lnTo>
                <a:lnTo>
                  <a:pt x="1" y="5453"/>
                </a:lnTo>
                <a:lnTo>
                  <a:pt x="2" y="5398"/>
                </a:lnTo>
                <a:lnTo>
                  <a:pt x="5" y="5342"/>
                </a:lnTo>
                <a:lnTo>
                  <a:pt x="9" y="5288"/>
                </a:lnTo>
                <a:lnTo>
                  <a:pt x="15" y="5235"/>
                </a:lnTo>
                <a:lnTo>
                  <a:pt x="21" y="5182"/>
                </a:lnTo>
                <a:lnTo>
                  <a:pt x="28" y="5130"/>
                </a:lnTo>
                <a:lnTo>
                  <a:pt x="37" y="5079"/>
                </a:lnTo>
                <a:lnTo>
                  <a:pt x="47" y="5028"/>
                </a:lnTo>
                <a:lnTo>
                  <a:pt x="57" y="4978"/>
                </a:lnTo>
                <a:lnTo>
                  <a:pt x="70" y="4929"/>
                </a:lnTo>
                <a:lnTo>
                  <a:pt x="83" y="4880"/>
                </a:lnTo>
                <a:lnTo>
                  <a:pt x="97" y="4832"/>
                </a:lnTo>
                <a:lnTo>
                  <a:pt x="112" y="4785"/>
                </a:lnTo>
                <a:lnTo>
                  <a:pt x="129" y="4739"/>
                </a:lnTo>
                <a:lnTo>
                  <a:pt x="147" y="4693"/>
                </a:lnTo>
                <a:lnTo>
                  <a:pt x="166" y="4648"/>
                </a:lnTo>
                <a:lnTo>
                  <a:pt x="187" y="4604"/>
                </a:lnTo>
                <a:lnTo>
                  <a:pt x="208" y="4560"/>
                </a:lnTo>
                <a:lnTo>
                  <a:pt x="230" y="4518"/>
                </a:lnTo>
                <a:lnTo>
                  <a:pt x="255" y="4476"/>
                </a:lnTo>
                <a:lnTo>
                  <a:pt x="279" y="4435"/>
                </a:lnTo>
                <a:lnTo>
                  <a:pt x="306" y="4393"/>
                </a:lnTo>
                <a:lnTo>
                  <a:pt x="332" y="4354"/>
                </a:lnTo>
                <a:lnTo>
                  <a:pt x="361" y="4315"/>
                </a:lnTo>
                <a:lnTo>
                  <a:pt x="391" y="4275"/>
                </a:lnTo>
                <a:lnTo>
                  <a:pt x="421" y="4238"/>
                </a:lnTo>
                <a:lnTo>
                  <a:pt x="453" y="4201"/>
                </a:lnTo>
                <a:lnTo>
                  <a:pt x="486" y="4165"/>
                </a:lnTo>
                <a:lnTo>
                  <a:pt x="520" y="4129"/>
                </a:lnTo>
                <a:lnTo>
                  <a:pt x="556" y="4093"/>
                </a:lnTo>
                <a:lnTo>
                  <a:pt x="592" y="4059"/>
                </a:lnTo>
                <a:lnTo>
                  <a:pt x="629" y="4025"/>
                </a:lnTo>
                <a:lnTo>
                  <a:pt x="668" y="3994"/>
                </a:lnTo>
                <a:lnTo>
                  <a:pt x="707" y="3963"/>
                </a:lnTo>
                <a:lnTo>
                  <a:pt x="747" y="3933"/>
                </a:lnTo>
                <a:lnTo>
                  <a:pt x="789" y="3904"/>
                </a:lnTo>
                <a:lnTo>
                  <a:pt x="830" y="3876"/>
                </a:lnTo>
                <a:lnTo>
                  <a:pt x="873" y="3849"/>
                </a:lnTo>
                <a:lnTo>
                  <a:pt x="916" y="3823"/>
                </a:lnTo>
                <a:lnTo>
                  <a:pt x="961" y="3799"/>
                </a:lnTo>
                <a:lnTo>
                  <a:pt x="1005" y="3775"/>
                </a:lnTo>
                <a:lnTo>
                  <a:pt x="1052" y="3752"/>
                </a:lnTo>
                <a:lnTo>
                  <a:pt x="1099" y="3731"/>
                </a:lnTo>
                <a:lnTo>
                  <a:pt x="1146" y="3711"/>
                </a:lnTo>
                <a:lnTo>
                  <a:pt x="1194" y="3691"/>
                </a:lnTo>
                <a:lnTo>
                  <a:pt x="1244" y="3672"/>
                </a:lnTo>
                <a:lnTo>
                  <a:pt x="1294" y="3655"/>
                </a:lnTo>
                <a:lnTo>
                  <a:pt x="1345" y="3640"/>
                </a:lnTo>
                <a:lnTo>
                  <a:pt x="1397" y="3624"/>
                </a:lnTo>
                <a:lnTo>
                  <a:pt x="1450" y="3610"/>
                </a:lnTo>
                <a:lnTo>
                  <a:pt x="1503" y="3597"/>
                </a:lnTo>
                <a:lnTo>
                  <a:pt x="1558" y="3584"/>
                </a:lnTo>
                <a:lnTo>
                  <a:pt x="1614" y="3574"/>
                </a:lnTo>
                <a:lnTo>
                  <a:pt x="1670" y="3564"/>
                </a:lnTo>
                <a:lnTo>
                  <a:pt x="1726" y="3554"/>
                </a:lnTo>
                <a:lnTo>
                  <a:pt x="1785" y="3547"/>
                </a:lnTo>
                <a:lnTo>
                  <a:pt x="1843" y="3540"/>
                </a:lnTo>
                <a:lnTo>
                  <a:pt x="1902" y="3534"/>
                </a:lnTo>
                <a:lnTo>
                  <a:pt x="1963" y="3530"/>
                </a:lnTo>
                <a:lnTo>
                  <a:pt x="2024" y="3526"/>
                </a:lnTo>
                <a:lnTo>
                  <a:pt x="2086" y="3524"/>
                </a:lnTo>
                <a:lnTo>
                  <a:pt x="2149" y="3522"/>
                </a:lnTo>
                <a:lnTo>
                  <a:pt x="2212" y="3522"/>
                </a:lnTo>
                <a:lnTo>
                  <a:pt x="2218" y="3517"/>
                </a:lnTo>
                <a:lnTo>
                  <a:pt x="2224" y="3514"/>
                </a:lnTo>
                <a:lnTo>
                  <a:pt x="2230" y="3513"/>
                </a:lnTo>
                <a:lnTo>
                  <a:pt x="2237" y="3512"/>
                </a:lnTo>
                <a:lnTo>
                  <a:pt x="2243" y="3512"/>
                </a:lnTo>
                <a:lnTo>
                  <a:pt x="2251" y="3512"/>
                </a:lnTo>
                <a:lnTo>
                  <a:pt x="2261" y="3512"/>
                </a:lnTo>
                <a:lnTo>
                  <a:pt x="2274" y="3512"/>
                </a:lnTo>
                <a:lnTo>
                  <a:pt x="2312" y="3514"/>
                </a:lnTo>
                <a:lnTo>
                  <a:pt x="2353" y="3516"/>
                </a:lnTo>
                <a:lnTo>
                  <a:pt x="2393" y="3517"/>
                </a:lnTo>
                <a:lnTo>
                  <a:pt x="2435" y="3519"/>
                </a:lnTo>
                <a:lnTo>
                  <a:pt x="2479" y="3520"/>
                </a:lnTo>
                <a:lnTo>
                  <a:pt x="2522" y="3520"/>
                </a:lnTo>
                <a:lnTo>
                  <a:pt x="2568" y="3522"/>
                </a:lnTo>
                <a:lnTo>
                  <a:pt x="2615" y="3522"/>
                </a:lnTo>
                <a:lnTo>
                  <a:pt x="2616" y="3516"/>
                </a:lnTo>
                <a:lnTo>
                  <a:pt x="2617" y="3511"/>
                </a:lnTo>
                <a:lnTo>
                  <a:pt x="2620" y="3505"/>
                </a:lnTo>
                <a:lnTo>
                  <a:pt x="2623" y="3498"/>
                </a:lnTo>
                <a:lnTo>
                  <a:pt x="2634" y="3483"/>
                </a:lnTo>
                <a:lnTo>
                  <a:pt x="2649" y="3466"/>
                </a:lnTo>
                <a:lnTo>
                  <a:pt x="2663" y="3450"/>
                </a:lnTo>
                <a:lnTo>
                  <a:pt x="2674" y="3439"/>
                </a:lnTo>
                <a:lnTo>
                  <a:pt x="2678" y="3434"/>
                </a:lnTo>
                <a:lnTo>
                  <a:pt x="2683" y="3431"/>
                </a:lnTo>
                <a:lnTo>
                  <a:pt x="2686" y="3430"/>
                </a:lnTo>
                <a:lnTo>
                  <a:pt x="2688" y="3429"/>
                </a:lnTo>
                <a:lnTo>
                  <a:pt x="2651" y="3417"/>
                </a:lnTo>
                <a:lnTo>
                  <a:pt x="2614" y="3406"/>
                </a:lnTo>
                <a:lnTo>
                  <a:pt x="2578" y="3393"/>
                </a:lnTo>
                <a:lnTo>
                  <a:pt x="2542" y="3380"/>
                </a:lnTo>
                <a:lnTo>
                  <a:pt x="2506" y="3366"/>
                </a:lnTo>
                <a:lnTo>
                  <a:pt x="2471" y="3351"/>
                </a:lnTo>
                <a:lnTo>
                  <a:pt x="2436" y="3337"/>
                </a:lnTo>
                <a:lnTo>
                  <a:pt x="2402" y="3322"/>
                </a:lnTo>
                <a:lnTo>
                  <a:pt x="2368" y="3306"/>
                </a:lnTo>
                <a:lnTo>
                  <a:pt x="2336" y="3289"/>
                </a:lnTo>
                <a:lnTo>
                  <a:pt x="2303" y="3272"/>
                </a:lnTo>
                <a:lnTo>
                  <a:pt x="2271" y="3255"/>
                </a:lnTo>
                <a:lnTo>
                  <a:pt x="2239" y="3237"/>
                </a:lnTo>
                <a:lnTo>
                  <a:pt x="2208" y="3218"/>
                </a:lnTo>
                <a:lnTo>
                  <a:pt x="2177" y="3198"/>
                </a:lnTo>
                <a:lnTo>
                  <a:pt x="2147" y="3178"/>
                </a:lnTo>
                <a:lnTo>
                  <a:pt x="2117" y="3158"/>
                </a:lnTo>
                <a:lnTo>
                  <a:pt x="2087" y="3137"/>
                </a:lnTo>
                <a:lnTo>
                  <a:pt x="2058" y="3115"/>
                </a:lnTo>
                <a:lnTo>
                  <a:pt x="2030" y="3093"/>
                </a:lnTo>
                <a:lnTo>
                  <a:pt x="2002" y="3071"/>
                </a:lnTo>
                <a:lnTo>
                  <a:pt x="1975" y="3047"/>
                </a:lnTo>
                <a:lnTo>
                  <a:pt x="1948" y="3024"/>
                </a:lnTo>
                <a:lnTo>
                  <a:pt x="1921" y="3000"/>
                </a:lnTo>
                <a:lnTo>
                  <a:pt x="1895" y="2975"/>
                </a:lnTo>
                <a:lnTo>
                  <a:pt x="1869" y="2950"/>
                </a:lnTo>
                <a:lnTo>
                  <a:pt x="1844" y="2924"/>
                </a:lnTo>
                <a:lnTo>
                  <a:pt x="1820" y="2898"/>
                </a:lnTo>
                <a:lnTo>
                  <a:pt x="1795" y="2871"/>
                </a:lnTo>
                <a:lnTo>
                  <a:pt x="1771" y="2843"/>
                </a:lnTo>
                <a:lnTo>
                  <a:pt x="1747" y="2816"/>
                </a:lnTo>
                <a:lnTo>
                  <a:pt x="1725" y="2787"/>
                </a:lnTo>
                <a:lnTo>
                  <a:pt x="1703" y="2757"/>
                </a:lnTo>
                <a:lnTo>
                  <a:pt x="1682" y="2729"/>
                </a:lnTo>
                <a:lnTo>
                  <a:pt x="1660" y="2699"/>
                </a:lnTo>
                <a:lnTo>
                  <a:pt x="1640" y="2669"/>
                </a:lnTo>
                <a:lnTo>
                  <a:pt x="1621" y="2638"/>
                </a:lnTo>
                <a:lnTo>
                  <a:pt x="1603" y="2608"/>
                </a:lnTo>
                <a:lnTo>
                  <a:pt x="1585" y="2578"/>
                </a:lnTo>
                <a:lnTo>
                  <a:pt x="1568" y="2547"/>
                </a:lnTo>
                <a:lnTo>
                  <a:pt x="1551" y="2516"/>
                </a:lnTo>
                <a:lnTo>
                  <a:pt x="1535" y="2484"/>
                </a:lnTo>
                <a:lnTo>
                  <a:pt x="1520" y="2452"/>
                </a:lnTo>
                <a:lnTo>
                  <a:pt x="1506" y="2420"/>
                </a:lnTo>
                <a:lnTo>
                  <a:pt x="1493" y="2388"/>
                </a:lnTo>
                <a:lnTo>
                  <a:pt x="1479" y="2356"/>
                </a:lnTo>
                <a:lnTo>
                  <a:pt x="1467" y="2324"/>
                </a:lnTo>
                <a:lnTo>
                  <a:pt x="1455" y="2291"/>
                </a:lnTo>
                <a:lnTo>
                  <a:pt x="1445" y="2258"/>
                </a:lnTo>
                <a:lnTo>
                  <a:pt x="1434" y="2225"/>
                </a:lnTo>
                <a:lnTo>
                  <a:pt x="1425" y="2191"/>
                </a:lnTo>
                <a:lnTo>
                  <a:pt x="1416" y="2157"/>
                </a:lnTo>
                <a:lnTo>
                  <a:pt x="1408" y="2123"/>
                </a:lnTo>
                <a:lnTo>
                  <a:pt x="1400" y="2089"/>
                </a:lnTo>
                <a:lnTo>
                  <a:pt x="1394" y="2054"/>
                </a:lnTo>
                <a:lnTo>
                  <a:pt x="1389" y="2018"/>
                </a:lnTo>
                <a:lnTo>
                  <a:pt x="1383" y="1983"/>
                </a:lnTo>
                <a:lnTo>
                  <a:pt x="1378" y="1948"/>
                </a:lnTo>
                <a:lnTo>
                  <a:pt x="1375" y="1912"/>
                </a:lnTo>
                <a:lnTo>
                  <a:pt x="1372" y="1876"/>
                </a:lnTo>
                <a:lnTo>
                  <a:pt x="1368" y="1840"/>
                </a:lnTo>
                <a:lnTo>
                  <a:pt x="1367" y="1804"/>
                </a:lnTo>
                <a:lnTo>
                  <a:pt x="1366" y="1767"/>
                </a:lnTo>
                <a:lnTo>
                  <a:pt x="1365" y="1729"/>
                </a:lnTo>
                <a:lnTo>
                  <a:pt x="1366" y="1686"/>
                </a:lnTo>
                <a:lnTo>
                  <a:pt x="1367" y="1641"/>
                </a:lnTo>
                <a:lnTo>
                  <a:pt x="1370" y="1598"/>
                </a:lnTo>
                <a:lnTo>
                  <a:pt x="1374" y="1555"/>
                </a:lnTo>
                <a:lnTo>
                  <a:pt x="1378" y="1511"/>
                </a:lnTo>
                <a:lnTo>
                  <a:pt x="1383" y="1469"/>
                </a:lnTo>
                <a:lnTo>
                  <a:pt x="1390" y="1427"/>
                </a:lnTo>
                <a:lnTo>
                  <a:pt x="1397" y="1386"/>
                </a:lnTo>
                <a:lnTo>
                  <a:pt x="1405" y="1345"/>
                </a:lnTo>
                <a:lnTo>
                  <a:pt x="1415" y="1304"/>
                </a:lnTo>
                <a:lnTo>
                  <a:pt x="1426" y="1264"/>
                </a:lnTo>
                <a:lnTo>
                  <a:pt x="1437" y="1223"/>
                </a:lnTo>
                <a:lnTo>
                  <a:pt x="1449" y="1184"/>
                </a:lnTo>
                <a:lnTo>
                  <a:pt x="1463" y="1145"/>
                </a:lnTo>
                <a:lnTo>
                  <a:pt x="1477" y="1106"/>
                </a:lnTo>
                <a:lnTo>
                  <a:pt x="1493" y="1068"/>
                </a:lnTo>
                <a:lnTo>
                  <a:pt x="1508" y="1030"/>
                </a:lnTo>
                <a:lnTo>
                  <a:pt x="1527" y="993"/>
                </a:lnTo>
                <a:lnTo>
                  <a:pt x="1545" y="955"/>
                </a:lnTo>
                <a:lnTo>
                  <a:pt x="1564" y="919"/>
                </a:lnTo>
                <a:lnTo>
                  <a:pt x="1585" y="883"/>
                </a:lnTo>
                <a:lnTo>
                  <a:pt x="1606" y="847"/>
                </a:lnTo>
                <a:lnTo>
                  <a:pt x="1628" y="811"/>
                </a:lnTo>
                <a:lnTo>
                  <a:pt x="1652" y="776"/>
                </a:lnTo>
                <a:lnTo>
                  <a:pt x="1676" y="742"/>
                </a:lnTo>
                <a:lnTo>
                  <a:pt x="1702" y="708"/>
                </a:lnTo>
                <a:lnTo>
                  <a:pt x="1728" y="674"/>
                </a:lnTo>
                <a:lnTo>
                  <a:pt x="1756" y="640"/>
                </a:lnTo>
                <a:lnTo>
                  <a:pt x="1783" y="607"/>
                </a:lnTo>
                <a:lnTo>
                  <a:pt x="1813" y="574"/>
                </a:lnTo>
                <a:lnTo>
                  <a:pt x="1844" y="542"/>
                </a:lnTo>
                <a:lnTo>
                  <a:pt x="1875" y="510"/>
                </a:lnTo>
                <a:lnTo>
                  <a:pt x="1907" y="478"/>
                </a:lnTo>
                <a:lnTo>
                  <a:pt x="1940" y="448"/>
                </a:lnTo>
                <a:lnTo>
                  <a:pt x="1971" y="419"/>
                </a:lnTo>
                <a:lnTo>
                  <a:pt x="2005" y="390"/>
                </a:lnTo>
                <a:lnTo>
                  <a:pt x="2038" y="362"/>
                </a:lnTo>
                <a:lnTo>
                  <a:pt x="2072" y="336"/>
                </a:lnTo>
                <a:lnTo>
                  <a:pt x="2106" y="311"/>
                </a:lnTo>
                <a:lnTo>
                  <a:pt x="2141" y="287"/>
                </a:lnTo>
                <a:lnTo>
                  <a:pt x="2176" y="263"/>
                </a:lnTo>
                <a:lnTo>
                  <a:pt x="2211" y="240"/>
                </a:lnTo>
                <a:lnTo>
                  <a:pt x="2247" y="219"/>
                </a:lnTo>
                <a:lnTo>
                  <a:pt x="2284" y="199"/>
                </a:lnTo>
                <a:lnTo>
                  <a:pt x="2320" y="179"/>
                </a:lnTo>
                <a:lnTo>
                  <a:pt x="2357" y="160"/>
                </a:lnTo>
                <a:lnTo>
                  <a:pt x="2395" y="143"/>
                </a:lnTo>
                <a:lnTo>
                  <a:pt x="2432" y="127"/>
                </a:lnTo>
                <a:lnTo>
                  <a:pt x="2470" y="111"/>
                </a:lnTo>
                <a:lnTo>
                  <a:pt x="2510" y="98"/>
                </a:lnTo>
                <a:lnTo>
                  <a:pt x="2549" y="84"/>
                </a:lnTo>
                <a:lnTo>
                  <a:pt x="2588" y="71"/>
                </a:lnTo>
                <a:lnTo>
                  <a:pt x="2628" y="60"/>
                </a:lnTo>
                <a:lnTo>
                  <a:pt x="2668" y="50"/>
                </a:lnTo>
                <a:lnTo>
                  <a:pt x="2709" y="40"/>
                </a:lnTo>
                <a:lnTo>
                  <a:pt x="2750" y="32"/>
                </a:lnTo>
                <a:lnTo>
                  <a:pt x="2791" y="24"/>
                </a:lnTo>
                <a:lnTo>
                  <a:pt x="2833" y="18"/>
                </a:lnTo>
                <a:lnTo>
                  <a:pt x="2876" y="13"/>
                </a:lnTo>
                <a:lnTo>
                  <a:pt x="2918" y="7"/>
                </a:lnTo>
                <a:lnTo>
                  <a:pt x="2962" y="4"/>
                </a:lnTo>
                <a:lnTo>
                  <a:pt x="3005" y="2"/>
                </a:lnTo>
                <a:lnTo>
                  <a:pt x="3049" y="1"/>
                </a:lnTo>
                <a:lnTo>
                  <a:pt x="3094" y="0"/>
                </a:lnTo>
                <a:lnTo>
                  <a:pt x="3138" y="1"/>
                </a:lnTo>
                <a:lnTo>
                  <a:pt x="3183" y="2"/>
                </a:lnTo>
                <a:lnTo>
                  <a:pt x="3226" y="4"/>
                </a:lnTo>
                <a:lnTo>
                  <a:pt x="3270" y="7"/>
                </a:lnTo>
                <a:lnTo>
                  <a:pt x="3312" y="13"/>
                </a:lnTo>
                <a:lnTo>
                  <a:pt x="3356" y="18"/>
                </a:lnTo>
                <a:lnTo>
                  <a:pt x="3397" y="24"/>
                </a:lnTo>
                <a:lnTo>
                  <a:pt x="3440" y="32"/>
                </a:lnTo>
                <a:lnTo>
                  <a:pt x="3481" y="40"/>
                </a:lnTo>
                <a:lnTo>
                  <a:pt x="3521" y="50"/>
                </a:lnTo>
                <a:lnTo>
                  <a:pt x="3563" y="60"/>
                </a:lnTo>
                <a:lnTo>
                  <a:pt x="3602" y="71"/>
                </a:lnTo>
                <a:lnTo>
                  <a:pt x="3643" y="84"/>
                </a:lnTo>
                <a:lnTo>
                  <a:pt x="3682" y="98"/>
                </a:lnTo>
                <a:lnTo>
                  <a:pt x="3721" y="111"/>
                </a:lnTo>
                <a:lnTo>
                  <a:pt x="3759" y="127"/>
                </a:lnTo>
                <a:lnTo>
                  <a:pt x="3798" y="143"/>
                </a:lnTo>
                <a:lnTo>
                  <a:pt x="3835" y="160"/>
                </a:lnTo>
                <a:lnTo>
                  <a:pt x="3873" y="179"/>
                </a:lnTo>
                <a:lnTo>
                  <a:pt x="3909" y="199"/>
                </a:lnTo>
                <a:lnTo>
                  <a:pt x="3946" y="219"/>
                </a:lnTo>
                <a:lnTo>
                  <a:pt x="3982" y="240"/>
                </a:lnTo>
                <a:lnTo>
                  <a:pt x="4017" y="263"/>
                </a:lnTo>
                <a:lnTo>
                  <a:pt x="4053" y="287"/>
                </a:lnTo>
                <a:lnTo>
                  <a:pt x="4088" y="311"/>
                </a:lnTo>
                <a:lnTo>
                  <a:pt x="4122" y="336"/>
                </a:lnTo>
                <a:lnTo>
                  <a:pt x="4156" y="362"/>
                </a:lnTo>
                <a:lnTo>
                  <a:pt x="4190" y="390"/>
                </a:lnTo>
                <a:lnTo>
                  <a:pt x="4223" y="419"/>
                </a:lnTo>
                <a:lnTo>
                  <a:pt x="4256" y="448"/>
                </a:lnTo>
                <a:lnTo>
                  <a:pt x="4289" y="478"/>
                </a:lnTo>
                <a:lnTo>
                  <a:pt x="4321" y="510"/>
                </a:lnTo>
                <a:lnTo>
                  <a:pt x="4353" y="542"/>
                </a:lnTo>
                <a:lnTo>
                  <a:pt x="4383" y="574"/>
                </a:lnTo>
                <a:lnTo>
                  <a:pt x="4412" y="607"/>
                </a:lnTo>
                <a:lnTo>
                  <a:pt x="4440" y="640"/>
                </a:lnTo>
                <a:lnTo>
                  <a:pt x="4467" y="674"/>
                </a:lnTo>
                <a:lnTo>
                  <a:pt x="4493" y="708"/>
                </a:lnTo>
                <a:lnTo>
                  <a:pt x="4518" y="742"/>
                </a:lnTo>
                <a:lnTo>
                  <a:pt x="4543" y="776"/>
                </a:lnTo>
                <a:lnTo>
                  <a:pt x="4566" y="811"/>
                </a:lnTo>
                <a:lnTo>
                  <a:pt x="4588" y="847"/>
                </a:lnTo>
                <a:lnTo>
                  <a:pt x="4610" y="883"/>
                </a:lnTo>
                <a:lnTo>
                  <a:pt x="4630" y="919"/>
                </a:lnTo>
                <a:lnTo>
                  <a:pt x="4649" y="955"/>
                </a:lnTo>
                <a:lnTo>
                  <a:pt x="4667" y="993"/>
                </a:lnTo>
                <a:lnTo>
                  <a:pt x="4685" y="1030"/>
                </a:lnTo>
                <a:lnTo>
                  <a:pt x="4701" y="1068"/>
                </a:lnTo>
                <a:lnTo>
                  <a:pt x="4716" y="1106"/>
                </a:lnTo>
                <a:lnTo>
                  <a:pt x="4731" y="1145"/>
                </a:lnTo>
                <a:lnTo>
                  <a:pt x="4745" y="1184"/>
                </a:lnTo>
                <a:lnTo>
                  <a:pt x="4756" y="1223"/>
                </a:lnTo>
                <a:lnTo>
                  <a:pt x="4768" y="1264"/>
                </a:lnTo>
                <a:lnTo>
                  <a:pt x="4779" y="1304"/>
                </a:lnTo>
                <a:lnTo>
                  <a:pt x="4788" y="1345"/>
                </a:lnTo>
                <a:lnTo>
                  <a:pt x="4797" y="1386"/>
                </a:lnTo>
                <a:lnTo>
                  <a:pt x="4803" y="1427"/>
                </a:lnTo>
                <a:lnTo>
                  <a:pt x="4810" y="1469"/>
                </a:lnTo>
                <a:lnTo>
                  <a:pt x="4816" y="1511"/>
                </a:lnTo>
                <a:lnTo>
                  <a:pt x="4820" y="1555"/>
                </a:lnTo>
                <a:lnTo>
                  <a:pt x="4823" y="1598"/>
                </a:lnTo>
                <a:lnTo>
                  <a:pt x="4825" y="1641"/>
                </a:lnTo>
                <a:lnTo>
                  <a:pt x="4827" y="1686"/>
                </a:lnTo>
                <a:lnTo>
                  <a:pt x="4827" y="1729"/>
                </a:lnTo>
                <a:lnTo>
                  <a:pt x="4827" y="1768"/>
                </a:lnTo>
                <a:lnTo>
                  <a:pt x="4826" y="1806"/>
                </a:lnTo>
                <a:lnTo>
                  <a:pt x="4824" y="1843"/>
                </a:lnTo>
                <a:lnTo>
                  <a:pt x="4822" y="1880"/>
                </a:lnTo>
                <a:lnTo>
                  <a:pt x="4818" y="1917"/>
                </a:lnTo>
                <a:lnTo>
                  <a:pt x="4814" y="1954"/>
                </a:lnTo>
                <a:lnTo>
                  <a:pt x="4808" y="1990"/>
                </a:lnTo>
                <a:lnTo>
                  <a:pt x="4803" y="2027"/>
                </a:lnTo>
                <a:lnTo>
                  <a:pt x="4797" y="2062"/>
                </a:lnTo>
                <a:lnTo>
                  <a:pt x="4789" y="2098"/>
                </a:lnTo>
                <a:lnTo>
                  <a:pt x="4781" y="2134"/>
                </a:lnTo>
                <a:lnTo>
                  <a:pt x="4772" y="2169"/>
                </a:lnTo>
                <a:lnTo>
                  <a:pt x="4763" y="2204"/>
                </a:lnTo>
                <a:lnTo>
                  <a:pt x="4752" y="2240"/>
                </a:lnTo>
                <a:lnTo>
                  <a:pt x="4740" y="2274"/>
                </a:lnTo>
                <a:lnTo>
                  <a:pt x="4729" y="2308"/>
                </a:lnTo>
                <a:lnTo>
                  <a:pt x="4716" y="2342"/>
                </a:lnTo>
                <a:lnTo>
                  <a:pt x="4702" y="2376"/>
                </a:lnTo>
                <a:lnTo>
                  <a:pt x="4688" y="2410"/>
                </a:lnTo>
                <a:lnTo>
                  <a:pt x="4673" y="2443"/>
                </a:lnTo>
                <a:lnTo>
                  <a:pt x="4657" y="2476"/>
                </a:lnTo>
                <a:lnTo>
                  <a:pt x="4641" y="2508"/>
                </a:lnTo>
                <a:lnTo>
                  <a:pt x="4624" y="2541"/>
                </a:lnTo>
                <a:lnTo>
                  <a:pt x="4605" y="2573"/>
                </a:lnTo>
                <a:lnTo>
                  <a:pt x="4586" y="2606"/>
                </a:lnTo>
                <a:lnTo>
                  <a:pt x="4566" y="2638"/>
                </a:lnTo>
                <a:lnTo>
                  <a:pt x="4546" y="2669"/>
                </a:lnTo>
                <a:lnTo>
                  <a:pt x="4525" y="2701"/>
                </a:lnTo>
                <a:lnTo>
                  <a:pt x="4502" y="2732"/>
                </a:lnTo>
                <a:lnTo>
                  <a:pt x="4480" y="2763"/>
                </a:lnTo>
                <a:lnTo>
                  <a:pt x="4456" y="2793"/>
                </a:lnTo>
                <a:lnTo>
                  <a:pt x="4431" y="2824"/>
                </a:lnTo>
                <a:lnTo>
                  <a:pt x="4407" y="2853"/>
                </a:lnTo>
                <a:lnTo>
                  <a:pt x="4381" y="2883"/>
                </a:lnTo>
                <a:lnTo>
                  <a:pt x="4356" y="2910"/>
                </a:lnTo>
                <a:lnTo>
                  <a:pt x="4329" y="2938"/>
                </a:lnTo>
                <a:lnTo>
                  <a:pt x="4303" y="2965"/>
                </a:lnTo>
                <a:lnTo>
                  <a:pt x="4276" y="2991"/>
                </a:lnTo>
                <a:lnTo>
                  <a:pt x="4249" y="3017"/>
                </a:lnTo>
                <a:lnTo>
                  <a:pt x="4220" y="3041"/>
                </a:lnTo>
                <a:lnTo>
                  <a:pt x="4192" y="3066"/>
                </a:lnTo>
                <a:lnTo>
                  <a:pt x="4164" y="3089"/>
                </a:lnTo>
                <a:lnTo>
                  <a:pt x="4134" y="3112"/>
                </a:lnTo>
                <a:lnTo>
                  <a:pt x="4105" y="3134"/>
                </a:lnTo>
                <a:lnTo>
                  <a:pt x="4075" y="3155"/>
                </a:lnTo>
                <a:lnTo>
                  <a:pt x="4045" y="3176"/>
                </a:lnTo>
                <a:lnTo>
                  <a:pt x="4014" y="3196"/>
                </a:lnTo>
                <a:lnTo>
                  <a:pt x="3982" y="3215"/>
                </a:lnTo>
                <a:lnTo>
                  <a:pt x="3950" y="3233"/>
                </a:lnTo>
                <a:lnTo>
                  <a:pt x="3919" y="3252"/>
                </a:lnTo>
                <a:lnTo>
                  <a:pt x="3887" y="3269"/>
                </a:lnTo>
                <a:lnTo>
                  <a:pt x="3854" y="3286"/>
                </a:lnTo>
                <a:lnTo>
                  <a:pt x="3820" y="3301"/>
                </a:lnTo>
                <a:lnTo>
                  <a:pt x="3786" y="3316"/>
                </a:lnTo>
                <a:lnTo>
                  <a:pt x="3752" y="3331"/>
                </a:lnTo>
                <a:lnTo>
                  <a:pt x="3718" y="3344"/>
                </a:lnTo>
                <a:lnTo>
                  <a:pt x="3683" y="3358"/>
                </a:lnTo>
                <a:lnTo>
                  <a:pt x="3647" y="3370"/>
                </a:lnTo>
                <a:lnTo>
                  <a:pt x="3611" y="3381"/>
                </a:lnTo>
                <a:lnTo>
                  <a:pt x="3575" y="3393"/>
                </a:lnTo>
                <a:lnTo>
                  <a:pt x="3538" y="3402"/>
                </a:lnTo>
                <a:lnTo>
                  <a:pt x="3500" y="3412"/>
                </a:lnTo>
                <a:lnTo>
                  <a:pt x="3463" y="3421"/>
                </a:lnTo>
                <a:lnTo>
                  <a:pt x="3425" y="3429"/>
                </a:lnTo>
                <a:lnTo>
                  <a:pt x="3438" y="3443"/>
                </a:lnTo>
                <a:lnTo>
                  <a:pt x="3449" y="3456"/>
                </a:lnTo>
                <a:lnTo>
                  <a:pt x="3459" y="3468"/>
                </a:lnTo>
                <a:lnTo>
                  <a:pt x="3466" y="3480"/>
                </a:lnTo>
                <a:lnTo>
                  <a:pt x="3473" y="3491"/>
                </a:lnTo>
                <a:lnTo>
                  <a:pt x="3477" y="3501"/>
                </a:lnTo>
                <a:lnTo>
                  <a:pt x="3479" y="3512"/>
                </a:lnTo>
                <a:lnTo>
                  <a:pt x="3480" y="3522"/>
                </a:lnTo>
                <a:close/>
              </a:path>
            </a:pathLst>
          </a:custGeom>
          <a:solidFill>
            <a:schemeClr val="accent1"/>
          </a:solidFill>
          <a:ln w="9525">
            <a:noFill/>
            <a:round/>
            <a:headEnd/>
            <a:tailEnd/>
          </a:ln>
        </p:spPr>
        <p:txBody>
          <a:bodyPr/>
          <a:lstStyle/>
          <a:p>
            <a:pPr marL="0" marR="0" lvl="0" indent="0" algn="l" defTabSz="674255" rtl="0" eaLnBrk="1" fontAlgn="auto" latinLnBrk="0" hangingPunct="1">
              <a:lnSpc>
                <a:spcPct val="100000"/>
              </a:lnSpc>
              <a:spcBef>
                <a:spcPts val="0"/>
              </a:spcBef>
              <a:spcAft>
                <a:spcPts val="0"/>
              </a:spcAft>
              <a:buClrTx/>
              <a:buSzTx/>
              <a:buFontTx/>
              <a:buNone/>
              <a:tabLst/>
              <a:defRPr/>
            </a:pPr>
            <a:endParaRPr kumimoji="0" lang="en-GB" sz="1589"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Slide Number Placeholder 4">
            <a:extLst>
              <a:ext uri="{FF2B5EF4-FFF2-40B4-BE49-F238E27FC236}">
                <a16:creationId xmlns:a16="http://schemas.microsoft.com/office/drawing/2014/main" id="{CF8FBBEC-B02A-F7AB-D194-C008A215DB64}"/>
              </a:ext>
            </a:extLst>
          </p:cNvPr>
          <p:cNvSpPr>
            <a:spLocks noGrp="1"/>
          </p:cNvSpPr>
          <p:nvPr>
            <p:ph type="sldNum" sz="quarter" idx="12"/>
          </p:nvPr>
        </p:nvSpPr>
        <p:spPr/>
        <p:txBody>
          <a:bodyPr/>
          <a:lstStyle/>
          <a:p>
            <a:fld id="{21D51F98-DEF0-4E23-AE94-24E7CFC19B28}" type="slidenum">
              <a:rPr lang="en-US" smtClean="0"/>
              <a:t>17</a:t>
            </a:fld>
            <a:endParaRPr lang="en-US"/>
          </a:p>
        </p:txBody>
      </p:sp>
      <p:sp>
        <p:nvSpPr>
          <p:cNvPr id="10" name="Footer Placeholder 5">
            <a:extLst>
              <a:ext uri="{FF2B5EF4-FFF2-40B4-BE49-F238E27FC236}">
                <a16:creationId xmlns:a16="http://schemas.microsoft.com/office/drawing/2014/main" id="{2F42F96B-7F8D-79FE-DA91-F79D948B0AFD}"/>
              </a:ext>
            </a:extLst>
          </p:cNvPr>
          <p:cNvSpPr>
            <a:spLocks noGrp="1"/>
          </p:cNvSpPr>
          <p:nvPr>
            <p:ph type="ftr" sz="quarter" idx="11"/>
          </p:nvPr>
        </p:nvSpPr>
        <p:spPr>
          <a:xfrm>
            <a:off x="3684598" y="6459785"/>
            <a:ext cx="4822804" cy="365125"/>
          </a:xfrm>
        </p:spPr>
        <p:txBody>
          <a:bodyPr/>
          <a:lstStyle/>
          <a:p>
            <a:r>
              <a:rPr lang="en-US" dirty="0"/>
              <a:t>MAF1937 Rev E</a:t>
            </a:r>
          </a:p>
        </p:txBody>
      </p:sp>
    </p:spTree>
    <p:extLst>
      <p:ext uri="{BB962C8B-B14F-4D97-AF65-F5344CB8AC3E}">
        <p14:creationId xmlns:p14="http://schemas.microsoft.com/office/powerpoint/2010/main" val="116545901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6" imgH="396" progId="TCLayout.ActiveDocument.1">
                  <p:embed/>
                </p:oleObj>
              </mc:Choice>
              <mc:Fallback>
                <p:oleObj name="think-cell Slide" r:id="rId5" imgW="396" imgH="396"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2400" b="1" dirty="0">
              <a:latin typeface="Calibri" panose="020F0502020204030204" pitchFamily="34" charset="0"/>
              <a:ea typeface="+mj-ea"/>
              <a:cs typeface="+mj-cs"/>
              <a:sym typeface="Calibri" panose="020F0502020204030204" pitchFamily="34" charset="0"/>
            </a:endParaRPr>
          </a:p>
        </p:txBody>
      </p:sp>
      <p:sp>
        <p:nvSpPr>
          <p:cNvPr id="21" name="Title 20"/>
          <p:cNvSpPr>
            <a:spLocks noGrp="1"/>
          </p:cNvSpPr>
          <p:nvPr>
            <p:ph type="title" idx="4294967295"/>
          </p:nvPr>
        </p:nvSpPr>
        <p:spPr>
          <a:xfrm>
            <a:off x="264037" y="144847"/>
            <a:ext cx="11725039" cy="828675"/>
          </a:xfrm>
        </p:spPr>
        <p:txBody>
          <a:bodyPr>
            <a:noAutofit/>
          </a:bodyPr>
          <a:lstStyle/>
          <a:p>
            <a:r>
              <a:rPr lang="en-US" sz="2800" b="1" dirty="0">
                <a:solidFill>
                  <a:schemeClr val="accent2"/>
                </a:solidFill>
                <a:latin typeface="+mn-lt"/>
              </a:rPr>
              <a:t>Untreated CSA causes </a:t>
            </a:r>
            <a:r>
              <a:rPr lang="en-US" sz="2800" b="1" u="sng" dirty="0">
                <a:solidFill>
                  <a:schemeClr val="accent2"/>
                </a:solidFill>
                <a:latin typeface="+mn-lt"/>
              </a:rPr>
              <a:t>life altering levels of fatigue </a:t>
            </a:r>
            <a:r>
              <a:rPr lang="en-US" sz="2800" b="1" dirty="0">
                <a:solidFill>
                  <a:schemeClr val="accent2"/>
                </a:solidFill>
                <a:latin typeface="+mn-lt"/>
              </a:rPr>
              <a:t>as well as increased health risks for patients with heart failure and atrial fibrillation</a:t>
            </a:r>
          </a:p>
        </p:txBody>
      </p:sp>
      <p:pic>
        <p:nvPicPr>
          <p:cNvPr id="39" name="Picture 38"/>
          <p:cNvPicPr>
            <a:picLocks noChangeAspect="1"/>
          </p:cNvPicPr>
          <p:nvPr/>
        </p:nvPicPr>
        <p:blipFill rotWithShape="1">
          <a:blip r:embed="rId7" cstate="print">
            <a:extLst>
              <a:ext uri="{28A0092B-C50C-407E-A947-70E740481C1C}">
                <a14:useLocalDpi xmlns:a14="http://schemas.microsoft.com/office/drawing/2010/main"/>
              </a:ext>
            </a:extLst>
          </a:blip>
          <a:srcRect/>
          <a:stretch/>
        </p:blipFill>
        <p:spPr>
          <a:xfrm>
            <a:off x="264037" y="1854544"/>
            <a:ext cx="3421305" cy="2683254"/>
          </a:xfrm>
          <a:prstGeom prst="rect">
            <a:avLst/>
          </a:prstGeom>
        </p:spPr>
      </p:pic>
      <p:sp>
        <p:nvSpPr>
          <p:cNvPr id="56" name="Rectangle 55"/>
          <p:cNvSpPr/>
          <p:nvPr/>
        </p:nvSpPr>
        <p:spPr>
          <a:xfrm>
            <a:off x="6239180" y="3672518"/>
            <a:ext cx="5696027" cy="383182"/>
          </a:xfrm>
          <a:prstGeom prst="rect">
            <a:avLst/>
          </a:prstGeom>
        </p:spPr>
        <p:txBody>
          <a:bodyPr wrap="square">
            <a:spAutoFit/>
          </a:bodyPr>
          <a:lstStyle/>
          <a:p>
            <a:pPr algn="ctr">
              <a:lnSpc>
                <a:spcPct val="105000"/>
              </a:lnSpc>
              <a:spcBef>
                <a:spcPts val="1200"/>
              </a:spcBef>
              <a:buClr>
                <a:srgbClr val="003F4C"/>
              </a:buClr>
              <a:defRPr/>
            </a:pPr>
            <a:r>
              <a:rPr lang="en-US" b="1" dirty="0">
                <a:solidFill>
                  <a:schemeClr val="bg1"/>
                </a:solidFill>
              </a:rPr>
              <a:t>Untreated CSA increases health risks</a:t>
            </a:r>
          </a:p>
        </p:txBody>
      </p:sp>
      <p:sp>
        <p:nvSpPr>
          <p:cNvPr id="58" name="TextBox 57"/>
          <p:cNvSpPr txBox="1"/>
          <p:nvPr/>
        </p:nvSpPr>
        <p:spPr>
          <a:xfrm>
            <a:off x="8476928" y="2380563"/>
            <a:ext cx="3478507" cy="2785378"/>
          </a:xfrm>
          <a:prstGeom prst="rect">
            <a:avLst/>
          </a:prstGeom>
          <a:noFill/>
        </p:spPr>
        <p:txBody>
          <a:bodyPr wrap="square" rtlCol="0">
            <a:spAutoFit/>
          </a:bodyPr>
          <a:lstStyle>
            <a:defPPr>
              <a:defRPr lang="en-US"/>
            </a:defPPr>
            <a:lvl1pPr marL="285750" indent="-285750">
              <a:spcBef>
                <a:spcPts val="600"/>
              </a:spcBef>
              <a:buFont typeface="Arial" panose="020B0604020202020204" pitchFamily="34" charset="0"/>
              <a:buChar char="•"/>
              <a:defRPr sz="1600"/>
            </a:lvl1pPr>
          </a:lstStyle>
          <a:p>
            <a:pPr marL="174625" indent="-174625"/>
            <a:r>
              <a:rPr lang="en-US" sz="1800" dirty="0"/>
              <a:t>Significantly higher rates of</a:t>
            </a:r>
            <a:r>
              <a:rPr lang="en-US" sz="1800" b="1" dirty="0"/>
              <a:t> </a:t>
            </a:r>
            <a:r>
              <a:rPr lang="en-US" sz="1800" dirty="0"/>
              <a:t>heart failure and atrial fibrillation</a:t>
            </a:r>
            <a:r>
              <a:rPr lang="en-US" sz="1800" baseline="30000" dirty="0"/>
              <a:t>1,6</a:t>
            </a:r>
            <a:endParaRPr lang="en-US" sz="1800" dirty="0"/>
          </a:p>
          <a:p>
            <a:pPr marL="174625" indent="-174625"/>
            <a:r>
              <a:rPr lang="en-US" sz="2000" b="1" dirty="0"/>
              <a:t>2x</a:t>
            </a:r>
            <a:r>
              <a:rPr lang="en-US" sz="1800" dirty="0"/>
              <a:t> more likely to have a HF-related readmission within 6 months</a:t>
            </a:r>
            <a:r>
              <a:rPr lang="en-US" sz="1800" baseline="30000" dirty="0"/>
              <a:t>7</a:t>
            </a:r>
          </a:p>
          <a:p>
            <a:pPr marL="174625" indent="-174625"/>
            <a:r>
              <a:rPr lang="en-US" sz="2000" b="1" dirty="0"/>
              <a:t>2x</a:t>
            </a:r>
            <a:r>
              <a:rPr lang="en-US" sz="1800" dirty="0"/>
              <a:t> the mortality rate in HF patients</a:t>
            </a:r>
            <a:r>
              <a:rPr lang="en-US" sz="1800" baseline="30000" dirty="0"/>
              <a:t>8</a:t>
            </a:r>
          </a:p>
          <a:p>
            <a:pPr marL="0" indent="0">
              <a:buNone/>
            </a:pPr>
            <a:endParaRPr lang="en-US" sz="1800" baseline="30000" dirty="0"/>
          </a:p>
        </p:txBody>
      </p:sp>
      <p:sp>
        <p:nvSpPr>
          <p:cNvPr id="6" name="Rectangle 5"/>
          <p:cNvSpPr/>
          <p:nvPr/>
        </p:nvSpPr>
        <p:spPr>
          <a:xfrm>
            <a:off x="397217" y="1095968"/>
            <a:ext cx="3827900" cy="738664"/>
          </a:xfrm>
          <a:prstGeom prst="rect">
            <a:avLst/>
          </a:prstGeom>
        </p:spPr>
        <p:txBody>
          <a:bodyPr wrap="square">
            <a:spAutoFit/>
          </a:bodyPr>
          <a:lstStyle/>
          <a:p>
            <a:pPr>
              <a:lnSpc>
                <a:spcPct val="105000"/>
              </a:lnSpc>
              <a:spcBef>
                <a:spcPts val="1200"/>
              </a:spcBef>
              <a:buClr>
                <a:srgbClr val="003F4C"/>
              </a:buClr>
              <a:defRPr/>
            </a:pPr>
            <a:r>
              <a:rPr lang="en-US" sz="2000" b="1" dirty="0"/>
              <a:t>CSA is due to a loss of neural drive to breathe during sleep</a:t>
            </a:r>
            <a:r>
              <a:rPr lang="en-US" sz="2000" b="1" baseline="30000" dirty="0"/>
              <a:t>1</a:t>
            </a:r>
          </a:p>
        </p:txBody>
      </p:sp>
      <p:sp>
        <p:nvSpPr>
          <p:cNvPr id="9" name="Rectangle 8"/>
          <p:cNvSpPr/>
          <p:nvPr/>
        </p:nvSpPr>
        <p:spPr>
          <a:xfrm>
            <a:off x="8476927" y="1095968"/>
            <a:ext cx="3612153" cy="1048749"/>
          </a:xfrm>
          <a:prstGeom prst="rect">
            <a:avLst/>
          </a:prstGeom>
        </p:spPr>
        <p:txBody>
          <a:bodyPr wrap="square">
            <a:spAutoFit/>
          </a:bodyPr>
          <a:lstStyle/>
          <a:p>
            <a:pPr>
              <a:lnSpc>
                <a:spcPct val="105000"/>
              </a:lnSpc>
              <a:spcBef>
                <a:spcPts val="1200"/>
              </a:spcBef>
              <a:buClr>
                <a:srgbClr val="003F4C"/>
              </a:buClr>
              <a:defRPr/>
            </a:pPr>
            <a:r>
              <a:rPr lang="en-US" sz="2000" b="1" dirty="0"/>
              <a:t>Untreated CSA significantly increases health risks for these patients</a:t>
            </a:r>
          </a:p>
        </p:txBody>
      </p:sp>
      <p:sp>
        <p:nvSpPr>
          <p:cNvPr id="25" name="Rounded Rectangle 24"/>
          <p:cNvSpPr/>
          <p:nvPr/>
        </p:nvSpPr>
        <p:spPr>
          <a:xfrm>
            <a:off x="409592" y="5205765"/>
            <a:ext cx="11269532" cy="632333"/>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solidFill>
                  <a:schemeClr val="bg1"/>
                </a:solidFill>
              </a:rPr>
              <a:t>CSA patients often go untreated due to few scientifically proven, FDA-approved therapeutic options</a:t>
            </a:r>
          </a:p>
        </p:txBody>
      </p:sp>
      <p:sp>
        <p:nvSpPr>
          <p:cNvPr id="10" name="Right Arrow 9"/>
          <p:cNvSpPr/>
          <p:nvPr/>
        </p:nvSpPr>
        <p:spPr>
          <a:xfrm>
            <a:off x="3838817" y="2980634"/>
            <a:ext cx="496388" cy="43107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p:nvSpPr>
        <p:spPr>
          <a:xfrm>
            <a:off x="209567" y="4477829"/>
            <a:ext cx="4101888" cy="738664"/>
          </a:xfrm>
          <a:prstGeom prst="rect">
            <a:avLst/>
          </a:prstGeom>
        </p:spPr>
        <p:txBody>
          <a:bodyPr wrap="square">
            <a:spAutoFit/>
          </a:bodyPr>
          <a:lstStyle/>
          <a:p>
            <a:pPr algn="ctr"/>
            <a:r>
              <a:rPr lang="en-US" sz="1400" dirty="0">
                <a:ea typeface="Calibri" panose="020F0502020204030204" pitchFamily="34" charset="0"/>
                <a:cs typeface="Arial" panose="020B0604020202020204" pitchFamily="34" charset="0"/>
              </a:rPr>
              <a:t>CSA patients undergo </a:t>
            </a:r>
            <a:r>
              <a:rPr lang="en-US" sz="1400" b="1" u="sng" dirty="0">
                <a:ea typeface="Calibri" panose="020F0502020204030204" pitchFamily="34" charset="0"/>
                <a:cs typeface="Arial" panose="020B0604020202020204" pitchFamily="34" charset="0"/>
              </a:rPr>
              <a:t>hundreds</a:t>
            </a:r>
            <a:r>
              <a:rPr lang="en-US" sz="1400" dirty="0">
                <a:ea typeface="Calibri" panose="020F0502020204030204" pitchFamily="34" charset="0"/>
                <a:cs typeface="Arial" panose="020B0604020202020204" pitchFamily="34" charset="0"/>
              </a:rPr>
              <a:t> of repeated cycles of oxygen desaturation, arousals and surges in sympathetic drive</a:t>
            </a:r>
            <a:endParaRPr lang="en-US" sz="1400" dirty="0"/>
          </a:p>
        </p:txBody>
      </p:sp>
      <p:sp>
        <p:nvSpPr>
          <p:cNvPr id="28" name="Right Arrow 27"/>
          <p:cNvSpPr/>
          <p:nvPr/>
        </p:nvSpPr>
        <p:spPr>
          <a:xfrm>
            <a:off x="7843671" y="2980634"/>
            <a:ext cx="496388" cy="43107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TextBox 18">
            <a:extLst>
              <a:ext uri="{FF2B5EF4-FFF2-40B4-BE49-F238E27FC236}">
                <a16:creationId xmlns:a16="http://schemas.microsoft.com/office/drawing/2014/main" id="{A415576A-5354-4E8E-BA24-5DF48417FB44}"/>
              </a:ext>
            </a:extLst>
          </p:cNvPr>
          <p:cNvSpPr txBox="1"/>
          <p:nvPr/>
        </p:nvSpPr>
        <p:spPr>
          <a:xfrm>
            <a:off x="4397140" y="2466138"/>
            <a:ext cx="3294438" cy="1785104"/>
          </a:xfrm>
          <a:prstGeom prst="rect">
            <a:avLst/>
          </a:prstGeom>
          <a:noFill/>
          <a:ln w="57150">
            <a:solidFill>
              <a:schemeClr val="accent1"/>
            </a:solidFill>
          </a:ln>
        </p:spPr>
        <p:txBody>
          <a:bodyPr wrap="square" rtlCol="0">
            <a:spAutoFit/>
          </a:bodyPr>
          <a:lstStyle/>
          <a:p>
            <a:pPr marL="285750" indent="-285750">
              <a:spcBef>
                <a:spcPts val="600"/>
              </a:spcBef>
              <a:buFont typeface="Arial" panose="020B0604020202020204" pitchFamily="34" charset="0"/>
              <a:buChar char="•"/>
              <a:defRPr/>
            </a:pPr>
            <a:r>
              <a:rPr lang="en-US" dirty="0">
                <a:solidFill>
                  <a:srgbClr val="33363E"/>
                </a:solidFill>
              </a:rPr>
              <a:t>Severe fatigue</a:t>
            </a: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33363E"/>
                </a:solidFill>
                <a:effectLst/>
                <a:uLnTx/>
                <a:uFillTx/>
                <a:latin typeface="Calibri" panose="020F0502020204030204"/>
                <a:ea typeface="+mn-ea"/>
                <a:cs typeface="+mn-cs"/>
              </a:rPr>
              <a:t>Excessive daytime sleepiness</a:t>
            </a: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33363E"/>
                </a:solidFill>
                <a:effectLst/>
                <a:uLnTx/>
                <a:uFillTx/>
                <a:latin typeface="Calibri" panose="020F0502020204030204"/>
                <a:ea typeface="+mn-ea"/>
                <a:cs typeface="+mn-cs"/>
              </a:rPr>
              <a:t>Cognitive impairment</a:t>
            </a: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33363E"/>
                </a:solidFill>
                <a:effectLst/>
                <a:uLnTx/>
                <a:uFillTx/>
                <a:latin typeface="Calibri" panose="020F0502020204030204"/>
                <a:ea typeface="+mn-ea"/>
                <a:cs typeface="+mn-cs"/>
              </a:rPr>
              <a:t>Depression</a:t>
            </a: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33363E"/>
                </a:solidFill>
                <a:effectLst/>
                <a:uLnTx/>
                <a:uFillTx/>
                <a:latin typeface="Calibri" panose="020F0502020204030204"/>
                <a:ea typeface="+mn-ea"/>
                <a:cs typeface="+mn-cs"/>
              </a:rPr>
              <a:t>Memory deficits </a:t>
            </a:r>
          </a:p>
        </p:txBody>
      </p:sp>
      <p:sp>
        <p:nvSpPr>
          <p:cNvPr id="20" name="Rectangle 19">
            <a:extLst>
              <a:ext uri="{FF2B5EF4-FFF2-40B4-BE49-F238E27FC236}">
                <a16:creationId xmlns:a16="http://schemas.microsoft.com/office/drawing/2014/main" id="{524D074B-A214-4208-B91F-49A67A5BAEAB}"/>
              </a:ext>
            </a:extLst>
          </p:cNvPr>
          <p:cNvSpPr/>
          <p:nvPr/>
        </p:nvSpPr>
        <p:spPr>
          <a:xfrm>
            <a:off x="4333705" y="1146128"/>
            <a:ext cx="3421305" cy="1061829"/>
          </a:xfrm>
          <a:prstGeom prst="rect">
            <a:avLst/>
          </a:prstGeom>
          <a:ln>
            <a:noFill/>
          </a:ln>
          <a:effectLst/>
          <a:scene3d>
            <a:camera prst="orthographicFront">
              <a:rot lat="0" lon="0" rev="0"/>
            </a:camera>
            <a:lightRig rig="chilly" dir="t">
              <a:rot lat="0" lon="0" rev="18480000"/>
            </a:lightRig>
          </a:scene3d>
          <a:sp3d prstMaterial="clear">
            <a:bevelT h="63500"/>
          </a:sp3d>
        </p:spPr>
        <p:txBody>
          <a:bodyPr wrap="square">
            <a:spAutoFit/>
          </a:bodyPr>
          <a:lstStyle/>
          <a:p>
            <a:pPr marL="0" marR="0" lvl="0" indent="0" algn="l" defTabSz="914400" rtl="0" eaLnBrk="1" fontAlgn="auto" latinLnBrk="0" hangingPunct="1">
              <a:lnSpc>
                <a:spcPct val="105000"/>
              </a:lnSpc>
              <a:spcBef>
                <a:spcPts val="1200"/>
              </a:spcBef>
              <a:spcAft>
                <a:spcPts val="0"/>
              </a:spcAft>
              <a:buClr>
                <a:srgbClr val="003F4C"/>
              </a:buClr>
              <a:buSzTx/>
              <a:buFontTx/>
              <a:buNone/>
              <a:tabLst/>
              <a:defRPr/>
            </a:pPr>
            <a:r>
              <a:rPr kumimoji="0" lang="en-US" sz="2000" b="1" i="0" u="none" strike="noStrike" kern="1200" cap="none" spc="0" normalizeH="0" baseline="0" noProof="0" dirty="0">
                <a:ln>
                  <a:noFill/>
                </a:ln>
                <a:solidFill>
                  <a:srgbClr val="33363E"/>
                </a:solidFill>
                <a:effectLst/>
                <a:uLnTx/>
                <a:uFillTx/>
                <a:latin typeface="Calibri" panose="020F0502020204030204"/>
                <a:ea typeface="+mn-ea"/>
                <a:cs typeface="+mn-cs"/>
              </a:rPr>
              <a:t>Nighttime sleep disruptions significantly diminish quality of life</a:t>
            </a:r>
            <a:r>
              <a:rPr kumimoji="0" lang="en-US" sz="2000" b="1" i="0" u="none" strike="noStrike" kern="1200" cap="none" spc="0" normalizeH="0" baseline="30000" noProof="0" dirty="0">
                <a:ln>
                  <a:noFill/>
                </a:ln>
                <a:solidFill>
                  <a:srgbClr val="33363E"/>
                </a:solidFill>
                <a:effectLst/>
                <a:uLnTx/>
                <a:uFillTx/>
                <a:latin typeface="Calibri" panose="020F0502020204030204"/>
                <a:ea typeface="+mn-ea"/>
                <a:cs typeface="+mn-cs"/>
              </a:rPr>
              <a:t>2,3,4,5</a:t>
            </a:r>
          </a:p>
        </p:txBody>
      </p:sp>
      <p:sp>
        <p:nvSpPr>
          <p:cNvPr id="26" name="Rectangle 25">
            <a:extLst>
              <a:ext uri="{FF2B5EF4-FFF2-40B4-BE49-F238E27FC236}">
                <a16:creationId xmlns:a16="http://schemas.microsoft.com/office/drawing/2014/main" id="{F0A8AFA2-CB5A-4751-8B0F-C934551B7642}"/>
              </a:ext>
            </a:extLst>
          </p:cNvPr>
          <p:cNvSpPr/>
          <p:nvPr/>
        </p:nvSpPr>
        <p:spPr>
          <a:xfrm>
            <a:off x="123883" y="5787317"/>
            <a:ext cx="4273257" cy="635785"/>
          </a:xfrm>
          <a:prstGeom prst="rect">
            <a:avLst/>
          </a:prstGeom>
        </p:spPr>
        <p:txBody>
          <a:bodyPr vert="horz" lIns="91440" tIns="45720" rIns="91440" bIns="45720" rtlCol="0" anchor="ctr"/>
          <a:lstStyle/>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kumimoji="0" lang="en-US" sz="800" b="0" i="0" u="none" strike="noStrike" kern="1200" cap="none" spc="0" normalizeH="0" baseline="0" noProof="0" dirty="0" err="1">
                <a:ln>
                  <a:noFill/>
                </a:ln>
                <a:solidFill>
                  <a:srgbClr val="33363E"/>
                </a:solidFill>
                <a:effectLst/>
                <a:uLnTx/>
                <a:uFillTx/>
                <a:latin typeface="Calibri" panose="020F0502020204030204"/>
                <a:ea typeface="+mn-ea"/>
                <a:cs typeface="+mn-cs"/>
              </a:rPr>
              <a:t>Bekfani</a:t>
            </a:r>
            <a:r>
              <a:rPr kumimoji="0" lang="en-US" sz="800" b="0" i="0" u="none" strike="noStrike" kern="1200" cap="none" spc="0" normalizeH="0" baseline="0" noProof="0" dirty="0">
                <a:ln>
                  <a:noFill/>
                </a:ln>
                <a:solidFill>
                  <a:srgbClr val="33363E"/>
                </a:solidFill>
                <a:effectLst/>
                <a:uLnTx/>
                <a:uFillTx/>
                <a:latin typeface="Calibri" panose="020F0502020204030204"/>
                <a:ea typeface="+mn-ea"/>
                <a:cs typeface="+mn-cs"/>
              </a:rPr>
              <a:t> and Abraham, </a:t>
            </a:r>
            <a:r>
              <a:rPr kumimoji="0" lang="en-US" sz="800" b="0" i="0" u="none" strike="noStrike" kern="1200" cap="none" spc="0" normalizeH="0" baseline="0" noProof="0" dirty="0" err="1">
                <a:ln>
                  <a:noFill/>
                </a:ln>
                <a:solidFill>
                  <a:srgbClr val="33363E"/>
                </a:solidFill>
                <a:effectLst/>
                <a:uLnTx/>
                <a:uFillTx/>
                <a:latin typeface="Calibri" panose="020F0502020204030204"/>
                <a:ea typeface="+mn-ea"/>
                <a:cs typeface="+mn-cs"/>
              </a:rPr>
              <a:t>Europace</a:t>
            </a:r>
            <a:r>
              <a:rPr kumimoji="0" lang="en-US" sz="800" b="0" i="0" u="none" strike="noStrike" kern="1200" cap="none" spc="0" normalizeH="0" baseline="0" noProof="0" dirty="0">
                <a:ln>
                  <a:noFill/>
                </a:ln>
                <a:solidFill>
                  <a:srgbClr val="33363E"/>
                </a:solidFill>
                <a:effectLst/>
                <a:uLnTx/>
                <a:uFillTx/>
                <a:latin typeface="Calibri" panose="020F0502020204030204"/>
                <a:ea typeface="+mn-ea"/>
                <a:cs typeface="+mn-cs"/>
              </a:rPr>
              <a:t> 2016; 18:1123-24 </a:t>
            </a:r>
          </a:p>
          <a:p>
            <a:pPr marL="228600" indent="-228600">
              <a:buFontTx/>
              <a:buAutoNum type="arabicPeriod"/>
              <a:defRPr/>
            </a:pPr>
            <a:r>
              <a:rPr kumimoji="0" lang="en-US" sz="800" b="0" i="0" u="none" strike="noStrike" kern="1200" cap="none" spc="0" normalizeH="0" baseline="0" noProof="0" dirty="0">
                <a:ln>
                  <a:noFill/>
                </a:ln>
                <a:solidFill>
                  <a:srgbClr val="33363E"/>
                </a:solidFill>
                <a:effectLst/>
                <a:uLnTx/>
                <a:uFillTx/>
                <a:latin typeface="Calibri" panose="020F0502020204030204"/>
                <a:ea typeface="+mn-ea"/>
                <a:cs typeface="+mn-cs"/>
              </a:rPr>
              <a:t>Dempsey JA. Exp </a:t>
            </a:r>
            <a:r>
              <a:rPr kumimoji="0" lang="en-US" sz="800" b="0" i="0" u="none" strike="noStrike" kern="1200" cap="none" spc="0" normalizeH="0" baseline="0" noProof="0" dirty="0" err="1">
                <a:ln>
                  <a:noFill/>
                </a:ln>
                <a:solidFill>
                  <a:srgbClr val="33363E"/>
                </a:solidFill>
                <a:effectLst/>
                <a:uLnTx/>
                <a:uFillTx/>
                <a:latin typeface="Calibri" panose="020F0502020204030204"/>
                <a:ea typeface="+mn-ea"/>
                <a:cs typeface="+mn-cs"/>
              </a:rPr>
              <a:t>Physiol</a:t>
            </a:r>
            <a:r>
              <a:rPr kumimoji="0" lang="en-US" sz="800" b="0" i="0" u="none" strike="noStrike" kern="1200" cap="none" spc="0" normalizeH="0" baseline="0" noProof="0" dirty="0">
                <a:ln>
                  <a:noFill/>
                </a:ln>
                <a:solidFill>
                  <a:srgbClr val="33363E"/>
                </a:solidFill>
                <a:effectLst/>
                <a:uLnTx/>
                <a:uFillTx/>
                <a:latin typeface="Calibri" panose="020F0502020204030204"/>
                <a:ea typeface="+mn-ea"/>
                <a:cs typeface="+mn-cs"/>
              </a:rPr>
              <a:t> </a:t>
            </a:r>
            <a:r>
              <a:rPr lang="en-US" sz="800" dirty="0">
                <a:solidFill>
                  <a:srgbClr val="33363E"/>
                </a:solidFill>
              </a:rPr>
              <a:t>2005; </a:t>
            </a:r>
            <a:r>
              <a:rPr kumimoji="0" lang="en-US" sz="800" b="0" i="0" u="none" strike="noStrike" kern="1200" cap="none" spc="0" normalizeH="0" baseline="0" noProof="0" dirty="0">
                <a:ln>
                  <a:noFill/>
                </a:ln>
                <a:solidFill>
                  <a:srgbClr val="33363E"/>
                </a:solidFill>
                <a:effectLst/>
                <a:uLnTx/>
                <a:uFillTx/>
                <a:latin typeface="Calibri" panose="020F0502020204030204"/>
                <a:ea typeface="+mn-ea"/>
                <a:cs typeface="+mn-cs"/>
              </a:rPr>
              <a:t>90: 13–24, </a:t>
            </a:r>
          </a:p>
          <a:p>
            <a:pPr marL="228600" indent="-228600">
              <a:buFontTx/>
              <a:buAutoNum type="arabicPeriod"/>
              <a:defRPr/>
            </a:pPr>
            <a:r>
              <a:rPr kumimoji="0" lang="en-US" sz="800" b="0" i="0" u="none" strike="noStrike" kern="1200" cap="none" spc="0" normalizeH="0" baseline="0" noProof="0" dirty="0" err="1">
                <a:ln>
                  <a:noFill/>
                </a:ln>
                <a:solidFill>
                  <a:srgbClr val="33363E"/>
                </a:solidFill>
                <a:effectLst/>
                <a:uLnTx/>
                <a:uFillTx/>
                <a:latin typeface="Calibri" panose="020F0502020204030204"/>
                <a:ea typeface="+mn-ea"/>
                <a:cs typeface="+mn-cs"/>
              </a:rPr>
              <a:t>Javaheri</a:t>
            </a:r>
            <a:r>
              <a:rPr kumimoji="0" lang="en-US" sz="800" b="0" i="0" u="none" strike="noStrike" kern="1200" cap="none" spc="0" normalizeH="0" baseline="0" noProof="0" dirty="0">
                <a:ln>
                  <a:noFill/>
                </a:ln>
                <a:solidFill>
                  <a:srgbClr val="33363E"/>
                </a:solidFill>
                <a:effectLst/>
                <a:uLnTx/>
                <a:uFillTx/>
                <a:latin typeface="Calibri" panose="020F0502020204030204"/>
                <a:ea typeface="+mn-ea"/>
                <a:cs typeface="+mn-cs"/>
              </a:rPr>
              <a:t> S., Dempsey J.A. </a:t>
            </a:r>
            <a:r>
              <a:rPr kumimoji="0" lang="en-US" sz="800" b="0" i="0" u="none" strike="noStrike" kern="1200" cap="none" spc="0" normalizeH="0" baseline="0" noProof="0" dirty="0" err="1">
                <a:ln>
                  <a:noFill/>
                </a:ln>
                <a:solidFill>
                  <a:srgbClr val="33363E"/>
                </a:solidFill>
                <a:effectLst/>
                <a:uLnTx/>
                <a:uFillTx/>
                <a:latin typeface="Calibri" panose="020F0502020204030204"/>
                <a:ea typeface="+mn-ea"/>
                <a:cs typeface="+mn-cs"/>
              </a:rPr>
              <a:t>Compr</a:t>
            </a:r>
            <a:r>
              <a:rPr kumimoji="0" lang="en-US" sz="800" b="0" i="0" u="none" strike="noStrike" kern="1200" cap="none" spc="0" normalizeH="0" baseline="0" noProof="0" dirty="0">
                <a:ln>
                  <a:noFill/>
                </a:ln>
                <a:solidFill>
                  <a:srgbClr val="33363E"/>
                </a:solidFill>
                <a:effectLst/>
                <a:uLnTx/>
                <a:uFillTx/>
                <a:latin typeface="Calibri" panose="020F0502020204030204"/>
                <a:ea typeface="+mn-ea"/>
                <a:cs typeface="+mn-cs"/>
              </a:rPr>
              <a:t> Physiol. 2013; 3:141–163 </a:t>
            </a:r>
          </a:p>
          <a:p>
            <a:pPr marL="228600" indent="-228600">
              <a:buFontTx/>
              <a:buAutoNum type="arabicPeriod"/>
              <a:defRPr/>
            </a:pPr>
            <a:r>
              <a:rPr kumimoji="0" lang="en-US" sz="800" b="0" i="0" u="none" strike="noStrike" kern="1200" cap="none" spc="0" normalizeH="0" baseline="0" noProof="0" dirty="0">
                <a:ln>
                  <a:noFill/>
                </a:ln>
                <a:solidFill>
                  <a:srgbClr val="33363E"/>
                </a:solidFill>
                <a:effectLst/>
                <a:uLnTx/>
                <a:uFillTx/>
                <a:latin typeface="Arial" panose="020B0604020202020204" pitchFamily="34" charset="0"/>
                <a:ea typeface="Times New Roman" panose="02020603050405020304" pitchFamily="18" charset="0"/>
                <a:cs typeface="+mn-cs"/>
              </a:rPr>
              <a:t>Brenner, S., et al. Trends Cardiovasc. Med. 2008; 18, 240–247. </a:t>
            </a:r>
            <a:endParaRPr lang="en-US" sz="800" dirty="0">
              <a:solidFill>
                <a:srgbClr val="33363E"/>
              </a:solidFill>
              <a:latin typeface="Arial" panose="020B0604020202020204" pitchFamily="34" charset="0"/>
              <a:ea typeface="Times New Roman" panose="02020603050405020304" pitchFamily="18" charset="0"/>
            </a:endParaRPr>
          </a:p>
        </p:txBody>
      </p:sp>
      <p:sp>
        <p:nvSpPr>
          <p:cNvPr id="27" name="TextBox 26">
            <a:extLst>
              <a:ext uri="{FF2B5EF4-FFF2-40B4-BE49-F238E27FC236}">
                <a16:creationId xmlns:a16="http://schemas.microsoft.com/office/drawing/2014/main" id="{A6E768D3-51A3-4715-9190-CF97964E921C}"/>
              </a:ext>
            </a:extLst>
          </p:cNvPr>
          <p:cNvSpPr txBox="1"/>
          <p:nvPr/>
        </p:nvSpPr>
        <p:spPr>
          <a:xfrm>
            <a:off x="8476927" y="5787546"/>
            <a:ext cx="4273257" cy="584775"/>
          </a:xfrm>
          <a:prstGeom prst="rect">
            <a:avLst/>
          </a:prstGeom>
          <a:noFill/>
        </p:spPr>
        <p:txBody>
          <a:bodyPr wrap="square" rtlCol="0">
            <a:spAutoFit/>
          </a:bodyPr>
          <a:lstStyle/>
          <a:p>
            <a:pPr marL="228600" indent="-228600">
              <a:buFont typeface="+mj-lt"/>
              <a:buAutoNum type="arabicPeriod" startAt="5"/>
              <a:defRPr/>
            </a:pPr>
            <a:r>
              <a:rPr lang="en-US" sz="800" dirty="0" err="1">
                <a:solidFill>
                  <a:srgbClr val="33363E"/>
                </a:solidFill>
                <a:ea typeface="Times New Roman" panose="02020603050405020304" pitchFamily="18" charset="0"/>
              </a:rPr>
              <a:t>Flemons</a:t>
            </a:r>
            <a:r>
              <a:rPr lang="en-US" sz="800" dirty="0">
                <a:solidFill>
                  <a:srgbClr val="33363E"/>
                </a:solidFill>
                <a:ea typeface="Times New Roman" panose="02020603050405020304" pitchFamily="18" charset="0"/>
              </a:rPr>
              <a:t> WW, Tsai W. J Allergy Clin Immunol 1997; 99:S750-S756</a:t>
            </a:r>
          </a:p>
          <a:p>
            <a:pPr marL="228600" indent="-228600">
              <a:buFontTx/>
              <a:buAutoNum type="arabicPeriod" startAt="5"/>
              <a:defRPr/>
            </a:pPr>
            <a:r>
              <a:rPr lang="en-US" sz="800" dirty="0">
                <a:solidFill>
                  <a:srgbClr val="33363E"/>
                </a:solidFill>
              </a:rPr>
              <a:t>Tung et al. J Am Heart Assoc. 2017;  </a:t>
            </a:r>
            <a:r>
              <a:rPr lang="pt-BR" sz="800" dirty="0">
                <a:solidFill>
                  <a:srgbClr val="33363E"/>
                </a:solidFill>
              </a:rPr>
              <a:t>e004500. DOI: 10.1161/JAHA.116.004500.</a:t>
            </a:r>
          </a:p>
          <a:p>
            <a:pPr marL="228600" indent="-228600">
              <a:buFontTx/>
              <a:buAutoNum type="arabicPeriod" startAt="5"/>
              <a:defRPr/>
            </a:pPr>
            <a:r>
              <a:rPr lang="en-US" sz="800" dirty="0">
                <a:solidFill>
                  <a:srgbClr val="33363E"/>
                </a:solidFill>
              </a:rPr>
              <a:t>Khayat et al.  J Card Fail 2012; 18:534-540. </a:t>
            </a:r>
          </a:p>
          <a:p>
            <a:pPr marL="228600" indent="-228600">
              <a:buFontTx/>
              <a:buAutoNum type="arabicPeriod" startAt="5"/>
              <a:defRPr/>
            </a:pPr>
            <a:r>
              <a:rPr lang="en-US" sz="800" dirty="0">
                <a:solidFill>
                  <a:srgbClr val="33363E"/>
                </a:solidFill>
              </a:rPr>
              <a:t>Khayat et al.  Eur Heart J 2015; 23:1463-1469. </a:t>
            </a:r>
            <a:endParaRPr lang="en-US" dirty="0"/>
          </a:p>
        </p:txBody>
      </p:sp>
      <p:sp>
        <p:nvSpPr>
          <p:cNvPr id="5" name="Slide Number Placeholder 4">
            <a:extLst>
              <a:ext uri="{FF2B5EF4-FFF2-40B4-BE49-F238E27FC236}">
                <a16:creationId xmlns:a16="http://schemas.microsoft.com/office/drawing/2014/main" id="{525C1DA9-E1CB-7AFA-D787-79C3AB76621B}"/>
              </a:ext>
            </a:extLst>
          </p:cNvPr>
          <p:cNvSpPr>
            <a:spLocks noGrp="1"/>
          </p:cNvSpPr>
          <p:nvPr>
            <p:ph type="sldNum" sz="quarter" idx="12"/>
          </p:nvPr>
        </p:nvSpPr>
        <p:spPr/>
        <p:txBody>
          <a:bodyPr/>
          <a:lstStyle/>
          <a:p>
            <a:fld id="{21D51F98-DEF0-4E23-AE94-24E7CFC19B28}" type="slidenum">
              <a:rPr lang="en-US" smtClean="0"/>
              <a:t>18</a:t>
            </a:fld>
            <a:endParaRPr lang="en-US"/>
          </a:p>
        </p:txBody>
      </p:sp>
      <p:sp>
        <p:nvSpPr>
          <p:cNvPr id="8" name="Footer Placeholder 5">
            <a:extLst>
              <a:ext uri="{FF2B5EF4-FFF2-40B4-BE49-F238E27FC236}">
                <a16:creationId xmlns:a16="http://schemas.microsoft.com/office/drawing/2014/main" id="{959C6D2E-D695-936B-65A0-5773736914EA}"/>
              </a:ext>
            </a:extLst>
          </p:cNvPr>
          <p:cNvSpPr>
            <a:spLocks noGrp="1"/>
          </p:cNvSpPr>
          <p:nvPr>
            <p:ph type="ftr" sz="quarter" idx="11"/>
          </p:nvPr>
        </p:nvSpPr>
        <p:spPr>
          <a:xfrm>
            <a:off x="3684598" y="6459785"/>
            <a:ext cx="4822804" cy="365125"/>
          </a:xfrm>
        </p:spPr>
        <p:txBody>
          <a:bodyPr/>
          <a:lstStyle/>
          <a:p>
            <a:r>
              <a:rPr lang="en-US" dirty="0"/>
              <a:t>MAF1937 Rev E</a:t>
            </a:r>
          </a:p>
        </p:txBody>
      </p:sp>
    </p:spTree>
    <p:extLst>
      <p:ext uri="{BB962C8B-B14F-4D97-AF65-F5344CB8AC3E}">
        <p14:creationId xmlns:p14="http://schemas.microsoft.com/office/powerpoint/2010/main" val="423665575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9"/>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1"/>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0"/>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20"/>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9"/>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28"/>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9"/>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58"/>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2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8" grpId="0"/>
      <p:bldP spid="6" grpId="0"/>
      <p:bldP spid="9" grpId="0"/>
      <p:bldP spid="25" grpId="0" animBg="1"/>
      <p:bldP spid="10" grpId="0" animBg="1"/>
      <p:bldP spid="11" grpId="0"/>
      <p:bldP spid="28" grpId="0" animBg="1"/>
      <p:bldP spid="19" grpId="0" animBg="1"/>
      <p:bldP spid="20"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6" imgH="396" progId="TCLayout.ActiveDocument.1">
                  <p:embed/>
                </p:oleObj>
              </mc:Choice>
              <mc:Fallback>
                <p:oleObj name="think-cell Slide" r:id="rId4" imgW="396" imgH="39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14400" rtl="0" eaLnBrk="1" fontAlgn="auto" latinLnBrk="0" hangingPunct="1">
              <a:lnSpc>
                <a:spcPct val="90000"/>
              </a:lnSpc>
              <a:spcBef>
                <a:spcPct val="0"/>
              </a:spcBef>
              <a:spcAft>
                <a:spcPct val="0"/>
              </a:spcAft>
              <a:buClrTx/>
              <a:buSzTx/>
              <a:buFontTx/>
              <a:buNone/>
              <a:tabLst/>
              <a:defRPr/>
            </a:pPr>
            <a:endParaRPr kumimoji="0" lang="en-US" sz="2400" b="1" i="0" u="none" strike="noStrike" kern="1200" cap="none" spc="0" normalizeH="0" baseline="0" noProof="0" dirty="0">
              <a:ln>
                <a:noFill/>
              </a:ln>
              <a:solidFill>
                <a:srgbClr val="FFFFFF"/>
              </a:solidFill>
              <a:effectLst/>
              <a:uLnTx/>
              <a:uFillTx/>
              <a:latin typeface="Calibri" panose="020F0502020204030204" pitchFamily="34" charset="0"/>
              <a:ea typeface="+mn-ea"/>
              <a:cs typeface="+mn-cs"/>
              <a:sym typeface="Calibri" panose="020F0502020204030204" pitchFamily="34" charset="0"/>
            </a:endParaRPr>
          </a:p>
        </p:txBody>
      </p:sp>
      <p:sp>
        <p:nvSpPr>
          <p:cNvPr id="21" name="Title 20"/>
          <p:cNvSpPr>
            <a:spLocks noGrp="1"/>
          </p:cNvSpPr>
          <p:nvPr>
            <p:ph type="title" idx="4294967295"/>
          </p:nvPr>
        </p:nvSpPr>
        <p:spPr>
          <a:xfrm>
            <a:off x="404413" y="224838"/>
            <a:ext cx="11618912" cy="582613"/>
          </a:xfrm>
        </p:spPr>
        <p:txBody>
          <a:bodyPr>
            <a:normAutofit/>
          </a:bodyPr>
          <a:lstStyle/>
          <a:p>
            <a:r>
              <a:rPr lang="en-US" sz="3200" b="1" dirty="0">
                <a:solidFill>
                  <a:schemeClr val="accent2"/>
                </a:solidFill>
                <a:latin typeface="+mn-lt"/>
              </a:rPr>
              <a:t>Sleep Disordered Breathing is a Predictor of Mortality in HF Patients</a:t>
            </a:r>
          </a:p>
        </p:txBody>
      </p:sp>
      <p:sp>
        <p:nvSpPr>
          <p:cNvPr id="37" name="TextBox 36"/>
          <p:cNvSpPr txBox="1"/>
          <p:nvPr/>
        </p:nvSpPr>
        <p:spPr>
          <a:xfrm>
            <a:off x="2488837" y="1064140"/>
            <a:ext cx="6995414" cy="58477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33363E"/>
                </a:solidFill>
                <a:effectLst/>
                <a:uLnTx/>
                <a:uFillTx/>
                <a:latin typeface="Calibri" panose="020F0502020204030204"/>
                <a:ea typeface="+mn-ea"/>
                <a:cs typeface="+mn-cs"/>
              </a:rPr>
              <a:t>Survival – Heart failure (LVEF&lt; 45%) with CSA patients vs. heart failure with normal breathing in NIH sponsored study</a:t>
            </a:r>
            <a:endParaRPr kumimoji="0" lang="en-US" sz="1400" b="0" i="0" u="none" strike="noStrike" kern="1200" cap="none" spc="0" normalizeH="0" baseline="0" noProof="0" dirty="0">
              <a:ln>
                <a:noFill/>
              </a:ln>
              <a:solidFill>
                <a:srgbClr val="33363E"/>
              </a:solidFill>
              <a:effectLst/>
              <a:uLnTx/>
              <a:uFillTx/>
              <a:latin typeface="Calibri" panose="020F0502020204030204"/>
              <a:ea typeface="+mn-ea"/>
              <a:cs typeface="+mn-cs"/>
            </a:endParaRPr>
          </a:p>
        </p:txBody>
      </p:sp>
      <p:sp>
        <p:nvSpPr>
          <p:cNvPr id="39" name="Rectangle 38"/>
          <p:cNvSpPr/>
          <p:nvPr/>
        </p:nvSpPr>
        <p:spPr>
          <a:xfrm>
            <a:off x="8310798" y="2219292"/>
            <a:ext cx="2793181" cy="1185152"/>
          </a:xfrm>
          <a:prstGeom prst="rect">
            <a:avLst/>
          </a:prstGeom>
          <a:solidFill>
            <a:schemeClr val="accent1"/>
          </a:solidFill>
        </p:spPr>
        <p:style>
          <a:lnRef idx="0">
            <a:schemeClr val="accent4"/>
          </a:lnRef>
          <a:fillRef idx="3">
            <a:schemeClr val="accent4"/>
          </a:fillRef>
          <a:effectRef idx="3">
            <a:schemeClr val="accent4"/>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Calibri" panose="020F0502020204030204"/>
                <a:ea typeface="+mn-ea"/>
                <a:cs typeface="+mn-cs"/>
              </a:rPr>
              <a:t>HF combined with CSA is associated with a 2-fold increase in risk of death</a:t>
            </a:r>
          </a:p>
        </p:txBody>
      </p:sp>
      <p:sp>
        <p:nvSpPr>
          <p:cNvPr id="40" name="TextBox 39"/>
          <p:cNvSpPr txBox="1"/>
          <p:nvPr/>
        </p:nvSpPr>
        <p:spPr>
          <a:xfrm>
            <a:off x="145622" y="6152072"/>
            <a:ext cx="6715711" cy="230832"/>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63E"/>
                </a:solidFill>
                <a:effectLst/>
                <a:uLnTx/>
                <a:uFillTx/>
                <a:latin typeface="Calibri" panose="020F0502020204030204"/>
                <a:ea typeface="+mn-ea"/>
                <a:cs typeface="+mn-cs"/>
              </a:rPr>
              <a:t>Khayat et al.  Eur Heart J 2015;  36:1463-9   </a:t>
            </a:r>
          </a:p>
        </p:txBody>
      </p:sp>
      <p:pic>
        <p:nvPicPr>
          <p:cNvPr id="30" name="Picture 6" descr="Cover"/>
          <p:cNvPicPr>
            <a:picLocks noChangeAspect="1" noChangeArrowheads="1"/>
          </p:cNvPicPr>
          <p:nvPr/>
        </p:nvPicPr>
        <p:blipFill rotWithShape="1">
          <a:blip r:embed="rId6" cstate="print">
            <a:extLst>
              <a:ext uri="{28A0092B-C50C-407E-A947-70E740481C1C}">
                <a14:useLocalDpi xmlns:a14="http://schemas.microsoft.com/office/drawing/2010/main"/>
              </a:ext>
            </a:extLst>
          </a:blip>
          <a:srcRect/>
          <a:stretch/>
        </p:blipFill>
        <p:spPr bwMode="auto">
          <a:xfrm>
            <a:off x="1385909" y="1705851"/>
            <a:ext cx="6698742" cy="4347017"/>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13" name="Table 12"/>
          <p:cNvGraphicFramePr>
            <a:graphicFrameLocks noGrp="1"/>
          </p:cNvGraphicFramePr>
          <p:nvPr/>
        </p:nvGraphicFramePr>
        <p:xfrm>
          <a:off x="8365862" y="3603500"/>
          <a:ext cx="2683051" cy="944880"/>
        </p:xfrm>
        <a:graphic>
          <a:graphicData uri="http://schemas.openxmlformats.org/drawingml/2006/table">
            <a:tbl>
              <a:tblPr/>
              <a:tblGrid>
                <a:gridCol w="1337167">
                  <a:extLst>
                    <a:ext uri="{9D8B030D-6E8A-4147-A177-3AD203B41FA5}">
                      <a16:colId xmlns:a16="http://schemas.microsoft.com/office/drawing/2014/main" val="3354708161"/>
                    </a:ext>
                  </a:extLst>
                </a:gridCol>
                <a:gridCol w="1345884">
                  <a:extLst>
                    <a:ext uri="{9D8B030D-6E8A-4147-A177-3AD203B41FA5}">
                      <a16:colId xmlns:a16="http://schemas.microsoft.com/office/drawing/2014/main" val="3810015123"/>
                    </a:ext>
                  </a:extLst>
                </a:gridCol>
              </a:tblGrid>
              <a:tr h="203105">
                <a:tc gridSpan="2">
                  <a:txBody>
                    <a:bodyPr/>
                    <a:lstStyle/>
                    <a:p>
                      <a:pPr algn="ctr" fontAlgn="base"/>
                      <a:r>
                        <a:rPr lang="en-US" sz="1100" b="1" dirty="0">
                          <a:solidFill>
                            <a:schemeClr val="bg1"/>
                          </a:solidFill>
                          <a:effectLst/>
                          <a:latin typeface="inherit"/>
                        </a:rPr>
                        <a:t>Hazard ratio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9053" cap="flat" cmpd="sng" algn="ctr">
                      <a:solidFill>
                        <a:srgbClr val="CFD5E4"/>
                      </a:solidFill>
                      <a:prstDash val="solid"/>
                      <a:round/>
                      <a:headEnd type="none" w="med" len="med"/>
                      <a:tailEnd type="none" w="med" len="med"/>
                    </a:lnB>
                    <a:solidFill>
                      <a:schemeClr val="tx1">
                        <a:lumMod val="60000"/>
                        <a:lumOff val="40000"/>
                      </a:schemeClr>
                    </a:solidFill>
                  </a:tcPr>
                </a:tc>
                <a:tc hMerge="1">
                  <a:txBody>
                    <a:bodyPr/>
                    <a:lstStyle/>
                    <a:p>
                      <a:endParaRPr lang="en-US"/>
                    </a:p>
                  </a:txBody>
                  <a:tcPr/>
                </a:tc>
                <a:extLst>
                  <a:ext uri="{0D108BD9-81ED-4DB2-BD59-A6C34878D82A}">
                    <a16:rowId xmlns:a16="http://schemas.microsoft.com/office/drawing/2014/main" val="222784313"/>
                  </a:ext>
                </a:extLst>
              </a:tr>
              <a:tr h="172639">
                <a:tc>
                  <a:txBody>
                    <a:bodyPr/>
                    <a:lstStyle/>
                    <a:p>
                      <a:pPr algn="l" fontAlgn="base"/>
                      <a:r>
                        <a:rPr lang="en-US" sz="1100" b="1" dirty="0">
                          <a:effectLst/>
                          <a:latin typeface="inherit"/>
                        </a:rPr>
                        <a:t>CSA vs. no</a:t>
                      </a:r>
                      <a:r>
                        <a:rPr lang="en-US" sz="1100" b="1" baseline="0" dirty="0">
                          <a:effectLst/>
                          <a:latin typeface="inherit"/>
                        </a:rPr>
                        <a:t> or minimal </a:t>
                      </a:r>
                      <a:r>
                        <a:rPr lang="en-US" sz="1100" b="1" dirty="0">
                          <a:effectLst/>
                          <a:latin typeface="inherit"/>
                        </a:rPr>
                        <a:t>SDB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9053" cap="flat" cmpd="sng" algn="ctr">
                      <a:solidFill>
                        <a:srgbClr val="CFD5E4"/>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5F9"/>
                    </a:solidFill>
                  </a:tcPr>
                </a:tc>
                <a:tc>
                  <a:txBody>
                    <a:bodyPr/>
                    <a:lstStyle/>
                    <a:p>
                      <a:pPr algn="l" fontAlgn="base"/>
                      <a:r>
                        <a:rPr lang="en-US" sz="1100" b="1" dirty="0">
                          <a:effectLst/>
                          <a:latin typeface="inherit"/>
                        </a:rPr>
                        <a:t>OSA vs. no</a:t>
                      </a:r>
                      <a:r>
                        <a:rPr lang="en-US" sz="1100" b="1" baseline="0" dirty="0">
                          <a:effectLst/>
                          <a:latin typeface="inherit"/>
                        </a:rPr>
                        <a:t> or minimal </a:t>
                      </a:r>
                      <a:r>
                        <a:rPr lang="en-US" sz="1100" b="1" dirty="0">
                          <a:effectLst/>
                          <a:latin typeface="inherit"/>
                        </a:rPr>
                        <a:t>SDB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9053" cap="flat" cmpd="sng" algn="ctr">
                      <a:solidFill>
                        <a:srgbClr val="CFD5E4"/>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5F9"/>
                    </a:solidFill>
                  </a:tcPr>
                </a:tc>
                <a:extLst>
                  <a:ext uri="{0D108BD9-81ED-4DB2-BD59-A6C34878D82A}">
                    <a16:rowId xmlns:a16="http://schemas.microsoft.com/office/drawing/2014/main" val="2853940471"/>
                  </a:ext>
                </a:extLst>
              </a:tr>
              <a:tr h="182795">
                <a:tc>
                  <a:txBody>
                    <a:bodyPr/>
                    <a:lstStyle/>
                    <a:p>
                      <a:pPr algn="l" fontAlgn="base"/>
                      <a:r>
                        <a:rPr lang="en-US" sz="1100" b="1" dirty="0">
                          <a:effectLst/>
                          <a:latin typeface="inherit"/>
                        </a:rPr>
                        <a:t>2.17 </a:t>
                      </a:r>
                      <a:r>
                        <a:rPr lang="en-US" sz="1100" b="1" i="1" dirty="0">
                          <a:effectLst/>
                          <a:latin typeface="inherit"/>
                        </a:rPr>
                        <a:t>p</a:t>
                      </a:r>
                      <a:r>
                        <a:rPr lang="en-US" sz="1100" b="1" dirty="0">
                          <a:effectLst/>
                          <a:latin typeface="inherit"/>
                        </a:rPr>
                        <a:t> &lt; 0.001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ase"/>
                      <a:r>
                        <a:rPr lang="en-US" sz="1100" b="1" dirty="0">
                          <a:effectLst/>
                          <a:latin typeface="inherit"/>
                        </a:rPr>
                        <a:t>2.00 </a:t>
                      </a:r>
                      <a:r>
                        <a:rPr lang="en-US" sz="1100" b="1" i="1" dirty="0">
                          <a:effectLst/>
                          <a:latin typeface="inherit"/>
                        </a:rPr>
                        <a:t>p</a:t>
                      </a:r>
                      <a:r>
                        <a:rPr lang="en-US" sz="1100" b="1" dirty="0">
                          <a:effectLst/>
                          <a:latin typeface="inherit"/>
                        </a:rPr>
                        <a:t> &lt; 0.001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074544456"/>
                  </a:ext>
                </a:extLst>
              </a:tr>
            </a:tbl>
          </a:graphicData>
        </a:graphic>
      </p:graphicFrame>
      <p:sp>
        <p:nvSpPr>
          <p:cNvPr id="10" name="TextBox 9"/>
          <p:cNvSpPr txBox="1"/>
          <p:nvPr/>
        </p:nvSpPr>
        <p:spPr>
          <a:xfrm>
            <a:off x="5555609" y="2402984"/>
            <a:ext cx="2435321"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33363E"/>
                </a:solidFill>
                <a:effectLst/>
                <a:uLnTx/>
                <a:uFillTx/>
                <a:latin typeface="Calibri" panose="020F0502020204030204"/>
                <a:ea typeface="+mn-ea"/>
                <a:cs typeface="+mn-cs"/>
              </a:rPr>
              <a:t>No or minimal (nm) SDB</a:t>
            </a:r>
          </a:p>
        </p:txBody>
      </p:sp>
      <p:sp>
        <p:nvSpPr>
          <p:cNvPr id="11" name="TextBox 10"/>
          <p:cNvSpPr txBox="1"/>
          <p:nvPr/>
        </p:nvSpPr>
        <p:spPr>
          <a:xfrm>
            <a:off x="6114134" y="3457482"/>
            <a:ext cx="1164771"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5DA2"/>
                </a:solidFill>
                <a:effectLst/>
                <a:uLnTx/>
                <a:uFillTx/>
                <a:latin typeface="Calibri" panose="020F0502020204030204"/>
                <a:ea typeface="+mn-ea"/>
                <a:cs typeface="+mn-cs"/>
              </a:rPr>
              <a:t>OSA</a:t>
            </a:r>
          </a:p>
        </p:txBody>
      </p:sp>
      <p:sp>
        <p:nvSpPr>
          <p:cNvPr id="12" name="TextBox 11"/>
          <p:cNvSpPr txBox="1"/>
          <p:nvPr/>
        </p:nvSpPr>
        <p:spPr>
          <a:xfrm>
            <a:off x="5404159" y="4028838"/>
            <a:ext cx="1164771"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C00000"/>
                </a:solidFill>
                <a:effectLst/>
                <a:uLnTx/>
                <a:uFillTx/>
                <a:latin typeface="Calibri" panose="020F0502020204030204"/>
                <a:ea typeface="+mn-ea"/>
                <a:cs typeface="+mn-cs"/>
              </a:rPr>
              <a:t>CSA</a:t>
            </a:r>
          </a:p>
        </p:txBody>
      </p:sp>
      <p:pic>
        <p:nvPicPr>
          <p:cNvPr id="16" name="Picture 2"/>
          <p:cNvPicPr>
            <a:picLocks noChangeAspect="1" noChangeArrowheads="1"/>
          </p:cNvPicPr>
          <p:nvPr/>
        </p:nvPicPr>
        <p:blipFill rotWithShape="1">
          <a:blip r:embed="rId7" cstate="print">
            <a:extLst>
              <a:ext uri="{28A0092B-C50C-407E-A947-70E740481C1C}">
                <a14:useLocalDpi xmlns:a14="http://schemas.microsoft.com/office/drawing/2010/main"/>
              </a:ext>
            </a:extLst>
          </a:blip>
          <a:srcRect/>
          <a:stretch/>
        </p:blipFill>
        <p:spPr bwMode="auto">
          <a:xfrm>
            <a:off x="1533349" y="1011370"/>
            <a:ext cx="929847" cy="69448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 name="Slide Number Placeholder 4">
            <a:extLst>
              <a:ext uri="{FF2B5EF4-FFF2-40B4-BE49-F238E27FC236}">
                <a16:creationId xmlns:a16="http://schemas.microsoft.com/office/drawing/2014/main" id="{5A0B698C-B9F2-4628-2153-576F5B4F3019}"/>
              </a:ext>
            </a:extLst>
          </p:cNvPr>
          <p:cNvSpPr>
            <a:spLocks noGrp="1"/>
          </p:cNvSpPr>
          <p:nvPr>
            <p:ph type="sldNum" sz="quarter" idx="12"/>
          </p:nvPr>
        </p:nvSpPr>
        <p:spPr/>
        <p:txBody>
          <a:bodyPr/>
          <a:lstStyle/>
          <a:p>
            <a:fld id="{21D51F98-DEF0-4E23-AE94-24E7CFC19B28}" type="slidenum">
              <a:rPr lang="en-US" smtClean="0"/>
              <a:t>19</a:t>
            </a:fld>
            <a:endParaRPr lang="en-US"/>
          </a:p>
        </p:txBody>
      </p:sp>
      <p:sp>
        <p:nvSpPr>
          <p:cNvPr id="7" name="Footer Placeholder 5">
            <a:extLst>
              <a:ext uri="{FF2B5EF4-FFF2-40B4-BE49-F238E27FC236}">
                <a16:creationId xmlns:a16="http://schemas.microsoft.com/office/drawing/2014/main" id="{7AFD3D8B-698A-5407-5686-B34E44A8B228}"/>
              </a:ext>
            </a:extLst>
          </p:cNvPr>
          <p:cNvSpPr>
            <a:spLocks noGrp="1"/>
          </p:cNvSpPr>
          <p:nvPr>
            <p:ph type="ftr" sz="quarter" idx="11"/>
          </p:nvPr>
        </p:nvSpPr>
        <p:spPr>
          <a:xfrm>
            <a:off x="3684598" y="6459785"/>
            <a:ext cx="4822804" cy="365125"/>
          </a:xfrm>
        </p:spPr>
        <p:txBody>
          <a:bodyPr/>
          <a:lstStyle/>
          <a:p>
            <a:r>
              <a:rPr lang="en-US" dirty="0"/>
              <a:t>MAF1937 Rev E</a:t>
            </a:r>
          </a:p>
        </p:txBody>
      </p:sp>
    </p:spTree>
    <p:extLst>
      <p:ext uri="{BB962C8B-B14F-4D97-AF65-F5344CB8AC3E}">
        <p14:creationId xmlns:p14="http://schemas.microsoft.com/office/powerpoint/2010/main" val="110773985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idx="4294967295"/>
          </p:nvPr>
        </p:nvSpPr>
        <p:spPr>
          <a:xfrm>
            <a:off x="573088" y="244475"/>
            <a:ext cx="11618912" cy="828675"/>
          </a:xfrm>
        </p:spPr>
        <p:txBody>
          <a:bodyPr>
            <a:normAutofit/>
          </a:bodyPr>
          <a:lstStyle/>
          <a:p>
            <a:r>
              <a:rPr lang="en-US" sz="3600" b="1" dirty="0">
                <a:solidFill>
                  <a:schemeClr val="accent2"/>
                </a:solidFill>
                <a:latin typeface="+mn-lt"/>
              </a:rPr>
              <a:t>Agenda</a:t>
            </a:r>
          </a:p>
        </p:txBody>
      </p:sp>
      <p:sp>
        <p:nvSpPr>
          <p:cNvPr id="6" name="Content Placeholder 5"/>
          <p:cNvSpPr>
            <a:spLocks noGrp="1"/>
          </p:cNvSpPr>
          <p:nvPr>
            <p:ph sz="quarter" idx="4294967295"/>
          </p:nvPr>
        </p:nvSpPr>
        <p:spPr>
          <a:xfrm>
            <a:off x="573088" y="1822450"/>
            <a:ext cx="11618912" cy="3911600"/>
          </a:xfrm>
        </p:spPr>
        <p:txBody>
          <a:bodyPr/>
          <a:lstStyle/>
          <a:p>
            <a:pPr>
              <a:spcBef>
                <a:spcPts val="3600"/>
              </a:spcBef>
            </a:pPr>
            <a:r>
              <a:rPr lang="en-US" b="1" dirty="0"/>
              <a:t>Sleep Apnea and Cardiovascular Disease</a:t>
            </a:r>
          </a:p>
          <a:p>
            <a:pPr>
              <a:spcBef>
                <a:spcPts val="3600"/>
              </a:spcBef>
            </a:pPr>
            <a:r>
              <a:rPr lang="en-US" dirty="0"/>
              <a:t>Central Sleep Apnea Background</a:t>
            </a:r>
          </a:p>
          <a:p>
            <a:pPr>
              <a:spcBef>
                <a:spcPts val="3600"/>
              </a:spcBef>
            </a:pPr>
            <a:r>
              <a:rPr lang="en-US" dirty="0"/>
              <a:t>The </a:t>
            </a:r>
            <a:r>
              <a:rPr lang="en-US" b="1" dirty="0"/>
              <a:t>rem</a:t>
            </a:r>
            <a:r>
              <a:rPr lang="en-US" dirty="0"/>
              <a:t>edē® System Therapy</a:t>
            </a:r>
          </a:p>
          <a:p>
            <a:pPr>
              <a:spcBef>
                <a:spcPts val="3600"/>
              </a:spcBef>
            </a:pPr>
            <a:r>
              <a:rPr lang="en-US" dirty="0"/>
              <a:t>Clinical Results</a:t>
            </a:r>
          </a:p>
          <a:p>
            <a:pPr marL="0" indent="0">
              <a:spcBef>
                <a:spcPts val="3600"/>
              </a:spcBef>
              <a:buNone/>
            </a:pPr>
            <a:endParaRPr lang="en-US" dirty="0"/>
          </a:p>
        </p:txBody>
      </p:sp>
      <p:sp>
        <p:nvSpPr>
          <p:cNvPr id="8" name="Rounded Rectangle 7"/>
          <p:cNvSpPr/>
          <p:nvPr/>
        </p:nvSpPr>
        <p:spPr>
          <a:xfrm>
            <a:off x="573088" y="1612842"/>
            <a:ext cx="5212627" cy="731520"/>
          </a:xfrm>
          <a:prstGeom prst="roundRect">
            <a:avLst/>
          </a:prstGeom>
          <a:solidFill>
            <a:schemeClr val="tx2">
              <a:lumMod val="20000"/>
              <a:lumOff val="80000"/>
              <a:alpha val="3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3" name="Slide Number Placeholder 2">
            <a:extLst>
              <a:ext uri="{FF2B5EF4-FFF2-40B4-BE49-F238E27FC236}">
                <a16:creationId xmlns:a16="http://schemas.microsoft.com/office/drawing/2014/main" id="{FB9A3F82-1ACA-1FBD-5F00-A40338B2239E}"/>
              </a:ext>
            </a:extLst>
          </p:cNvPr>
          <p:cNvSpPr>
            <a:spLocks noGrp="1"/>
          </p:cNvSpPr>
          <p:nvPr>
            <p:ph type="sldNum" sz="quarter" idx="12"/>
          </p:nvPr>
        </p:nvSpPr>
        <p:spPr/>
        <p:txBody>
          <a:bodyPr/>
          <a:lstStyle/>
          <a:p>
            <a:fld id="{21D51F98-DEF0-4E23-AE94-24E7CFC19B28}" type="slidenum">
              <a:rPr lang="en-US" smtClean="0"/>
              <a:t>2</a:t>
            </a:fld>
            <a:endParaRPr lang="en-US" dirty="0"/>
          </a:p>
        </p:txBody>
      </p:sp>
      <p:sp>
        <p:nvSpPr>
          <p:cNvPr id="7" name="Footer Placeholder 5">
            <a:extLst>
              <a:ext uri="{FF2B5EF4-FFF2-40B4-BE49-F238E27FC236}">
                <a16:creationId xmlns:a16="http://schemas.microsoft.com/office/drawing/2014/main" id="{F26DA381-0F1F-3DAF-1351-4429738F0547}"/>
              </a:ext>
            </a:extLst>
          </p:cNvPr>
          <p:cNvSpPr>
            <a:spLocks noGrp="1"/>
          </p:cNvSpPr>
          <p:nvPr>
            <p:ph type="ftr" sz="quarter" idx="11"/>
          </p:nvPr>
        </p:nvSpPr>
        <p:spPr>
          <a:xfrm>
            <a:off x="3684598" y="6459785"/>
            <a:ext cx="4822804" cy="365125"/>
          </a:xfrm>
        </p:spPr>
        <p:txBody>
          <a:bodyPr/>
          <a:lstStyle/>
          <a:p>
            <a:r>
              <a:rPr lang="en-US" dirty="0"/>
              <a:t>MAF1937 Rev E</a:t>
            </a:r>
          </a:p>
        </p:txBody>
      </p:sp>
    </p:spTree>
    <p:extLst>
      <p:ext uri="{BB962C8B-B14F-4D97-AF65-F5344CB8AC3E}">
        <p14:creationId xmlns:p14="http://schemas.microsoft.com/office/powerpoint/2010/main" val="217961192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6" imgH="396" progId="TCLayout.ActiveDocument.1">
                  <p:embed/>
                </p:oleObj>
              </mc:Choice>
              <mc:Fallback>
                <p:oleObj name="think-cell Slide" r:id="rId4" imgW="396" imgH="39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endParaRPr kumimoji="0" lang="en-US" sz="2400" b="1" i="0" u="none" strike="noStrike" kern="1200" cap="none" spc="0" normalizeH="0" baseline="0" noProof="0" dirty="0">
              <a:ln>
                <a:noFill/>
              </a:ln>
              <a:solidFill>
                <a:srgbClr val="FFFFFF"/>
              </a:solidFill>
              <a:effectLst/>
              <a:uLnTx/>
              <a:uFillTx/>
              <a:latin typeface="Calibri" panose="020F0502020204030204" pitchFamily="34" charset="0"/>
              <a:ea typeface="+mn-ea"/>
              <a:cs typeface="+mn-cs"/>
              <a:sym typeface="Calibri" panose="020F0502020204030204" pitchFamily="34" charset="0"/>
            </a:endParaRPr>
          </a:p>
        </p:txBody>
      </p:sp>
      <p:sp>
        <p:nvSpPr>
          <p:cNvPr id="21" name="Title 20"/>
          <p:cNvSpPr>
            <a:spLocks noGrp="1"/>
          </p:cNvSpPr>
          <p:nvPr>
            <p:ph type="title" idx="4294967295"/>
          </p:nvPr>
        </p:nvSpPr>
        <p:spPr>
          <a:xfrm>
            <a:off x="287337" y="134682"/>
            <a:ext cx="11617325" cy="692150"/>
          </a:xfrm>
        </p:spPr>
        <p:txBody>
          <a:bodyPr>
            <a:normAutofit/>
          </a:bodyPr>
          <a:lstStyle/>
          <a:p>
            <a:r>
              <a:rPr lang="en-US" sz="3200" b="1" dirty="0">
                <a:solidFill>
                  <a:schemeClr val="accent2"/>
                </a:solidFill>
                <a:latin typeface="+mn-lt"/>
              </a:rPr>
              <a:t>Central Sleep Apnea Increases the Risk of Heart Failure Readmission</a:t>
            </a:r>
          </a:p>
        </p:txBody>
      </p:sp>
      <p:sp>
        <p:nvSpPr>
          <p:cNvPr id="36" name="TextBox 35"/>
          <p:cNvSpPr txBox="1"/>
          <p:nvPr/>
        </p:nvSpPr>
        <p:spPr>
          <a:xfrm>
            <a:off x="2904853" y="959954"/>
            <a:ext cx="6382291" cy="800219"/>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33363E"/>
                </a:solidFill>
                <a:effectLst/>
                <a:uLnTx/>
                <a:uFillTx/>
                <a:latin typeface="Calibri" panose="020F0502020204030204"/>
                <a:ea typeface="+mn-ea"/>
                <a:cs typeface="+mn-cs"/>
              </a:rPr>
              <a:t>Heart failure readmissions within 6 months  – CSA population vs. patients free of sleep disordered breathing (SDB) in NIH sponsored study</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33363E"/>
                </a:solidFill>
                <a:effectLst/>
                <a:uLnTx/>
                <a:uFillTx/>
                <a:latin typeface="Calibri" panose="020F0502020204030204"/>
                <a:ea typeface="+mn-ea"/>
                <a:cs typeface="+mn-cs"/>
              </a:rPr>
              <a:t>Percent of patients</a:t>
            </a:r>
          </a:p>
        </p:txBody>
      </p:sp>
      <p:sp>
        <p:nvSpPr>
          <p:cNvPr id="40" name="TextBox 39"/>
          <p:cNvSpPr txBox="1"/>
          <p:nvPr/>
        </p:nvSpPr>
        <p:spPr>
          <a:xfrm>
            <a:off x="192592" y="6057990"/>
            <a:ext cx="6715711" cy="246221"/>
          </a:xfrm>
          <a:prstGeom prst="rect">
            <a:avLst/>
          </a:prstGeom>
          <a:noFill/>
        </p:spPr>
        <p:txBody>
          <a:bodyPr wrap="square" rtlCol="0">
            <a:spAutoFit/>
          </a:bodyPr>
          <a:lstStyle>
            <a:defPPr>
              <a:defRPr lang="en-US"/>
            </a:defPPr>
            <a:lvl1pPr defTabSz="457200">
              <a:defRPr sz="1000"/>
            </a:lvl1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srgbClr val="33363E"/>
                </a:solidFill>
                <a:effectLst/>
                <a:uLnTx/>
                <a:uFillTx/>
                <a:latin typeface="Calibri" panose="020F0502020204030204"/>
                <a:ea typeface="+mn-ea"/>
                <a:cs typeface="+mn-cs"/>
              </a:rPr>
              <a:t>Khayat et al.  J Card Fail 2012;18:534-540</a:t>
            </a:r>
          </a:p>
        </p:txBody>
      </p:sp>
      <p:grpSp>
        <p:nvGrpSpPr>
          <p:cNvPr id="20" name="Group 19"/>
          <p:cNvGrpSpPr/>
          <p:nvPr/>
        </p:nvGrpSpPr>
        <p:grpSpPr>
          <a:xfrm>
            <a:off x="1815229" y="1730007"/>
            <a:ext cx="5570113" cy="3397986"/>
            <a:chOff x="2013507" y="2011376"/>
            <a:chExt cx="4969699" cy="3042515"/>
          </a:xfrm>
        </p:grpSpPr>
        <p:grpSp>
          <p:nvGrpSpPr>
            <p:cNvPr id="10" name="Group 9"/>
            <p:cNvGrpSpPr/>
            <p:nvPr/>
          </p:nvGrpSpPr>
          <p:grpSpPr>
            <a:xfrm>
              <a:off x="2013507" y="2011376"/>
              <a:ext cx="4969699" cy="3042515"/>
              <a:chOff x="2013507" y="1930096"/>
              <a:chExt cx="4969699" cy="3042515"/>
            </a:xfrm>
          </p:grpSpPr>
          <p:pic>
            <p:nvPicPr>
              <p:cNvPr id="22" name="Picture 2"/>
              <p:cNvPicPr>
                <a:picLocks noChangeAspect="1" noChangeArrowheads="1"/>
              </p:cNvPicPr>
              <p:nvPr/>
            </p:nvPicPr>
            <p:blipFill>
              <a:blip r:embed="rId6"/>
              <a:stretch>
                <a:fillRect/>
              </a:stretch>
            </p:blipFill>
            <p:spPr bwMode="auto">
              <a:xfrm>
                <a:off x="2013507" y="1930096"/>
                <a:ext cx="4969699" cy="3042515"/>
              </a:xfrm>
              <a:prstGeom prst="rect">
                <a:avLst/>
              </a:prstGeom>
              <a:noFill/>
              <a:ln w="9525">
                <a:noFill/>
                <a:miter lim="800000"/>
                <a:headEnd/>
                <a:tailEnd/>
              </a:ln>
            </p:spPr>
          </p:pic>
          <p:grpSp>
            <p:nvGrpSpPr>
              <p:cNvPr id="8" name="Group 7"/>
              <p:cNvGrpSpPr/>
              <p:nvPr/>
            </p:nvGrpSpPr>
            <p:grpSpPr>
              <a:xfrm>
                <a:off x="3641814" y="2040690"/>
                <a:ext cx="3090456" cy="544010"/>
                <a:chOff x="4020756" y="2106593"/>
                <a:chExt cx="3090456" cy="544010"/>
              </a:xfrm>
            </p:grpSpPr>
            <p:pic>
              <p:nvPicPr>
                <p:cNvPr id="12" name="Picture 2"/>
                <p:cNvPicPr>
                  <a:picLocks noChangeAspect="1" noChangeArrowheads="1"/>
                </p:cNvPicPr>
                <p:nvPr/>
              </p:nvPicPr>
              <p:blipFill rotWithShape="1">
                <a:blip r:embed="rId7" cstate="hqprint">
                  <a:extLst>
                    <a:ext uri="{28A0092B-C50C-407E-A947-70E740481C1C}">
                      <a14:useLocalDpi xmlns:a14="http://schemas.microsoft.com/office/drawing/2010/main"/>
                    </a:ext>
                  </a:extLst>
                </a:blip>
                <a:srcRect/>
                <a:stretch/>
              </p:blipFill>
              <p:spPr bwMode="auto">
                <a:xfrm>
                  <a:off x="4020756" y="2106593"/>
                  <a:ext cx="197017" cy="544010"/>
                </a:xfrm>
                <a:prstGeom prst="rect">
                  <a:avLst/>
                </a:prstGeom>
                <a:noFill/>
                <a:ln w="9525">
                  <a:noFill/>
                  <a:miter lim="800000"/>
                  <a:headEnd/>
                  <a:tailEnd/>
                </a:ln>
              </p:spPr>
            </p:pic>
            <p:sp>
              <p:nvSpPr>
                <p:cNvPr id="5" name="TextBox 4"/>
                <p:cNvSpPr txBox="1"/>
                <p:nvPr/>
              </p:nvSpPr>
              <p:spPr>
                <a:xfrm>
                  <a:off x="4171950" y="2116988"/>
                  <a:ext cx="2167332"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33363E"/>
                      </a:solidFill>
                      <a:effectLst/>
                      <a:uLnTx/>
                      <a:uFillTx/>
                      <a:latin typeface="Calibri" panose="020F0502020204030204"/>
                      <a:ea typeface="+mn-ea"/>
                      <a:cs typeface="+mn-cs"/>
                    </a:rPr>
                    <a:t>Central Sleep Apnea (n=165)</a:t>
                  </a:r>
                </a:p>
              </p:txBody>
            </p:sp>
            <p:sp>
              <p:nvSpPr>
                <p:cNvPr id="14" name="TextBox 13"/>
                <p:cNvSpPr txBox="1"/>
                <p:nvPr/>
              </p:nvSpPr>
              <p:spPr>
                <a:xfrm>
                  <a:off x="4171950" y="2369935"/>
                  <a:ext cx="2939262"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33363E"/>
                      </a:solidFill>
                      <a:effectLst/>
                      <a:uLnTx/>
                      <a:uFillTx/>
                      <a:latin typeface="Calibri" panose="020F0502020204030204"/>
                      <a:ea typeface="+mn-ea"/>
                      <a:cs typeface="+mn-cs"/>
                    </a:rPr>
                    <a:t>No Sleep Disordered Breathing (n=139)</a:t>
                  </a:r>
                </a:p>
              </p:txBody>
            </p:sp>
          </p:grpSp>
          <p:sp>
            <p:nvSpPr>
              <p:cNvPr id="9" name="Rectangle 8"/>
              <p:cNvSpPr/>
              <p:nvPr/>
            </p:nvSpPr>
            <p:spPr>
              <a:xfrm>
                <a:off x="4621427" y="2584700"/>
                <a:ext cx="1674082" cy="7516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sp>
          <p:nvSpPr>
            <p:cNvPr id="13" name="Left Brace 12"/>
            <p:cNvSpPr/>
            <p:nvPr/>
          </p:nvSpPr>
          <p:spPr>
            <a:xfrm rot="5400000">
              <a:off x="5178213" y="1639630"/>
              <a:ext cx="202366" cy="3201941"/>
            </a:xfrm>
            <a:prstGeom prst="leftBrace">
              <a:avLst>
                <a:gd name="adj1" fmla="val 8333"/>
                <a:gd name="adj2" fmla="val 51029"/>
              </a:avLst>
            </a:prstGeom>
            <a:ln w="19050">
              <a:solidFill>
                <a:schemeClr val="tx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3363E"/>
                </a:solidFill>
                <a:effectLst/>
                <a:uLnTx/>
                <a:uFillTx/>
                <a:latin typeface="Calibri" panose="020F0502020204030204"/>
                <a:ea typeface="+mn-ea"/>
                <a:cs typeface="+mn-cs"/>
              </a:endParaRPr>
            </a:p>
          </p:txBody>
        </p:sp>
        <p:sp>
          <p:nvSpPr>
            <p:cNvPr id="23" name="Left Brace 22"/>
            <p:cNvSpPr/>
            <p:nvPr/>
          </p:nvSpPr>
          <p:spPr>
            <a:xfrm rot="5400000">
              <a:off x="5590542" y="2725445"/>
              <a:ext cx="171280" cy="2362278"/>
            </a:xfrm>
            <a:prstGeom prst="leftBrace">
              <a:avLst>
                <a:gd name="adj1" fmla="val 8333"/>
                <a:gd name="adj2" fmla="val 51029"/>
              </a:avLst>
            </a:prstGeom>
            <a:ln w="19050">
              <a:solidFill>
                <a:schemeClr val="tx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3363E"/>
                </a:solidFill>
                <a:effectLst/>
                <a:uLnTx/>
                <a:uFillTx/>
                <a:latin typeface="Calibri" panose="020F0502020204030204"/>
                <a:ea typeface="+mn-ea"/>
                <a:cs typeface="+mn-cs"/>
              </a:endParaRPr>
            </a:p>
          </p:txBody>
        </p:sp>
        <p:sp>
          <p:nvSpPr>
            <p:cNvPr id="19" name="TextBox 18"/>
            <p:cNvSpPr txBox="1"/>
            <p:nvPr/>
          </p:nvSpPr>
          <p:spPr>
            <a:xfrm>
              <a:off x="4066232" y="2773601"/>
              <a:ext cx="2426328"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33363E"/>
                  </a:solidFill>
                  <a:effectLst/>
                  <a:uLnTx/>
                  <a:uFillTx/>
                  <a:latin typeface="Calibri" panose="020F0502020204030204"/>
                  <a:ea typeface="+mn-ea"/>
                  <a:cs typeface="+mn-cs"/>
                </a:rPr>
                <a:t>&gt;50% of CSA Patients</a:t>
              </a:r>
            </a:p>
          </p:txBody>
        </p:sp>
        <p:sp>
          <p:nvSpPr>
            <p:cNvPr id="26" name="TextBox 25"/>
            <p:cNvSpPr txBox="1"/>
            <p:nvPr/>
          </p:nvSpPr>
          <p:spPr>
            <a:xfrm>
              <a:off x="4556878" y="3399218"/>
              <a:ext cx="2426328"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33363E"/>
                  </a:solidFill>
                  <a:effectLst/>
                  <a:uLnTx/>
                  <a:uFillTx/>
                  <a:latin typeface="Calibri" panose="020F0502020204030204"/>
                  <a:ea typeface="+mn-ea"/>
                  <a:cs typeface="+mn-cs"/>
                </a:rPr>
                <a:t>&gt;25% of CSA Patients</a:t>
              </a:r>
            </a:p>
          </p:txBody>
        </p:sp>
      </p:grpSp>
      <p:sp>
        <p:nvSpPr>
          <p:cNvPr id="27" name="Rectangle 1"/>
          <p:cNvSpPr>
            <a:spLocks noChangeArrowheads="1"/>
          </p:cNvSpPr>
          <p:nvPr/>
        </p:nvSpPr>
        <p:spPr bwMode="auto">
          <a:xfrm>
            <a:off x="12751063" y="2123276"/>
            <a:ext cx="65" cy="9962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219006" rIns="0" bIns="219006"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br>
              <a:rPr kumimoji="0" lang="en-US" altLang="en-US" sz="1800" b="0" i="0" u="none" strike="noStrike" kern="1200" cap="none" spc="0" normalizeH="0" baseline="0" noProof="0">
                <a:ln>
                  <a:noFill/>
                </a:ln>
                <a:solidFill>
                  <a:srgbClr val="000000"/>
                </a:solidFill>
                <a:effectLst/>
                <a:uLnTx/>
                <a:uFillTx/>
                <a:latin typeface="Times New Roman" panose="02020603050405020304" pitchFamily="18" charset="0"/>
                <a:ea typeface="+mn-ea"/>
                <a:cs typeface="Times New Roman" panose="02020603050405020304" pitchFamily="18" charset="0"/>
              </a:rPr>
            </a:br>
            <a:endParaRPr kumimoji="0" lang="en-US" altLang="en-US" sz="1800" b="0" i="0" u="none" strike="noStrike" kern="1200" cap="none" spc="0" normalizeH="0" baseline="0" noProof="0">
              <a:ln>
                <a:noFill/>
              </a:ln>
              <a:solidFill>
                <a:srgbClr val="33363E"/>
              </a:solidFill>
              <a:effectLst/>
              <a:uLnTx/>
              <a:uFillTx/>
              <a:latin typeface="Arial" panose="020B0604020202020204" pitchFamily="34" charset="0"/>
              <a:ea typeface="+mn-ea"/>
              <a:cs typeface="+mn-cs"/>
            </a:endParaRPr>
          </a:p>
        </p:txBody>
      </p:sp>
      <p:graphicFrame>
        <p:nvGraphicFramePr>
          <p:cNvPr id="30" name="Table 29"/>
          <p:cNvGraphicFramePr>
            <a:graphicFrameLocks noGrp="1"/>
          </p:cNvGraphicFramePr>
          <p:nvPr>
            <p:extLst>
              <p:ext uri="{D42A27DB-BD31-4B8C-83A1-F6EECF244321}">
                <p14:modId xmlns:p14="http://schemas.microsoft.com/office/powerpoint/2010/main" val="2278900309"/>
              </p:ext>
            </p:extLst>
          </p:nvPr>
        </p:nvGraphicFramePr>
        <p:xfrm>
          <a:off x="7892349" y="2962494"/>
          <a:ext cx="1755237" cy="822960"/>
        </p:xfrm>
        <a:graphic>
          <a:graphicData uri="http://schemas.openxmlformats.org/drawingml/2006/table">
            <a:tbl>
              <a:tblPr/>
              <a:tblGrid>
                <a:gridCol w="1755237">
                  <a:extLst>
                    <a:ext uri="{9D8B030D-6E8A-4147-A177-3AD203B41FA5}">
                      <a16:colId xmlns:a16="http://schemas.microsoft.com/office/drawing/2014/main" val="3354708161"/>
                    </a:ext>
                  </a:extLst>
                </a:gridCol>
              </a:tblGrid>
              <a:tr h="203105">
                <a:tc>
                  <a:txBody>
                    <a:bodyPr/>
                    <a:lstStyle/>
                    <a:p>
                      <a:pPr algn="ctr" fontAlgn="base"/>
                      <a:r>
                        <a:rPr lang="en-US" sz="1400" b="1" dirty="0">
                          <a:solidFill>
                            <a:schemeClr val="bg1"/>
                          </a:solidFill>
                          <a:effectLst/>
                          <a:latin typeface="inherit"/>
                        </a:rPr>
                        <a:t>Hazard ratio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9053" cap="flat" cmpd="sng" algn="ctr">
                      <a:solidFill>
                        <a:srgbClr val="CFD5E4"/>
                      </a:solidFill>
                      <a:prstDash val="solid"/>
                      <a:round/>
                      <a:headEnd type="none" w="med" len="med"/>
                      <a:tailEnd type="none" w="med" len="med"/>
                    </a:lnB>
                    <a:solidFill>
                      <a:schemeClr val="tx1">
                        <a:lumMod val="60000"/>
                        <a:lumOff val="40000"/>
                      </a:schemeClr>
                    </a:solidFill>
                  </a:tcPr>
                </a:tc>
                <a:extLst>
                  <a:ext uri="{0D108BD9-81ED-4DB2-BD59-A6C34878D82A}">
                    <a16:rowId xmlns:a16="http://schemas.microsoft.com/office/drawing/2014/main" val="222784313"/>
                  </a:ext>
                </a:extLst>
              </a:tr>
              <a:tr h="172639">
                <a:tc>
                  <a:txBody>
                    <a:bodyPr/>
                    <a:lstStyle/>
                    <a:p>
                      <a:pPr algn="l" fontAlgn="base"/>
                      <a:r>
                        <a:rPr lang="en-US" sz="1100" b="1" dirty="0">
                          <a:effectLst/>
                          <a:latin typeface="inherit"/>
                        </a:rPr>
                        <a:t>CSA vs. no</a:t>
                      </a:r>
                      <a:r>
                        <a:rPr lang="en-US" sz="1100" b="1" baseline="0" dirty="0">
                          <a:effectLst/>
                          <a:latin typeface="inherit"/>
                        </a:rPr>
                        <a:t> </a:t>
                      </a:r>
                      <a:r>
                        <a:rPr lang="en-US" sz="1100" b="1" dirty="0">
                          <a:effectLst/>
                          <a:latin typeface="inherit"/>
                        </a:rPr>
                        <a:t>SDB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9053" cap="flat" cmpd="sng" algn="ctr">
                      <a:solidFill>
                        <a:srgbClr val="CFD5E4"/>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5F9"/>
                    </a:solidFill>
                  </a:tcPr>
                </a:tc>
                <a:extLst>
                  <a:ext uri="{0D108BD9-81ED-4DB2-BD59-A6C34878D82A}">
                    <a16:rowId xmlns:a16="http://schemas.microsoft.com/office/drawing/2014/main" val="2853940471"/>
                  </a:ext>
                </a:extLst>
              </a:tr>
              <a:tr h="182795">
                <a:tc>
                  <a:txBody>
                    <a:bodyPr/>
                    <a:lstStyle/>
                    <a:p>
                      <a:pPr algn="l" fontAlgn="base"/>
                      <a:r>
                        <a:rPr lang="en-US" sz="1100" b="1" dirty="0">
                          <a:effectLst/>
                          <a:latin typeface="inherit"/>
                        </a:rPr>
                        <a:t>1.63, </a:t>
                      </a:r>
                      <a:r>
                        <a:rPr lang="en-US" sz="1100" b="1" i="1" dirty="0">
                          <a:effectLst/>
                          <a:latin typeface="inherit"/>
                        </a:rPr>
                        <a:t>p</a:t>
                      </a:r>
                      <a:r>
                        <a:rPr lang="en-US" sz="1100" b="1" dirty="0">
                          <a:effectLst/>
                          <a:latin typeface="inherit"/>
                        </a:rPr>
                        <a:t> =</a:t>
                      </a:r>
                      <a:r>
                        <a:rPr lang="en-US" sz="1100" b="1" baseline="0" dirty="0">
                          <a:effectLst/>
                          <a:latin typeface="inherit"/>
                        </a:rPr>
                        <a:t> </a:t>
                      </a:r>
                      <a:r>
                        <a:rPr lang="en-US" sz="1100" b="1" dirty="0">
                          <a:effectLst/>
                          <a:latin typeface="inherit"/>
                        </a:rPr>
                        <a:t>0.01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074544456"/>
                  </a:ext>
                </a:extLst>
              </a:tr>
            </a:tbl>
          </a:graphicData>
        </a:graphic>
      </p:graphicFrame>
      <p:sp>
        <p:nvSpPr>
          <p:cNvPr id="31" name="Rectangle 30"/>
          <p:cNvSpPr/>
          <p:nvPr/>
        </p:nvSpPr>
        <p:spPr>
          <a:xfrm>
            <a:off x="1577509" y="5321474"/>
            <a:ext cx="8553307" cy="695202"/>
          </a:xfrm>
          <a:prstGeom prst="rect">
            <a:avLst/>
          </a:prstGeom>
          <a:solidFill>
            <a:schemeClr val="accent2"/>
          </a:solidFill>
        </p:spPr>
        <p:style>
          <a:lnRef idx="0">
            <a:schemeClr val="accent4"/>
          </a:lnRef>
          <a:fillRef idx="3">
            <a:schemeClr val="accent4"/>
          </a:fillRef>
          <a:effectRef idx="3">
            <a:schemeClr val="accent4"/>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1" i="0" u="none" strike="noStrike" kern="1200" cap="none" spc="0" normalizeH="0" baseline="0" noProof="0" dirty="0">
                <a:ln>
                  <a:noFill/>
                </a:ln>
                <a:solidFill>
                  <a:srgbClr val="FFFFFF"/>
                </a:solidFill>
                <a:effectLst/>
                <a:uLnTx/>
                <a:uFillTx/>
                <a:latin typeface="Calibri" panose="020F0502020204030204"/>
                <a:ea typeface="+mn-ea"/>
                <a:cs typeface="+mn-cs"/>
              </a:rPr>
              <a:t>50% of HF patients with CSA were readmitted to the hospital at 6 months</a:t>
            </a:r>
          </a:p>
          <a:p>
            <a:pPr marL="171450" marR="0" lvl="0"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600" b="1" i="0" u="none" strike="noStrike" kern="1200" cap="none" spc="0" normalizeH="0" baseline="0" noProof="0" dirty="0">
                <a:ln>
                  <a:noFill/>
                </a:ln>
                <a:solidFill>
                  <a:srgbClr val="FFFFFF"/>
                </a:solidFill>
                <a:effectLst/>
                <a:uLnTx/>
                <a:uFillTx/>
                <a:latin typeface="Calibri" panose="020F0502020204030204"/>
                <a:ea typeface="+mn-ea"/>
                <a:cs typeface="+mn-cs"/>
              </a:rPr>
              <a:t>Over 25% of heart failure patients with CSA had 2 or more hospital readmissions within 6 months</a:t>
            </a:r>
          </a:p>
        </p:txBody>
      </p:sp>
      <p:pic>
        <p:nvPicPr>
          <p:cNvPr id="24" name="Picture 2"/>
          <p:cNvPicPr>
            <a:picLocks noChangeAspect="1" noChangeArrowheads="1"/>
          </p:cNvPicPr>
          <p:nvPr/>
        </p:nvPicPr>
        <p:blipFill rotWithShape="1">
          <a:blip r:embed="rId8" cstate="print">
            <a:extLst>
              <a:ext uri="{28A0092B-C50C-407E-A947-70E740481C1C}">
                <a14:useLocalDpi xmlns:a14="http://schemas.microsoft.com/office/drawing/2010/main"/>
              </a:ext>
            </a:extLst>
          </a:blip>
          <a:srcRect/>
          <a:stretch/>
        </p:blipFill>
        <p:spPr bwMode="auto">
          <a:xfrm>
            <a:off x="1815229" y="991228"/>
            <a:ext cx="929847" cy="69448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Slide Number Placeholder 5">
            <a:extLst>
              <a:ext uri="{FF2B5EF4-FFF2-40B4-BE49-F238E27FC236}">
                <a16:creationId xmlns:a16="http://schemas.microsoft.com/office/drawing/2014/main" id="{12A423DC-CAF7-C7E2-7B24-2D512584BD6D}"/>
              </a:ext>
            </a:extLst>
          </p:cNvPr>
          <p:cNvSpPr>
            <a:spLocks noGrp="1"/>
          </p:cNvSpPr>
          <p:nvPr>
            <p:ph type="sldNum" sz="quarter" idx="12"/>
          </p:nvPr>
        </p:nvSpPr>
        <p:spPr/>
        <p:txBody>
          <a:bodyPr/>
          <a:lstStyle/>
          <a:p>
            <a:fld id="{21D51F98-DEF0-4E23-AE94-24E7CFC19B28}" type="slidenum">
              <a:rPr lang="en-US" smtClean="0"/>
              <a:t>20</a:t>
            </a:fld>
            <a:endParaRPr lang="en-US"/>
          </a:p>
        </p:txBody>
      </p:sp>
      <p:sp>
        <p:nvSpPr>
          <p:cNvPr id="11" name="Footer Placeholder 5">
            <a:extLst>
              <a:ext uri="{FF2B5EF4-FFF2-40B4-BE49-F238E27FC236}">
                <a16:creationId xmlns:a16="http://schemas.microsoft.com/office/drawing/2014/main" id="{7FBF141F-FED5-8F66-D9D1-629080923582}"/>
              </a:ext>
            </a:extLst>
          </p:cNvPr>
          <p:cNvSpPr>
            <a:spLocks noGrp="1"/>
          </p:cNvSpPr>
          <p:nvPr>
            <p:ph type="ftr" sz="quarter" idx="11"/>
          </p:nvPr>
        </p:nvSpPr>
        <p:spPr>
          <a:xfrm>
            <a:off x="3684598" y="6459785"/>
            <a:ext cx="4822804" cy="365125"/>
          </a:xfrm>
        </p:spPr>
        <p:txBody>
          <a:bodyPr/>
          <a:lstStyle/>
          <a:p>
            <a:r>
              <a:rPr lang="en-US" dirty="0"/>
              <a:t>MAF1937 Rev E</a:t>
            </a:r>
          </a:p>
        </p:txBody>
      </p:sp>
    </p:spTree>
    <p:extLst>
      <p:ext uri="{BB962C8B-B14F-4D97-AF65-F5344CB8AC3E}">
        <p14:creationId xmlns:p14="http://schemas.microsoft.com/office/powerpoint/2010/main" val="1348456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95C382-A948-4230-8D0B-D782288C5478}"/>
              </a:ext>
            </a:extLst>
          </p:cNvPr>
          <p:cNvSpPr>
            <a:spLocks noGrp="1"/>
          </p:cNvSpPr>
          <p:nvPr>
            <p:ph type="title"/>
          </p:nvPr>
        </p:nvSpPr>
        <p:spPr>
          <a:xfrm>
            <a:off x="338841" y="157002"/>
            <a:ext cx="10515600" cy="597725"/>
          </a:xfrm>
        </p:spPr>
        <p:txBody>
          <a:bodyPr>
            <a:normAutofit/>
          </a:bodyPr>
          <a:lstStyle/>
          <a:p>
            <a:r>
              <a:rPr lang="en-US" sz="3200" b="1" dirty="0">
                <a:solidFill>
                  <a:schemeClr val="accent2"/>
                </a:solidFill>
                <a:latin typeface="+mn-lt"/>
              </a:rPr>
              <a:t>Limited Treatment Options for Central Sleep Apnea</a:t>
            </a:r>
          </a:p>
        </p:txBody>
      </p:sp>
      <p:graphicFrame>
        <p:nvGraphicFramePr>
          <p:cNvPr id="6" name="Table 6">
            <a:extLst>
              <a:ext uri="{FF2B5EF4-FFF2-40B4-BE49-F238E27FC236}">
                <a16:creationId xmlns:a16="http://schemas.microsoft.com/office/drawing/2014/main" id="{C57EF434-855F-47C9-9091-2CC92EFD5195}"/>
              </a:ext>
            </a:extLst>
          </p:cNvPr>
          <p:cNvGraphicFramePr>
            <a:graphicFrameLocks noGrp="1"/>
          </p:cNvGraphicFramePr>
          <p:nvPr>
            <p:ph sz="quarter" idx="4294967295"/>
            <p:extLst>
              <p:ext uri="{D42A27DB-BD31-4B8C-83A1-F6EECF244321}">
                <p14:modId xmlns:p14="http://schemas.microsoft.com/office/powerpoint/2010/main" val="3457733713"/>
              </p:ext>
            </p:extLst>
          </p:nvPr>
        </p:nvGraphicFramePr>
        <p:xfrm>
          <a:off x="402639" y="886507"/>
          <a:ext cx="11244679" cy="5084985"/>
        </p:xfrm>
        <a:graphic>
          <a:graphicData uri="http://schemas.openxmlformats.org/drawingml/2006/table">
            <a:tbl>
              <a:tblPr firstRow="1" bandRow="1">
                <a:tableStyleId>{69CF1AB2-1976-4502-BF36-3FF5EA218861}</a:tableStyleId>
              </a:tblPr>
              <a:tblGrid>
                <a:gridCol w="3866912">
                  <a:extLst>
                    <a:ext uri="{9D8B030D-6E8A-4147-A177-3AD203B41FA5}">
                      <a16:colId xmlns:a16="http://schemas.microsoft.com/office/drawing/2014/main" val="3469919761"/>
                    </a:ext>
                  </a:extLst>
                </a:gridCol>
                <a:gridCol w="7377767">
                  <a:extLst>
                    <a:ext uri="{9D8B030D-6E8A-4147-A177-3AD203B41FA5}">
                      <a16:colId xmlns:a16="http://schemas.microsoft.com/office/drawing/2014/main" val="1476858738"/>
                    </a:ext>
                  </a:extLst>
                </a:gridCol>
              </a:tblGrid>
              <a:tr h="1499546">
                <a:tc>
                  <a:txBody>
                    <a:bodyPr/>
                    <a:lstStyle/>
                    <a:p>
                      <a:r>
                        <a:rPr lang="en-US" sz="1800" b="0" dirty="0"/>
                        <a:t>CPAP</a:t>
                      </a:r>
                    </a:p>
                  </a:txBody>
                  <a:tcPr/>
                </a:tc>
                <a:tc>
                  <a:txBody>
                    <a:bodyPr/>
                    <a:lstStyle/>
                    <a:p>
                      <a:pPr marL="342900" indent="-342900">
                        <a:buFont typeface="Arial" panose="020B0604020202020204" pitchFamily="34" charset="0"/>
                        <a:buChar char="•"/>
                      </a:pPr>
                      <a:r>
                        <a:rPr lang="en-US" sz="1800" b="0" dirty="0"/>
                        <a:t>Most common CSA treatment</a:t>
                      </a:r>
                    </a:p>
                    <a:p>
                      <a:pPr marL="342900" indent="-342900">
                        <a:buFont typeface="Arial" panose="020B0604020202020204" pitchFamily="34" charset="0"/>
                        <a:buChar char="•"/>
                      </a:pPr>
                      <a:r>
                        <a:rPr lang="en-US" sz="1800" b="0" dirty="0"/>
                        <a:t>Clinical</a:t>
                      </a:r>
                      <a:r>
                        <a:rPr lang="en-US" sz="1800" b="0" baseline="0" dirty="0"/>
                        <a:t> trials demonstrated i</a:t>
                      </a:r>
                      <a:r>
                        <a:rPr lang="en-US" sz="1800" b="0" dirty="0"/>
                        <a:t>mprovement in AHI and EF </a:t>
                      </a:r>
                    </a:p>
                    <a:p>
                      <a:pPr marL="342900" indent="-342900">
                        <a:buFont typeface="Arial" panose="020B0604020202020204" pitchFamily="34" charset="0"/>
                        <a:buChar char="•"/>
                      </a:pPr>
                      <a:r>
                        <a:rPr lang="en-US" sz="1800" b="0" dirty="0"/>
                        <a:t>CANPAP showed no improvement in QoL or M&amp;M</a:t>
                      </a:r>
                      <a:r>
                        <a:rPr lang="en-US" sz="1800" b="0" baseline="0" dirty="0"/>
                        <a:t> and was s</a:t>
                      </a:r>
                      <a:r>
                        <a:rPr lang="en-US" sz="1800" b="0" dirty="0"/>
                        <a:t>topped early for safety</a:t>
                      </a:r>
                    </a:p>
                    <a:p>
                      <a:pPr marL="342900" indent="-342900">
                        <a:buFont typeface="Arial" panose="020B0604020202020204" pitchFamily="34" charset="0"/>
                        <a:buChar char="•"/>
                      </a:pPr>
                      <a:r>
                        <a:rPr lang="en-US" sz="1800" b="0" dirty="0"/>
                        <a:t>Does not have a</a:t>
                      </a:r>
                      <a:r>
                        <a:rPr lang="en-US" sz="1800" b="0" baseline="0" dirty="0"/>
                        <a:t> </a:t>
                      </a:r>
                      <a:r>
                        <a:rPr lang="en-US" sz="1800" b="0" dirty="0"/>
                        <a:t>FDA approved indication to treat CSA</a:t>
                      </a:r>
                    </a:p>
                  </a:txBody>
                  <a:tcPr/>
                </a:tc>
                <a:extLst>
                  <a:ext uri="{0D108BD9-81ED-4DB2-BD59-A6C34878D82A}">
                    <a16:rowId xmlns:a16="http://schemas.microsoft.com/office/drawing/2014/main" val="3028441566"/>
                  </a:ext>
                </a:extLst>
              </a:tr>
              <a:tr h="1458748">
                <a:tc>
                  <a:txBody>
                    <a:bodyPr/>
                    <a:lstStyle/>
                    <a:p>
                      <a:r>
                        <a:rPr lang="en-US" sz="1800" dirty="0"/>
                        <a:t>ASV (Adaptive servo-ventilation)</a:t>
                      </a:r>
                      <a:endParaRPr lang="en-US" sz="1800" b="1" dirty="0"/>
                    </a:p>
                  </a:txBody>
                  <a:tcPr/>
                </a:tc>
                <a:tc>
                  <a:txBody>
                    <a:bodyPr/>
                    <a:lstStyle/>
                    <a:p>
                      <a:pPr marL="342900" indent="-342900">
                        <a:buFont typeface="Arial" panose="020B0604020202020204" pitchFamily="34" charset="0"/>
                        <a:buChar char="•"/>
                      </a:pPr>
                      <a:r>
                        <a:rPr lang="en-US" sz="1800" dirty="0"/>
                        <a:t>No clear results M&amp;M:  2 large studies (n=1325 and n=758) both neutral (one showed harm in low EF patients)</a:t>
                      </a:r>
                    </a:p>
                    <a:p>
                      <a:pPr marL="342900" indent="-342900">
                        <a:buFont typeface="Arial" panose="020B0604020202020204" pitchFamily="34" charset="0"/>
                        <a:buChar char="•"/>
                      </a:pPr>
                      <a:r>
                        <a:rPr lang="en-US" sz="1800" dirty="0"/>
                        <a:t>Showed</a:t>
                      </a:r>
                      <a:r>
                        <a:rPr lang="en-US" sz="1800" baseline="0" dirty="0"/>
                        <a:t> and i</a:t>
                      </a:r>
                      <a:r>
                        <a:rPr lang="en-US" sz="1800" dirty="0"/>
                        <a:t>mprovement in AHI but no improvement in QoL</a:t>
                      </a:r>
                    </a:p>
                    <a:p>
                      <a:pPr marL="342900" indent="-342900">
                        <a:buFont typeface="Arial" panose="020B0604020202020204" pitchFamily="34" charset="0"/>
                        <a:buChar char="•"/>
                      </a:pPr>
                      <a:r>
                        <a:rPr lang="en-US" sz="1800" b="1" u="sng" dirty="0"/>
                        <a:t>Still has a black box warning </a:t>
                      </a:r>
                      <a:r>
                        <a:rPr lang="en-US" sz="1800" dirty="0"/>
                        <a:t>and Class III recommendation against use in patients with EF &lt; 45%</a:t>
                      </a:r>
                    </a:p>
                  </a:txBody>
                  <a:tcPr/>
                </a:tc>
                <a:extLst>
                  <a:ext uri="{0D108BD9-81ED-4DB2-BD59-A6C34878D82A}">
                    <a16:rowId xmlns:a16="http://schemas.microsoft.com/office/drawing/2014/main" val="1464811632"/>
                  </a:ext>
                </a:extLst>
              </a:tr>
              <a:tr h="933679">
                <a:tc>
                  <a:txBody>
                    <a:bodyPr/>
                    <a:lstStyle/>
                    <a:p>
                      <a:r>
                        <a:rPr lang="en-US" sz="1800" dirty="0"/>
                        <a:t>Oxygen Therapy</a:t>
                      </a:r>
                      <a:endParaRPr lang="en-US" sz="1800" b="1" dirty="0"/>
                    </a:p>
                  </a:txBody>
                  <a:tcPr/>
                </a:tc>
                <a:tc>
                  <a:txBody>
                    <a:bodyPr/>
                    <a:lstStyle/>
                    <a:p>
                      <a:pPr marL="342900" indent="-342900">
                        <a:buFont typeface="Arial" panose="020B0604020202020204" pitchFamily="34" charset="0"/>
                        <a:buChar char="•"/>
                      </a:pPr>
                      <a:r>
                        <a:rPr lang="en-US" sz="1800" dirty="0"/>
                        <a:t>Small randomized studies show improvement in AHI, but no improvements in arousals or daytime sleepiness</a:t>
                      </a:r>
                    </a:p>
                    <a:p>
                      <a:pPr marL="342900" indent="-342900">
                        <a:buFont typeface="Arial" panose="020B0604020202020204" pitchFamily="34" charset="0"/>
                        <a:buChar char="•"/>
                      </a:pPr>
                      <a:r>
                        <a:rPr lang="en-US" sz="1800" b="0" dirty="0"/>
                        <a:t>Does not have a</a:t>
                      </a:r>
                      <a:r>
                        <a:rPr lang="en-US" sz="1800" b="0" baseline="0" dirty="0"/>
                        <a:t> </a:t>
                      </a:r>
                      <a:r>
                        <a:rPr lang="en-US" sz="1800" b="0" dirty="0"/>
                        <a:t>FDA approved indication to treat CSA</a:t>
                      </a:r>
                    </a:p>
                  </a:txBody>
                  <a:tcPr/>
                </a:tc>
                <a:extLst>
                  <a:ext uri="{0D108BD9-81ED-4DB2-BD59-A6C34878D82A}">
                    <a16:rowId xmlns:a16="http://schemas.microsoft.com/office/drawing/2014/main" val="3784866654"/>
                  </a:ext>
                </a:extLst>
              </a:tr>
              <a:tr h="933679">
                <a:tc>
                  <a:txBody>
                    <a:bodyPr/>
                    <a:lstStyle/>
                    <a:p>
                      <a:r>
                        <a:rPr lang="en-US" sz="1800" b="0" dirty="0"/>
                        <a:t>Medications</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b="0" dirty="0"/>
                        <a:t>Acetazolamide</a:t>
                      </a:r>
                    </a:p>
                    <a:p>
                      <a:pPr marL="342900" indent="-342900">
                        <a:buFont typeface="Arial" panose="020B0604020202020204" pitchFamily="34" charset="0"/>
                        <a:buChar char="•"/>
                      </a:pPr>
                      <a:r>
                        <a:rPr lang="en-US" sz="1800" b="0" dirty="0"/>
                        <a:t>Theophylline</a:t>
                      </a:r>
                    </a:p>
                    <a:p>
                      <a:pPr marL="342900" indent="-342900">
                        <a:buFont typeface="Arial" panose="020B0604020202020204" pitchFamily="34" charset="0"/>
                        <a:buChar char="•"/>
                      </a:pPr>
                      <a:r>
                        <a:rPr lang="en-US" sz="1800" b="0" dirty="0"/>
                        <a:t>Buspirone</a:t>
                      </a:r>
                    </a:p>
                  </a:txBody>
                  <a:tcPr/>
                </a:tc>
                <a:tc>
                  <a:txBody>
                    <a:bodyPr/>
                    <a:lstStyle/>
                    <a:p>
                      <a:pPr marL="342900" indent="-342900">
                        <a:buFont typeface="Arial" panose="020B0604020202020204" pitchFamily="34" charset="0"/>
                        <a:buChar char="•"/>
                      </a:pPr>
                      <a:r>
                        <a:rPr lang="en-US" sz="1800" b="0" dirty="0"/>
                        <a:t>Studied in short (&lt;3 month) studies with &lt; 20 patients</a:t>
                      </a:r>
                    </a:p>
                    <a:p>
                      <a:pPr marL="342900" indent="-342900">
                        <a:buFont typeface="Arial" panose="020B0604020202020204" pitchFamily="34" charset="0"/>
                        <a:buChar char="•"/>
                      </a:pPr>
                      <a:r>
                        <a:rPr lang="en-US" sz="1800" b="0" dirty="0"/>
                        <a:t>Does not have a</a:t>
                      </a:r>
                      <a:r>
                        <a:rPr lang="en-US" sz="1800" b="0" baseline="0" dirty="0"/>
                        <a:t> </a:t>
                      </a:r>
                      <a:r>
                        <a:rPr lang="en-US" sz="1800" b="0" dirty="0"/>
                        <a:t>FDA approved indication to treat CSA</a:t>
                      </a:r>
                    </a:p>
                    <a:p>
                      <a:pPr marL="342900" indent="-342900">
                        <a:buFont typeface="Arial" panose="020B0604020202020204" pitchFamily="34" charset="0"/>
                        <a:buChar char="•"/>
                      </a:pPr>
                      <a:r>
                        <a:rPr lang="en-US" sz="1800" b="0" dirty="0"/>
                        <a:t>Buspirone only studied in 8 patients for 2 weeks currently</a:t>
                      </a:r>
                    </a:p>
                  </a:txBody>
                  <a:tcPr/>
                </a:tc>
                <a:extLst>
                  <a:ext uri="{0D108BD9-81ED-4DB2-BD59-A6C34878D82A}">
                    <a16:rowId xmlns:a16="http://schemas.microsoft.com/office/drawing/2014/main" val="1272480206"/>
                  </a:ext>
                </a:extLst>
              </a:tr>
            </a:tbl>
          </a:graphicData>
        </a:graphic>
      </p:graphicFrame>
      <p:sp>
        <p:nvSpPr>
          <p:cNvPr id="8" name="Rectangle 7">
            <a:extLst>
              <a:ext uri="{FF2B5EF4-FFF2-40B4-BE49-F238E27FC236}">
                <a16:creationId xmlns:a16="http://schemas.microsoft.com/office/drawing/2014/main" id="{366D902E-90ED-49B1-8A1C-496A1185A8EC}"/>
              </a:ext>
            </a:extLst>
          </p:cNvPr>
          <p:cNvSpPr/>
          <p:nvPr/>
        </p:nvSpPr>
        <p:spPr>
          <a:xfrm>
            <a:off x="338841" y="5971492"/>
            <a:ext cx="11308477" cy="5078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63E"/>
                </a:solidFill>
                <a:effectLst/>
                <a:uLnTx/>
                <a:uFillTx/>
                <a:latin typeface="Calibri" panose="020F0502020204030204"/>
                <a:ea typeface="+mn-ea"/>
                <a:cs typeface="+mn-cs"/>
              </a:rPr>
              <a:t>Aurora et al., SLEEP 2012;35:17-40; Costanzo, et al., JACC 2015; 65: 72-84</a:t>
            </a:r>
            <a:r>
              <a:rPr kumimoji="0" lang="pt-BR" sz="900" b="0" i="0" u="none" strike="noStrike" kern="1200" cap="none" spc="0" normalizeH="0" baseline="0" noProof="0" dirty="0">
                <a:ln>
                  <a:noFill/>
                </a:ln>
                <a:solidFill>
                  <a:srgbClr val="33363E"/>
                </a:solidFill>
                <a:effectLst/>
                <a:uLnTx/>
                <a:uFillTx/>
                <a:latin typeface="Calibri" panose="020F0502020204030204"/>
                <a:ea typeface="+mn-ea"/>
                <a:cs typeface="+mn-cs"/>
              </a:rPr>
              <a:t>; </a:t>
            </a:r>
            <a:r>
              <a:rPr kumimoji="0" lang="en-US" sz="900" b="0" i="0" u="none" strike="noStrike" kern="1200" cap="none" spc="0" normalizeH="0" baseline="0" noProof="0" dirty="0" err="1">
                <a:ln>
                  <a:noFill/>
                </a:ln>
                <a:solidFill>
                  <a:srgbClr val="33363E"/>
                </a:solidFill>
                <a:effectLst/>
                <a:uLnTx/>
                <a:uFillTx/>
                <a:latin typeface="Calibri" panose="020F0502020204030204"/>
                <a:ea typeface="+mn-ea"/>
                <a:cs typeface="+mn-cs"/>
              </a:rPr>
              <a:t>Sepehrvand</a:t>
            </a:r>
            <a:r>
              <a:rPr kumimoji="0" lang="en-US" sz="900" b="0" i="0" u="none" strike="noStrike" kern="1200" cap="none" spc="0" normalizeH="0" baseline="0" noProof="0" dirty="0">
                <a:ln>
                  <a:noFill/>
                </a:ln>
                <a:solidFill>
                  <a:srgbClr val="33363E"/>
                </a:solidFill>
                <a:effectLst/>
                <a:uLnTx/>
                <a:uFillTx/>
                <a:latin typeface="Calibri" panose="020F0502020204030204"/>
                <a:ea typeface="+mn-ea"/>
                <a:cs typeface="+mn-cs"/>
              </a:rPr>
              <a:t>, et al. JACC 2016; 4: </a:t>
            </a:r>
            <a:r>
              <a:rPr lang="en-US" sz="900" dirty="0">
                <a:solidFill>
                  <a:srgbClr val="33363E"/>
                </a:solidFill>
              </a:rPr>
              <a:t>783-790. Bradley TD, et al. N </a:t>
            </a:r>
            <a:r>
              <a:rPr lang="en-US" sz="900" dirty="0" err="1">
                <a:solidFill>
                  <a:srgbClr val="33363E"/>
                </a:solidFill>
              </a:rPr>
              <a:t>Engl</a:t>
            </a:r>
            <a:r>
              <a:rPr lang="en-US" sz="900" dirty="0">
                <a:solidFill>
                  <a:srgbClr val="33363E"/>
                </a:solidFill>
              </a:rPr>
              <a:t> J Med 2005;353:2025-33; Cowie MR et al. New </a:t>
            </a:r>
            <a:r>
              <a:rPr lang="en-US" sz="900" dirty="0" err="1">
                <a:solidFill>
                  <a:srgbClr val="33363E"/>
                </a:solidFill>
              </a:rPr>
              <a:t>Engl</a:t>
            </a:r>
            <a:r>
              <a:rPr lang="en-US" sz="900" dirty="0">
                <a:solidFill>
                  <a:srgbClr val="33363E"/>
                </a:solidFill>
              </a:rPr>
              <a:t> J Med 2015; 373:1095-1105. Aurora et al. J Clin Sleep Med 2016; 12:757-761</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33363E"/>
              </a:solidFill>
              <a:effectLst/>
              <a:uLnTx/>
              <a:uFillTx/>
              <a:latin typeface="Calibri" panose="020F0502020204030204"/>
              <a:ea typeface="+mn-ea"/>
              <a:cs typeface="+mn-cs"/>
            </a:endParaRPr>
          </a:p>
        </p:txBody>
      </p:sp>
      <p:sp>
        <p:nvSpPr>
          <p:cNvPr id="4" name="Slide Number Placeholder 3">
            <a:extLst>
              <a:ext uri="{FF2B5EF4-FFF2-40B4-BE49-F238E27FC236}">
                <a16:creationId xmlns:a16="http://schemas.microsoft.com/office/drawing/2014/main" id="{C5F373B6-E209-B561-0E53-EDEC23382E4B}"/>
              </a:ext>
            </a:extLst>
          </p:cNvPr>
          <p:cNvSpPr>
            <a:spLocks noGrp="1"/>
          </p:cNvSpPr>
          <p:nvPr>
            <p:ph type="sldNum" sz="quarter" idx="12"/>
          </p:nvPr>
        </p:nvSpPr>
        <p:spPr/>
        <p:txBody>
          <a:bodyPr/>
          <a:lstStyle/>
          <a:p>
            <a:fld id="{21D51F98-DEF0-4E23-AE94-24E7CFC19B28}" type="slidenum">
              <a:rPr lang="en-US" smtClean="0"/>
              <a:t>21</a:t>
            </a:fld>
            <a:endParaRPr lang="en-US"/>
          </a:p>
        </p:txBody>
      </p:sp>
      <p:sp>
        <p:nvSpPr>
          <p:cNvPr id="7" name="Footer Placeholder 5">
            <a:extLst>
              <a:ext uri="{FF2B5EF4-FFF2-40B4-BE49-F238E27FC236}">
                <a16:creationId xmlns:a16="http://schemas.microsoft.com/office/drawing/2014/main" id="{36E0F663-6331-C3F9-8691-0C4729A07880}"/>
              </a:ext>
            </a:extLst>
          </p:cNvPr>
          <p:cNvSpPr>
            <a:spLocks noGrp="1"/>
          </p:cNvSpPr>
          <p:nvPr>
            <p:ph type="ftr" sz="quarter" idx="11"/>
          </p:nvPr>
        </p:nvSpPr>
        <p:spPr>
          <a:xfrm>
            <a:off x="3684598" y="6459785"/>
            <a:ext cx="4822804" cy="365125"/>
          </a:xfrm>
        </p:spPr>
        <p:txBody>
          <a:bodyPr/>
          <a:lstStyle/>
          <a:p>
            <a:r>
              <a:rPr lang="en-US" dirty="0"/>
              <a:t>MAF1937 Rev E</a:t>
            </a:r>
          </a:p>
        </p:txBody>
      </p:sp>
    </p:spTree>
    <p:extLst>
      <p:ext uri="{BB962C8B-B14F-4D97-AF65-F5344CB8AC3E}">
        <p14:creationId xmlns:p14="http://schemas.microsoft.com/office/powerpoint/2010/main" val="88649139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286544" y="240277"/>
            <a:ext cx="11618912" cy="828675"/>
          </a:xfrm>
        </p:spPr>
        <p:txBody>
          <a:bodyPr>
            <a:noAutofit/>
          </a:bodyPr>
          <a:lstStyle/>
          <a:p>
            <a:r>
              <a:rPr lang="en-US" sz="3200" b="1" dirty="0">
                <a:solidFill>
                  <a:schemeClr val="accent2"/>
                </a:solidFill>
                <a:latin typeface="+mn-lt"/>
              </a:rPr>
              <a:t>Positive Airway Pressure (PAP) Devices were Designed to Treat OSA</a:t>
            </a:r>
            <a:br>
              <a:rPr lang="en-US" sz="2800" b="1" dirty="0">
                <a:solidFill>
                  <a:schemeClr val="accent2"/>
                </a:solidFill>
                <a:latin typeface="+mn-lt"/>
              </a:rPr>
            </a:br>
            <a:r>
              <a:rPr lang="en-US" sz="2400" b="1" dirty="0">
                <a:solidFill>
                  <a:schemeClr val="accent2"/>
                </a:solidFill>
                <a:latin typeface="+mn-lt"/>
              </a:rPr>
              <a:t>In CSA, PAP has limited effectiveness data, compliance and tolerance issues</a:t>
            </a:r>
            <a:endParaRPr lang="en-US" sz="2800" b="1" dirty="0">
              <a:solidFill>
                <a:schemeClr val="accent2"/>
              </a:solidFill>
              <a:latin typeface="+mn-lt"/>
            </a:endParaRPr>
          </a:p>
        </p:txBody>
      </p:sp>
      <p:sp>
        <p:nvSpPr>
          <p:cNvPr id="8" name="TextBox 7"/>
          <p:cNvSpPr txBox="1"/>
          <p:nvPr/>
        </p:nvSpPr>
        <p:spPr>
          <a:xfrm>
            <a:off x="4219358" y="1068952"/>
            <a:ext cx="7686098" cy="5298886"/>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33363E"/>
                </a:solidFill>
                <a:effectLst/>
                <a:uLnTx/>
                <a:uFillTx/>
                <a:latin typeface="Calibri" panose="020F0502020204030204"/>
                <a:ea typeface="+mn-ea"/>
                <a:cs typeface="+mn-cs"/>
              </a:rPr>
              <a:t>Positive airway pressure therapies have been shown to reduce AHI but have not shown improvements in arousals, REM Sleep or quality of life in a randomized clinical trial</a:t>
            </a:r>
            <a:r>
              <a:rPr kumimoji="0" lang="en-US" sz="2000" b="0" i="0" u="none" strike="noStrike" kern="1200" cap="none" spc="0" normalizeH="0" baseline="30000" noProof="0" dirty="0">
                <a:ln>
                  <a:noFill/>
                </a:ln>
                <a:solidFill>
                  <a:srgbClr val="33363E"/>
                </a:solidFill>
                <a:effectLst/>
                <a:uLnTx/>
                <a:uFillTx/>
                <a:latin typeface="Calibri" panose="020F0502020204030204"/>
                <a:ea typeface="+mn-ea"/>
                <a:cs typeface="+mn-cs"/>
              </a:rPr>
              <a:t>1</a:t>
            </a:r>
            <a:endParaRPr kumimoji="0" lang="en-US" sz="2000" b="0" i="0" u="none" strike="noStrike" kern="1200" cap="none" spc="0" normalizeH="0" baseline="0" noProof="0" dirty="0">
              <a:ln>
                <a:noFill/>
              </a:ln>
              <a:solidFill>
                <a:srgbClr val="33363E"/>
              </a:solidFill>
              <a:effectLst/>
              <a:uLnTx/>
              <a:uFillTx/>
              <a:latin typeface="Calibri" panose="020F0502020204030204"/>
              <a:ea typeface="+mn-ea"/>
              <a:cs typeface="+mn-cs"/>
            </a:endParaRP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33363E"/>
                </a:solidFill>
                <a:effectLst/>
                <a:uLnTx/>
                <a:uFillTx/>
                <a:latin typeface="Calibri" panose="020F0502020204030204"/>
                <a:ea typeface="+mn-ea"/>
                <a:cs typeface="+mn-cs"/>
              </a:rPr>
              <a:t>Many patients are unable to tolerate PAP due to a range of challenges:</a:t>
            </a:r>
            <a:r>
              <a:rPr kumimoji="0" lang="en-US" b="0" i="0" u="none" strike="noStrike" kern="1200" cap="none" spc="0" normalizeH="0" baseline="30000" noProof="0" dirty="0">
                <a:ln>
                  <a:noFill/>
                </a:ln>
                <a:solidFill>
                  <a:srgbClr val="33363E"/>
                </a:solidFill>
                <a:effectLst/>
                <a:uLnTx/>
                <a:uFillTx/>
                <a:latin typeface="Calibri" panose="020F0502020204030204"/>
                <a:ea typeface="+mn-ea"/>
                <a:cs typeface="+mn-cs"/>
              </a:rPr>
              <a:t>2</a:t>
            </a:r>
            <a:endParaRPr kumimoji="0" lang="en-US" b="0" i="0" u="none" strike="noStrike" kern="1200" cap="none" spc="0" normalizeH="0" baseline="0" noProof="0" dirty="0">
              <a:ln>
                <a:noFill/>
              </a:ln>
              <a:solidFill>
                <a:srgbClr val="33363E"/>
              </a:solidFill>
              <a:effectLst/>
              <a:uLnTx/>
              <a:uFillTx/>
              <a:latin typeface="Calibri" panose="020F0502020204030204"/>
              <a:ea typeface="+mn-ea"/>
              <a:cs typeface="+mn-cs"/>
            </a:endParaRPr>
          </a:p>
          <a:p>
            <a:pPr marL="742950" marR="0" lvl="1" indent="-285750" algn="l" defTabSz="914400" rtl="0" eaLnBrk="1" fontAlgn="auto" latinLnBrk="0" hangingPunct="1">
              <a:lnSpc>
                <a:spcPct val="100000"/>
              </a:lnSpc>
              <a:spcBef>
                <a:spcPts val="400"/>
              </a:spcBef>
              <a:spcAft>
                <a:spcPts val="0"/>
              </a:spcAft>
              <a:buClrTx/>
              <a:buSzTx/>
              <a:buFont typeface="Arial" panose="020B0604020202020204" pitchFamily="34" charset="0"/>
              <a:buChar char="•"/>
              <a:tabLst/>
              <a:defRPr/>
            </a:pPr>
            <a:r>
              <a:rPr kumimoji="0" lang="en-US" b="0" i="0" u="none" strike="noStrike" kern="1200" cap="none" spc="0" normalizeH="0" baseline="0" noProof="0" dirty="0">
                <a:ln>
                  <a:noFill/>
                </a:ln>
                <a:solidFill>
                  <a:srgbClr val="33363E"/>
                </a:solidFill>
                <a:effectLst/>
                <a:uLnTx/>
                <a:uFillTx/>
                <a:latin typeface="Calibri" panose="020F0502020204030204"/>
                <a:ea typeface="+mn-ea"/>
                <a:cs typeface="+mn-cs"/>
              </a:rPr>
              <a:t>Mask discomfort</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b="0" i="0" u="none" strike="noStrike" kern="1200" cap="none" spc="0" normalizeH="0" baseline="0" noProof="0" dirty="0">
                <a:ln>
                  <a:noFill/>
                </a:ln>
                <a:solidFill>
                  <a:srgbClr val="33363E"/>
                </a:solidFill>
                <a:effectLst/>
                <a:uLnTx/>
                <a:uFillTx/>
                <a:latin typeface="Calibri" panose="020F0502020204030204"/>
                <a:ea typeface="+mn-ea"/>
                <a:cs typeface="+mn-cs"/>
              </a:rPr>
              <a:t>Mask leakage</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b="0" i="0" u="none" strike="noStrike" kern="1200" cap="none" spc="0" normalizeH="0" baseline="0" noProof="0" dirty="0">
                <a:ln>
                  <a:noFill/>
                </a:ln>
                <a:solidFill>
                  <a:srgbClr val="33363E"/>
                </a:solidFill>
                <a:effectLst/>
                <a:uLnTx/>
                <a:uFillTx/>
                <a:latin typeface="Calibri" panose="020F0502020204030204"/>
                <a:ea typeface="+mn-ea"/>
                <a:cs typeface="+mn-cs"/>
              </a:rPr>
              <a:t>Pressure intolerance</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b="0" i="0" u="none" strike="noStrike" kern="1200" cap="none" spc="0" normalizeH="0" baseline="0" noProof="0" dirty="0">
                <a:ln>
                  <a:noFill/>
                </a:ln>
                <a:solidFill>
                  <a:srgbClr val="33363E"/>
                </a:solidFill>
                <a:effectLst/>
                <a:uLnTx/>
                <a:uFillTx/>
                <a:latin typeface="Calibri" panose="020F0502020204030204"/>
                <a:ea typeface="+mn-ea"/>
                <a:cs typeface="+mn-cs"/>
              </a:rPr>
              <a:t>Skin Irritation</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b="0" i="0" u="none" strike="noStrike" kern="1200" cap="none" spc="0" normalizeH="0" baseline="0" noProof="0" dirty="0">
                <a:ln>
                  <a:noFill/>
                </a:ln>
                <a:solidFill>
                  <a:srgbClr val="33363E"/>
                </a:solidFill>
                <a:effectLst/>
                <a:uLnTx/>
                <a:uFillTx/>
                <a:latin typeface="Calibri" panose="020F0502020204030204"/>
                <a:ea typeface="+mn-ea"/>
                <a:cs typeface="+mn-cs"/>
              </a:rPr>
              <a:t>Nasal congestion</a:t>
            </a:r>
          </a:p>
          <a:p>
            <a:pPr marL="342900" marR="0" lvl="0" indent="-34290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33363E"/>
                </a:solidFill>
                <a:effectLst/>
                <a:uLnTx/>
                <a:uFillTx/>
                <a:latin typeface="Calibri" panose="020F0502020204030204"/>
                <a:ea typeface="+mn-ea"/>
                <a:cs typeface="+mn-cs"/>
              </a:rPr>
              <a:t>25-50% of patients refuse or are unable to tolerate these therapies</a:t>
            </a:r>
            <a:r>
              <a:rPr kumimoji="0" lang="en-US" sz="2000" b="0" i="0" u="none" strike="noStrike" kern="1200" cap="none" spc="0" normalizeH="0" baseline="30000" noProof="0" dirty="0">
                <a:ln>
                  <a:noFill/>
                </a:ln>
                <a:solidFill>
                  <a:srgbClr val="33363E"/>
                </a:solidFill>
                <a:effectLst/>
                <a:uLnTx/>
                <a:uFillTx/>
                <a:latin typeface="Calibri" panose="020F0502020204030204"/>
                <a:ea typeface="+mn-ea"/>
                <a:cs typeface="+mn-cs"/>
              </a:rPr>
              <a:t>3,4</a:t>
            </a:r>
            <a:endParaRPr kumimoji="0" lang="en-US" sz="2000" b="0" i="0" u="none" strike="noStrike" kern="1200" cap="none" spc="0" normalizeH="0" baseline="0" noProof="0" dirty="0">
              <a:ln>
                <a:noFill/>
              </a:ln>
              <a:solidFill>
                <a:srgbClr val="33363E"/>
              </a:solidFill>
              <a:effectLst/>
              <a:uLnTx/>
              <a:uFillTx/>
              <a:latin typeface="Calibri" panose="020F0502020204030204"/>
              <a:ea typeface="+mn-ea"/>
              <a:cs typeface="+mn-cs"/>
            </a:endParaRPr>
          </a:p>
          <a:p>
            <a:pPr marL="342900" marR="0" lvl="0" indent="-34290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33363E"/>
                </a:solidFill>
                <a:effectLst/>
                <a:uLnTx/>
                <a:uFillTx/>
                <a:latin typeface="Calibri" panose="020F0502020204030204"/>
                <a:ea typeface="+mn-ea"/>
                <a:cs typeface="+mn-cs"/>
              </a:rPr>
              <a:t>40-60% are non-compliant to even a minimal bar of 4 hours/night, 5 nights/week.</a:t>
            </a:r>
            <a:r>
              <a:rPr kumimoji="0" lang="en-US" sz="2000" b="0" i="0" u="none" strike="noStrike" kern="1200" cap="none" spc="0" normalizeH="0" baseline="30000" noProof="0" dirty="0">
                <a:ln>
                  <a:noFill/>
                </a:ln>
                <a:solidFill>
                  <a:srgbClr val="33363E"/>
                </a:solidFill>
                <a:effectLst/>
                <a:uLnTx/>
                <a:uFillTx/>
                <a:latin typeface="Calibri" panose="020F0502020204030204"/>
                <a:ea typeface="+mn-ea"/>
                <a:cs typeface="+mn-cs"/>
              </a:rPr>
              <a:t>3,4</a:t>
            </a:r>
          </a:p>
          <a:p>
            <a:pPr marL="342900" marR="0" lvl="0" indent="-34290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33363E"/>
                </a:solidFill>
                <a:effectLst/>
                <a:uLnTx/>
                <a:uFillTx/>
                <a:latin typeface="Calibri" panose="020F0502020204030204"/>
                <a:ea typeface="+mn-ea"/>
                <a:cs typeface="+mn-cs"/>
              </a:rPr>
              <a:t>Randomized clinical trials have also revealed safety concerns for PAP therapies in patients with reduced left ventricular ejection fraction (LVEF)</a:t>
            </a:r>
            <a:r>
              <a:rPr kumimoji="0" lang="en-US" sz="2000" b="0" i="0" u="none" strike="noStrike" kern="1200" cap="none" spc="0" normalizeH="0" baseline="30000" noProof="0" dirty="0">
                <a:ln>
                  <a:noFill/>
                </a:ln>
                <a:solidFill>
                  <a:srgbClr val="33363E"/>
                </a:solidFill>
                <a:effectLst/>
                <a:uLnTx/>
                <a:uFillTx/>
                <a:latin typeface="Calibri" panose="020F0502020204030204"/>
                <a:ea typeface="+mn-ea"/>
                <a:cs typeface="+mn-cs"/>
              </a:rPr>
              <a:t> 5</a:t>
            </a:r>
            <a:endParaRPr kumimoji="0" lang="en-US" sz="2000" b="0" i="0" u="none" strike="noStrike" kern="1200" cap="none" spc="0" normalizeH="0" baseline="0" noProof="0" dirty="0">
              <a:ln>
                <a:noFill/>
              </a:ln>
              <a:solidFill>
                <a:srgbClr val="33363E"/>
              </a:solidFill>
              <a:effectLst/>
              <a:uLnTx/>
              <a:uFillTx/>
              <a:latin typeface="Calibri" panose="020F0502020204030204"/>
              <a:ea typeface="+mn-ea"/>
              <a:cs typeface="+mn-cs"/>
            </a:endParaRPr>
          </a:p>
        </p:txBody>
      </p:sp>
      <p:pic>
        <p:nvPicPr>
          <p:cNvPr id="7" name="Picture 6"/>
          <p:cNvPicPr>
            <a:picLocks noChangeAspect="1"/>
          </p:cNvPicPr>
          <p:nvPr/>
        </p:nvPicPr>
        <p:blipFill rotWithShape="1">
          <a:blip r:embed="rId2" cstate="hqprint">
            <a:extLst>
              <a:ext uri="{28A0092B-C50C-407E-A947-70E740481C1C}">
                <a14:useLocalDpi xmlns:a14="http://schemas.microsoft.com/office/drawing/2010/main"/>
              </a:ext>
            </a:extLst>
          </a:blip>
          <a:srcRect t="-1" b="7673"/>
          <a:stretch/>
        </p:blipFill>
        <p:spPr>
          <a:xfrm>
            <a:off x="428242" y="1372891"/>
            <a:ext cx="2486025" cy="1669955"/>
          </a:xfrm>
          <a:prstGeom prst="rect">
            <a:avLst/>
          </a:prstGeom>
        </p:spPr>
      </p:pic>
      <p:sp>
        <p:nvSpPr>
          <p:cNvPr id="9" name="TextBox 8"/>
          <p:cNvSpPr txBox="1"/>
          <p:nvPr/>
        </p:nvSpPr>
        <p:spPr>
          <a:xfrm>
            <a:off x="7188625" y="2631329"/>
            <a:ext cx="3045906" cy="1323439"/>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33363E"/>
                </a:solidFill>
                <a:effectLst/>
                <a:uLnTx/>
                <a:uFillTx/>
                <a:latin typeface="Calibri" panose="020F0502020204030204"/>
                <a:ea typeface="+mn-ea"/>
                <a:cs typeface="+mn-cs"/>
              </a:rPr>
              <a:t>Nasal drying</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33363E"/>
                </a:solidFill>
                <a:effectLst/>
                <a:uLnTx/>
                <a:uFillTx/>
                <a:latin typeface="Calibri" panose="020F0502020204030204"/>
                <a:ea typeface="+mn-ea"/>
                <a:cs typeface="+mn-cs"/>
              </a:rPr>
              <a:t>Nosebleed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33363E"/>
                </a:solidFill>
                <a:effectLst/>
                <a:uLnTx/>
                <a:uFillTx/>
                <a:latin typeface="Calibri" panose="020F0502020204030204"/>
                <a:ea typeface="+mn-ea"/>
                <a:cs typeface="+mn-cs"/>
              </a:rPr>
              <a:t>Claustrophobia</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33363E"/>
                </a:solidFill>
                <a:effectLst/>
                <a:uLnTx/>
                <a:uFillTx/>
                <a:latin typeface="Calibri" panose="020F0502020204030204"/>
                <a:ea typeface="+mn-ea"/>
                <a:cs typeface="+mn-cs"/>
              </a:rPr>
              <a:t>Bed partner disruptio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33363E"/>
                </a:solidFill>
                <a:effectLst/>
                <a:uLnTx/>
                <a:uFillTx/>
                <a:latin typeface="Calibri" panose="020F0502020204030204"/>
                <a:ea typeface="+mn-ea"/>
                <a:cs typeface="+mn-cs"/>
              </a:rPr>
              <a:t>Challenge to intimacy </a:t>
            </a:r>
          </a:p>
        </p:txBody>
      </p:sp>
      <p:pic>
        <p:nvPicPr>
          <p:cNvPr id="150530" name="Picture 2" descr="Image result for CPAP"/>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1293686" y="3293048"/>
            <a:ext cx="2509493" cy="1669955"/>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5"/>
          <p:cNvSpPr/>
          <p:nvPr/>
        </p:nvSpPr>
        <p:spPr>
          <a:xfrm>
            <a:off x="185330" y="5592922"/>
            <a:ext cx="11821340" cy="707886"/>
          </a:xfrm>
          <a:prstGeom prst="rect">
            <a:avLst/>
          </a:prstGeom>
        </p:spPr>
        <p:txBody>
          <a:bodyPr wrap="square">
            <a:spAutoFit/>
          </a:bodyPr>
          <a:lstStyle/>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kumimoji="0" lang="en-US" sz="800" b="0" i="0" u="none" strike="noStrike" kern="1200" cap="none" spc="0" normalizeH="0" baseline="0" noProof="0" dirty="0">
                <a:ln>
                  <a:noFill/>
                </a:ln>
                <a:effectLst/>
                <a:uLnTx/>
                <a:uFillTx/>
                <a:latin typeface="Calibri" panose="020F0502020204030204"/>
                <a:ea typeface="+mn-ea"/>
                <a:cs typeface="+mn-cs"/>
              </a:rPr>
              <a:t>Bradley TD, et al. N </a:t>
            </a:r>
            <a:r>
              <a:rPr kumimoji="0" lang="en-US" sz="800" b="0" i="0" u="none" strike="noStrike" kern="1200" cap="none" spc="0" normalizeH="0" baseline="0" noProof="0" dirty="0" err="1">
                <a:ln>
                  <a:noFill/>
                </a:ln>
                <a:effectLst/>
                <a:uLnTx/>
                <a:uFillTx/>
                <a:latin typeface="Calibri" panose="020F0502020204030204"/>
                <a:ea typeface="+mn-ea"/>
                <a:cs typeface="+mn-cs"/>
              </a:rPr>
              <a:t>Engl</a:t>
            </a:r>
            <a:r>
              <a:rPr kumimoji="0" lang="en-US" sz="800" b="0" i="0" u="none" strike="noStrike" kern="1200" cap="none" spc="0" normalizeH="0" baseline="0" noProof="0" dirty="0">
                <a:ln>
                  <a:noFill/>
                </a:ln>
                <a:effectLst/>
                <a:uLnTx/>
                <a:uFillTx/>
                <a:latin typeface="Calibri" panose="020F0502020204030204"/>
                <a:ea typeface="+mn-ea"/>
                <a:cs typeface="+mn-cs"/>
              </a:rPr>
              <a:t> J Med 2005;353:2025-33 </a:t>
            </a:r>
            <a:endParaRPr lang="en-US" sz="800" dirty="0">
              <a:latin typeface="Calibri" panose="020F0502020204030204"/>
            </a:endParaRP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kumimoji="0" lang="en-US" sz="800" b="0" i="0" u="none" strike="noStrike" kern="1200" cap="none" spc="0" normalizeH="0" baseline="0" noProof="0" dirty="0">
                <a:ln>
                  <a:noFill/>
                </a:ln>
                <a:effectLst/>
                <a:uLnTx/>
                <a:uFillTx/>
                <a:latin typeface="Calibri" panose="020F0502020204030204"/>
                <a:ea typeface="+mn-ea"/>
                <a:cs typeface="+mn-cs"/>
              </a:rPr>
              <a:t>https://www.mayoclinic.org/diseases-conditions/sleep-apnea/in-depth/cpap/art-20044164  </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kumimoji="0" lang="en-US" sz="800" b="0" i="0" u="none" strike="noStrike" kern="1200" cap="none" spc="0" normalizeH="0" baseline="0" noProof="0" dirty="0" err="1">
                <a:ln>
                  <a:noFill/>
                </a:ln>
                <a:effectLst/>
                <a:uLnTx/>
                <a:uFillTx/>
                <a:latin typeface="Calibri" panose="020F0502020204030204"/>
                <a:ea typeface="+mn-ea"/>
                <a:cs typeface="+mn-cs"/>
              </a:rPr>
              <a:t>Takama</a:t>
            </a:r>
            <a:r>
              <a:rPr kumimoji="0" lang="en-US" sz="800" b="0" i="0" u="none" strike="noStrike" kern="1200" cap="none" spc="0" normalizeH="0" baseline="0" noProof="0" dirty="0">
                <a:ln>
                  <a:noFill/>
                </a:ln>
                <a:effectLst/>
                <a:uLnTx/>
                <a:uFillTx/>
                <a:latin typeface="Calibri" panose="020F0502020204030204"/>
                <a:ea typeface="+mn-ea"/>
                <a:cs typeface="+mn-cs"/>
              </a:rPr>
              <a:t> N, </a:t>
            </a:r>
            <a:r>
              <a:rPr kumimoji="0" lang="en-US" sz="800" b="0" i="0" u="none" strike="noStrike" kern="1200" cap="none" spc="0" normalizeH="0" baseline="0" noProof="0" dirty="0" err="1">
                <a:ln>
                  <a:noFill/>
                </a:ln>
                <a:effectLst/>
                <a:uLnTx/>
                <a:uFillTx/>
                <a:latin typeface="Calibri" panose="020F0502020204030204"/>
                <a:ea typeface="+mn-ea"/>
                <a:cs typeface="+mn-cs"/>
              </a:rPr>
              <a:t>Kurabayashi</a:t>
            </a:r>
            <a:r>
              <a:rPr kumimoji="0" lang="en-US" sz="800" b="0" i="0" u="none" strike="noStrike" kern="1200" cap="none" spc="0" normalizeH="0" baseline="0" noProof="0" dirty="0">
                <a:ln>
                  <a:noFill/>
                </a:ln>
                <a:effectLst/>
                <a:uLnTx/>
                <a:uFillTx/>
                <a:latin typeface="Calibri" panose="020F0502020204030204"/>
                <a:ea typeface="+mn-ea"/>
                <a:cs typeface="+mn-cs"/>
              </a:rPr>
              <a:t> M, Circulation Journal 2012;76:661-7   </a:t>
            </a:r>
            <a:endParaRPr lang="en-US" sz="800" dirty="0">
              <a:latin typeface="Calibri" panose="020F0502020204030204"/>
            </a:endParaRP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kumimoji="0" lang="en-US" sz="800" b="0" i="0" u="none" strike="noStrike" kern="1200" cap="none" spc="0" normalizeH="0" baseline="0" noProof="0" dirty="0" err="1">
                <a:ln>
                  <a:noFill/>
                </a:ln>
                <a:effectLst/>
                <a:uLnTx/>
                <a:uFillTx/>
                <a:latin typeface="Calibri" panose="020F0502020204030204"/>
                <a:ea typeface="+mn-ea"/>
                <a:cs typeface="+mn-cs"/>
              </a:rPr>
              <a:t>Arzt</a:t>
            </a:r>
            <a:r>
              <a:rPr kumimoji="0" lang="en-US" sz="800" b="0" i="0" u="none" strike="noStrike" kern="1200" cap="none" spc="0" normalizeH="0" baseline="0" noProof="0" dirty="0">
                <a:ln>
                  <a:noFill/>
                </a:ln>
                <a:effectLst/>
                <a:uLnTx/>
                <a:uFillTx/>
                <a:latin typeface="Calibri" panose="020F0502020204030204"/>
                <a:ea typeface="+mn-ea"/>
                <a:cs typeface="+mn-cs"/>
              </a:rPr>
              <a:t> M, et al., Circulation 2007; 115:3713-80    </a:t>
            </a:r>
            <a:endParaRPr lang="en-US" sz="800" dirty="0">
              <a:latin typeface="Calibri" panose="020F0502020204030204"/>
            </a:endParaRP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kumimoji="0" lang="en-US" sz="800" b="0" i="0" u="none" strike="noStrike" kern="1200" cap="none" spc="0" normalizeH="0" baseline="0" noProof="0" dirty="0">
                <a:ln>
                  <a:noFill/>
                </a:ln>
                <a:effectLst/>
                <a:uLnTx/>
                <a:uFillTx/>
                <a:latin typeface="Calibri" panose="020F0502020204030204"/>
                <a:ea typeface="+mn-ea"/>
                <a:cs typeface="+mn-cs"/>
              </a:rPr>
              <a:t>Cowie MR et al. New </a:t>
            </a:r>
            <a:r>
              <a:rPr kumimoji="0" lang="en-US" sz="800" b="0" i="0" u="none" strike="noStrike" kern="1200" cap="none" spc="0" normalizeH="0" baseline="0" noProof="0" dirty="0" err="1">
                <a:ln>
                  <a:noFill/>
                </a:ln>
                <a:effectLst/>
                <a:uLnTx/>
                <a:uFillTx/>
                <a:latin typeface="Calibri" panose="020F0502020204030204"/>
                <a:ea typeface="+mn-ea"/>
                <a:cs typeface="+mn-cs"/>
              </a:rPr>
              <a:t>Engl</a:t>
            </a:r>
            <a:r>
              <a:rPr kumimoji="0" lang="en-US" sz="800" b="0" i="0" u="none" strike="noStrike" kern="1200" cap="none" spc="0" normalizeH="0" baseline="0" noProof="0" dirty="0">
                <a:ln>
                  <a:noFill/>
                </a:ln>
                <a:effectLst/>
                <a:uLnTx/>
                <a:uFillTx/>
                <a:latin typeface="Calibri" panose="020F0502020204030204"/>
                <a:ea typeface="+mn-ea"/>
                <a:cs typeface="+mn-cs"/>
              </a:rPr>
              <a:t> J Med 2015; 373:1095-1105</a:t>
            </a:r>
          </a:p>
        </p:txBody>
      </p:sp>
      <p:sp>
        <p:nvSpPr>
          <p:cNvPr id="3" name="Slide Number Placeholder 2">
            <a:extLst>
              <a:ext uri="{FF2B5EF4-FFF2-40B4-BE49-F238E27FC236}">
                <a16:creationId xmlns:a16="http://schemas.microsoft.com/office/drawing/2014/main" id="{4FB05BA8-16E3-4298-7A5B-84989146CEE4}"/>
              </a:ext>
            </a:extLst>
          </p:cNvPr>
          <p:cNvSpPr>
            <a:spLocks noGrp="1"/>
          </p:cNvSpPr>
          <p:nvPr>
            <p:ph type="sldNum" sz="quarter" idx="12"/>
          </p:nvPr>
        </p:nvSpPr>
        <p:spPr/>
        <p:txBody>
          <a:bodyPr/>
          <a:lstStyle/>
          <a:p>
            <a:fld id="{21D51F98-DEF0-4E23-AE94-24E7CFC19B28}" type="slidenum">
              <a:rPr lang="en-US" smtClean="0"/>
              <a:t>22</a:t>
            </a:fld>
            <a:endParaRPr lang="en-US"/>
          </a:p>
        </p:txBody>
      </p:sp>
      <p:sp>
        <p:nvSpPr>
          <p:cNvPr id="10" name="Footer Placeholder 5">
            <a:extLst>
              <a:ext uri="{FF2B5EF4-FFF2-40B4-BE49-F238E27FC236}">
                <a16:creationId xmlns:a16="http://schemas.microsoft.com/office/drawing/2014/main" id="{5E4FF49A-D47C-AC35-EE5C-178DF8CC87E6}"/>
              </a:ext>
            </a:extLst>
          </p:cNvPr>
          <p:cNvSpPr>
            <a:spLocks noGrp="1"/>
          </p:cNvSpPr>
          <p:nvPr>
            <p:ph type="ftr" sz="quarter" idx="11"/>
          </p:nvPr>
        </p:nvSpPr>
        <p:spPr>
          <a:xfrm>
            <a:off x="3684598" y="6459785"/>
            <a:ext cx="4822804" cy="365125"/>
          </a:xfrm>
        </p:spPr>
        <p:txBody>
          <a:bodyPr/>
          <a:lstStyle/>
          <a:p>
            <a:r>
              <a:rPr lang="en-US" dirty="0"/>
              <a:t>MAF1937 Rev E</a:t>
            </a:r>
          </a:p>
        </p:txBody>
      </p:sp>
    </p:spTree>
    <p:extLst>
      <p:ext uri="{BB962C8B-B14F-4D97-AF65-F5344CB8AC3E}">
        <p14:creationId xmlns:p14="http://schemas.microsoft.com/office/powerpoint/2010/main" val="27989244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idx="4294967295"/>
          </p:nvPr>
        </p:nvSpPr>
        <p:spPr>
          <a:xfrm>
            <a:off x="573088" y="244475"/>
            <a:ext cx="11618912" cy="828675"/>
          </a:xfrm>
        </p:spPr>
        <p:txBody>
          <a:bodyPr>
            <a:normAutofit/>
          </a:bodyPr>
          <a:lstStyle/>
          <a:p>
            <a:r>
              <a:rPr lang="en-US" sz="4000" b="1" dirty="0">
                <a:solidFill>
                  <a:schemeClr val="accent2"/>
                </a:solidFill>
                <a:latin typeface="+mn-lt"/>
              </a:rPr>
              <a:t>Agenda</a:t>
            </a:r>
          </a:p>
        </p:txBody>
      </p:sp>
      <p:sp>
        <p:nvSpPr>
          <p:cNvPr id="6" name="Content Placeholder 5"/>
          <p:cNvSpPr>
            <a:spLocks noGrp="1"/>
          </p:cNvSpPr>
          <p:nvPr>
            <p:ph sz="quarter" idx="4294967295"/>
          </p:nvPr>
        </p:nvSpPr>
        <p:spPr>
          <a:xfrm>
            <a:off x="573088" y="1822450"/>
            <a:ext cx="11618912" cy="3911600"/>
          </a:xfrm>
        </p:spPr>
        <p:txBody>
          <a:bodyPr/>
          <a:lstStyle/>
          <a:p>
            <a:pPr>
              <a:spcBef>
                <a:spcPts val="3600"/>
              </a:spcBef>
            </a:pPr>
            <a:r>
              <a:rPr lang="en-US" dirty="0"/>
              <a:t>Sleep Apnea and Cardiovascular Disease</a:t>
            </a:r>
          </a:p>
          <a:p>
            <a:pPr>
              <a:spcBef>
                <a:spcPts val="3600"/>
              </a:spcBef>
            </a:pPr>
            <a:r>
              <a:rPr lang="en-US" dirty="0"/>
              <a:t>Central Sleep Apnea Background</a:t>
            </a:r>
          </a:p>
          <a:p>
            <a:pPr>
              <a:spcBef>
                <a:spcPts val="3600"/>
              </a:spcBef>
            </a:pPr>
            <a:r>
              <a:rPr lang="en-US" b="1" dirty="0"/>
              <a:t>The </a:t>
            </a:r>
            <a:r>
              <a:rPr lang="en-US" b="1" dirty="0" err="1"/>
              <a:t>rem</a:t>
            </a:r>
            <a:r>
              <a:rPr lang="en-US" dirty="0" err="1"/>
              <a:t>edē</a:t>
            </a:r>
            <a:r>
              <a:rPr lang="en-US" dirty="0"/>
              <a:t>® </a:t>
            </a:r>
            <a:r>
              <a:rPr lang="en-US" b="1" dirty="0"/>
              <a:t>System Therapy</a:t>
            </a:r>
          </a:p>
          <a:p>
            <a:pPr>
              <a:spcBef>
                <a:spcPts val="3600"/>
              </a:spcBef>
            </a:pPr>
            <a:r>
              <a:rPr lang="en-US" dirty="0"/>
              <a:t>Clinical Trial Results</a:t>
            </a:r>
          </a:p>
          <a:p>
            <a:pPr marL="0" indent="0">
              <a:spcBef>
                <a:spcPts val="3600"/>
              </a:spcBef>
              <a:buNone/>
            </a:pPr>
            <a:endParaRPr lang="en-US" dirty="0"/>
          </a:p>
        </p:txBody>
      </p:sp>
      <p:sp>
        <p:nvSpPr>
          <p:cNvPr id="8" name="Rounded Rectangle 7"/>
          <p:cNvSpPr/>
          <p:nvPr/>
        </p:nvSpPr>
        <p:spPr>
          <a:xfrm>
            <a:off x="449263" y="3148965"/>
            <a:ext cx="5212627" cy="731520"/>
          </a:xfrm>
          <a:prstGeom prst="roundRect">
            <a:avLst/>
          </a:prstGeom>
          <a:solidFill>
            <a:schemeClr val="tx2">
              <a:lumMod val="20000"/>
              <a:lumOff val="80000"/>
              <a:alpha val="3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3" name="Slide Number Placeholder 2">
            <a:extLst>
              <a:ext uri="{FF2B5EF4-FFF2-40B4-BE49-F238E27FC236}">
                <a16:creationId xmlns:a16="http://schemas.microsoft.com/office/drawing/2014/main" id="{52D1436C-39DD-5B95-963E-B1458491865E}"/>
              </a:ext>
            </a:extLst>
          </p:cNvPr>
          <p:cNvSpPr>
            <a:spLocks noGrp="1"/>
          </p:cNvSpPr>
          <p:nvPr>
            <p:ph type="sldNum" sz="quarter" idx="12"/>
          </p:nvPr>
        </p:nvSpPr>
        <p:spPr/>
        <p:txBody>
          <a:bodyPr/>
          <a:lstStyle/>
          <a:p>
            <a:fld id="{21D51F98-DEF0-4E23-AE94-24E7CFC19B28}" type="slidenum">
              <a:rPr lang="en-US" smtClean="0"/>
              <a:t>23</a:t>
            </a:fld>
            <a:endParaRPr lang="en-US"/>
          </a:p>
        </p:txBody>
      </p:sp>
      <p:sp>
        <p:nvSpPr>
          <p:cNvPr id="7" name="Footer Placeholder 5">
            <a:extLst>
              <a:ext uri="{FF2B5EF4-FFF2-40B4-BE49-F238E27FC236}">
                <a16:creationId xmlns:a16="http://schemas.microsoft.com/office/drawing/2014/main" id="{1F1E361C-9B91-31DE-0F0A-DA535189BE79}"/>
              </a:ext>
            </a:extLst>
          </p:cNvPr>
          <p:cNvSpPr>
            <a:spLocks noGrp="1"/>
          </p:cNvSpPr>
          <p:nvPr>
            <p:ph type="ftr" sz="quarter" idx="11"/>
          </p:nvPr>
        </p:nvSpPr>
        <p:spPr>
          <a:xfrm>
            <a:off x="3684598" y="6459785"/>
            <a:ext cx="4822804" cy="365125"/>
          </a:xfrm>
        </p:spPr>
        <p:txBody>
          <a:bodyPr/>
          <a:lstStyle/>
          <a:p>
            <a:r>
              <a:rPr lang="en-US" dirty="0"/>
              <a:t>MAF1937 Rev E</a:t>
            </a:r>
          </a:p>
        </p:txBody>
      </p:sp>
    </p:spTree>
    <p:extLst>
      <p:ext uri="{BB962C8B-B14F-4D97-AF65-F5344CB8AC3E}">
        <p14:creationId xmlns:p14="http://schemas.microsoft.com/office/powerpoint/2010/main" val="161041697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EB3AC619-396E-B546-90E7-01ED8DF5ED33}"/>
              </a:ext>
            </a:extLst>
          </p:cNvPr>
          <p:cNvSpPr>
            <a:spLocks noGrp="1"/>
          </p:cNvSpPr>
          <p:nvPr>
            <p:ph type="title" idx="4294967295"/>
          </p:nvPr>
        </p:nvSpPr>
        <p:spPr>
          <a:xfrm>
            <a:off x="378506" y="223838"/>
            <a:ext cx="11110913" cy="688975"/>
          </a:xfrm>
        </p:spPr>
        <p:txBody>
          <a:bodyPr>
            <a:normAutofit fontScale="90000"/>
          </a:bodyPr>
          <a:lstStyle/>
          <a:p>
            <a:r>
              <a:rPr lang="en-US" b="1" dirty="0">
                <a:solidFill>
                  <a:schemeClr val="accent2"/>
                </a:solidFill>
              </a:rPr>
              <a:t>The rem</a:t>
            </a:r>
            <a:r>
              <a:rPr lang="en-US" dirty="0">
                <a:solidFill>
                  <a:schemeClr val="accent2"/>
                </a:solidFill>
              </a:rPr>
              <a:t>edē</a:t>
            </a:r>
            <a:r>
              <a:rPr lang="en-US" b="1" baseline="30000" dirty="0">
                <a:solidFill>
                  <a:schemeClr val="accent2"/>
                </a:solidFill>
              </a:rPr>
              <a:t>®</a:t>
            </a:r>
            <a:r>
              <a:rPr lang="en-US" b="1" dirty="0">
                <a:solidFill>
                  <a:schemeClr val="accent2"/>
                </a:solidFill>
              </a:rPr>
              <a:t> System brief statement</a:t>
            </a:r>
          </a:p>
        </p:txBody>
      </p:sp>
      <p:sp>
        <p:nvSpPr>
          <p:cNvPr id="6" name="Content Placeholder 5">
            <a:extLst>
              <a:ext uri="{FF2B5EF4-FFF2-40B4-BE49-F238E27FC236}">
                <a16:creationId xmlns:a16="http://schemas.microsoft.com/office/drawing/2014/main" id="{2A3E9B9F-22B7-6645-BB2A-B8F9B7087A2D}"/>
              </a:ext>
            </a:extLst>
          </p:cNvPr>
          <p:cNvSpPr txBox="1">
            <a:spLocks/>
          </p:cNvSpPr>
          <p:nvPr/>
        </p:nvSpPr>
        <p:spPr bwMode="auto">
          <a:xfrm>
            <a:off x="378506" y="1080750"/>
            <a:ext cx="11434988" cy="53790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rmAutofit/>
          </a:bodyPr>
          <a:lstStyle>
            <a:lvl1pPr marL="342900" indent="-342900" algn="l" rtl="0" eaLnBrk="0" fontAlgn="base" hangingPunct="0">
              <a:spcBef>
                <a:spcPct val="20000"/>
              </a:spcBef>
              <a:spcAft>
                <a:spcPct val="0"/>
              </a:spcAft>
              <a:buClr>
                <a:srgbClr val="0487C9"/>
              </a:buClr>
              <a:buFont typeface="Arial" pitchFamily="34" charset="0"/>
              <a:buChar char="•"/>
              <a:defRPr sz="2000" baseline="0">
                <a:solidFill>
                  <a:schemeClr val="tx1"/>
                </a:solidFill>
                <a:latin typeface="Century Gothic" charset="0"/>
                <a:ea typeface="MS PGothic" panose="020B0600070205080204" pitchFamily="34" charset="-128"/>
                <a:cs typeface="Geneva" charset="-128"/>
              </a:defRPr>
            </a:lvl1pPr>
            <a:lvl2pPr marL="628650" indent="-277813" algn="l" rtl="0" eaLnBrk="0" fontAlgn="base" hangingPunct="0">
              <a:spcBef>
                <a:spcPct val="20000"/>
              </a:spcBef>
              <a:spcAft>
                <a:spcPct val="0"/>
              </a:spcAft>
              <a:buClr>
                <a:srgbClr val="0487C9"/>
              </a:buClr>
              <a:buFont typeface="Arial" pitchFamily="34" charset="0"/>
              <a:buChar char="•"/>
              <a:tabLst/>
              <a:defRPr sz="2000" baseline="0">
                <a:solidFill>
                  <a:schemeClr val="tx1"/>
                </a:solidFill>
                <a:latin typeface="Century Gothic" charset="0"/>
                <a:ea typeface="Century Gothic" charset="0"/>
                <a:cs typeface="Century Gothic" charset="0"/>
              </a:defRPr>
            </a:lvl2pPr>
            <a:lvl3pPr marL="1031875" marR="0" indent="-174625" algn="l" defTabSz="914400" rtl="0" eaLnBrk="0" fontAlgn="base" latinLnBrk="0" hangingPunct="0">
              <a:lnSpc>
                <a:spcPct val="100000"/>
              </a:lnSpc>
              <a:spcBef>
                <a:spcPct val="20000"/>
              </a:spcBef>
              <a:spcAft>
                <a:spcPct val="0"/>
              </a:spcAft>
              <a:buClr>
                <a:srgbClr val="0487C9"/>
              </a:buClr>
              <a:buSzTx/>
              <a:buFont typeface="Arial" charset="0"/>
              <a:buChar char="•"/>
              <a:tabLst/>
              <a:defRPr sz="2000" baseline="0">
                <a:solidFill>
                  <a:schemeClr val="tx1"/>
                </a:solidFill>
                <a:latin typeface="Century Gothic" charset="0"/>
                <a:ea typeface="Century Gothic" charset="0"/>
                <a:cs typeface="Century Gothic" charset="0"/>
              </a:defRPr>
            </a:lvl3pPr>
            <a:lvl4pPr marL="1373188" indent="-228600" algn="l" rtl="0" eaLnBrk="0" fontAlgn="base" hangingPunct="0">
              <a:spcBef>
                <a:spcPct val="20000"/>
              </a:spcBef>
              <a:spcAft>
                <a:spcPct val="0"/>
              </a:spcAft>
              <a:buClr>
                <a:srgbClr val="0487C9"/>
              </a:buClr>
              <a:buFont typeface="Arial" pitchFamily="34" charset="0"/>
              <a:buChar char="•"/>
              <a:tabLst/>
              <a:defRPr sz="1800" baseline="0">
                <a:solidFill>
                  <a:schemeClr val="tx1"/>
                </a:solidFill>
                <a:latin typeface="Century Gothic" charset="0"/>
                <a:ea typeface="Century Gothic" charset="0"/>
                <a:cs typeface="Century Gothic" charset="0"/>
              </a:defRPr>
            </a:lvl4pPr>
            <a:lvl5pPr marL="1600200" indent="-227013" algn="l" rtl="0" eaLnBrk="0" fontAlgn="base" hangingPunct="0">
              <a:spcBef>
                <a:spcPct val="20000"/>
              </a:spcBef>
              <a:spcAft>
                <a:spcPct val="0"/>
              </a:spcAft>
              <a:buClr>
                <a:srgbClr val="0487C9"/>
              </a:buClr>
              <a:buFont typeface="Arial" pitchFamily="34" charset="0"/>
              <a:buChar char="•"/>
              <a:tabLst/>
              <a:defRPr sz="1800" baseline="0">
                <a:solidFill>
                  <a:schemeClr val="tx1"/>
                </a:solidFill>
                <a:latin typeface="Century Gothic" charset="0"/>
                <a:ea typeface="Century Gothic" charset="0"/>
                <a:cs typeface="Century Gothic" charset="0"/>
              </a:defRPr>
            </a:lvl5pPr>
            <a:lvl6pPr marL="2514600" indent="-228600" algn="l" rtl="0" eaLnBrk="1" fontAlgn="base" hangingPunct="1">
              <a:spcBef>
                <a:spcPct val="20000"/>
              </a:spcBef>
              <a:spcAft>
                <a:spcPct val="0"/>
              </a:spcAft>
              <a:buClr>
                <a:srgbClr val="0487C9"/>
              </a:buClr>
              <a:buChar char="»"/>
              <a:defRPr sz="2000">
                <a:solidFill>
                  <a:schemeClr val="tx1"/>
                </a:solidFill>
                <a:latin typeface="+mn-lt"/>
                <a:ea typeface="Geneva" charset="-128"/>
              </a:defRPr>
            </a:lvl6pPr>
            <a:lvl7pPr marL="2971800" indent="-228600" algn="l" rtl="0" eaLnBrk="1" fontAlgn="base" hangingPunct="1">
              <a:spcBef>
                <a:spcPct val="20000"/>
              </a:spcBef>
              <a:spcAft>
                <a:spcPct val="0"/>
              </a:spcAft>
              <a:buClr>
                <a:srgbClr val="0487C9"/>
              </a:buClr>
              <a:buChar char="»"/>
              <a:defRPr sz="2000">
                <a:solidFill>
                  <a:schemeClr val="tx1"/>
                </a:solidFill>
                <a:latin typeface="+mn-lt"/>
                <a:ea typeface="Geneva" charset="-128"/>
              </a:defRPr>
            </a:lvl7pPr>
            <a:lvl8pPr marL="3429000" indent="-228600" algn="l" rtl="0" eaLnBrk="1" fontAlgn="base" hangingPunct="1">
              <a:spcBef>
                <a:spcPct val="20000"/>
              </a:spcBef>
              <a:spcAft>
                <a:spcPct val="0"/>
              </a:spcAft>
              <a:buClr>
                <a:srgbClr val="0487C9"/>
              </a:buClr>
              <a:buChar char="»"/>
              <a:defRPr sz="2000">
                <a:solidFill>
                  <a:schemeClr val="tx1"/>
                </a:solidFill>
                <a:latin typeface="+mn-lt"/>
                <a:ea typeface="Geneva" charset="-128"/>
              </a:defRPr>
            </a:lvl8pPr>
            <a:lvl9pPr marL="3886200" indent="-228600" algn="l" rtl="0" eaLnBrk="1" fontAlgn="base" hangingPunct="1">
              <a:spcBef>
                <a:spcPct val="20000"/>
              </a:spcBef>
              <a:spcAft>
                <a:spcPct val="0"/>
              </a:spcAft>
              <a:buClr>
                <a:srgbClr val="0487C9"/>
              </a:buClr>
              <a:buChar char="»"/>
              <a:defRPr sz="2000">
                <a:solidFill>
                  <a:schemeClr val="tx1"/>
                </a:solidFill>
                <a:latin typeface="+mn-lt"/>
                <a:ea typeface="Geneva" charset="-128"/>
              </a:defRPr>
            </a:lvl9pPr>
          </a:lstStyle>
          <a:p>
            <a:pPr marL="0" indent="0" algn="just">
              <a:spcBef>
                <a:spcPts val="0"/>
              </a:spcBef>
              <a:buFont typeface="Arial" pitchFamily="34" charset="0"/>
              <a:buNone/>
              <a:tabLst>
                <a:tab pos="457200" algn="l"/>
                <a:tab pos="457200" algn="l"/>
              </a:tabLst>
            </a:pPr>
            <a:r>
              <a:rPr lang="en-US" sz="1300" b="1" kern="0" dirty="0">
                <a:latin typeface="Century Gothic" panose="020B0502020202020204" pitchFamily="34" charset="0"/>
                <a:ea typeface="Times New Roman" panose="02020603050405020304" pitchFamily="18" charset="0"/>
                <a:cs typeface="Times New Roman" panose="02020603050405020304" pitchFamily="18" charset="0"/>
              </a:rPr>
              <a:t>Indications for Use</a:t>
            </a:r>
          </a:p>
          <a:p>
            <a:pPr marL="0" indent="0" algn="just">
              <a:spcBef>
                <a:spcPts val="0"/>
              </a:spcBef>
              <a:buFont typeface="Arial" pitchFamily="34" charset="0"/>
              <a:buNone/>
              <a:tabLst>
                <a:tab pos="457200" algn="l"/>
                <a:tab pos="457200" algn="l"/>
              </a:tabLst>
            </a:pPr>
            <a:endParaRPr lang="en-US" sz="1300" b="1" kern="0" dirty="0">
              <a:latin typeface="Century Gothic" panose="020B0502020202020204" pitchFamily="34" charset="0"/>
              <a:ea typeface="Times New Roman" panose="02020603050405020304" pitchFamily="18" charset="0"/>
              <a:cs typeface="Times New Roman" panose="02020603050405020304" pitchFamily="18" charset="0"/>
            </a:endParaRPr>
          </a:p>
          <a:p>
            <a:pPr marL="0" marR="0" indent="0" fontAlgn="ctr">
              <a:lnSpc>
                <a:spcPct val="100000"/>
              </a:lnSpc>
              <a:spcBef>
                <a:spcPts val="0"/>
              </a:spcBef>
              <a:spcAft>
                <a:spcPts val="750"/>
              </a:spcAft>
              <a:buNone/>
            </a:pPr>
            <a:r>
              <a:rPr lang="en-US" sz="1300" dirty="0">
                <a:solidFill>
                  <a:schemeClr val="tx1">
                    <a:lumMod val="50000"/>
                  </a:schemeClr>
                </a:solidFill>
                <a:latin typeface="Century Gothic" panose="020B0502020202020204" pitchFamily="34" charset="0"/>
                <a:ea typeface="Times New Roman" panose="02020603050405020304" pitchFamily="18" charset="0"/>
                <a:cs typeface="Times New Roman" panose="02020603050405020304" pitchFamily="18" charset="0"/>
              </a:rPr>
              <a:t>The </a:t>
            </a:r>
            <a:r>
              <a:rPr lang="en-US" sz="1300" b="1" dirty="0">
                <a:solidFill>
                  <a:schemeClr val="tx1">
                    <a:lumMod val="50000"/>
                  </a:schemeClr>
                </a:solidFill>
                <a:latin typeface="Century Gothic" panose="020B0502020202020204" pitchFamily="34" charset="0"/>
                <a:ea typeface="Times New Roman" panose="02020603050405020304" pitchFamily="18" charset="0"/>
                <a:cs typeface="Times New Roman" panose="02020603050405020304" pitchFamily="18" charset="0"/>
              </a:rPr>
              <a:t>rem</a:t>
            </a:r>
            <a:r>
              <a:rPr lang="en-US" sz="1300" dirty="0">
                <a:solidFill>
                  <a:schemeClr val="tx1">
                    <a:lumMod val="50000"/>
                  </a:schemeClr>
                </a:solidFill>
                <a:latin typeface="Century Gothic" panose="020B0502020202020204" pitchFamily="34" charset="0"/>
                <a:ea typeface="Times New Roman" panose="02020603050405020304" pitchFamily="18" charset="0"/>
                <a:cs typeface="Times New Roman" panose="02020603050405020304" pitchFamily="18" charset="0"/>
              </a:rPr>
              <a:t>edē</a:t>
            </a:r>
            <a:r>
              <a:rPr lang="en-US" sz="1300" baseline="30000" dirty="0">
                <a:solidFill>
                  <a:schemeClr val="tx1">
                    <a:lumMod val="50000"/>
                  </a:schemeClr>
                </a:solidFill>
                <a:latin typeface="Century Gothic" panose="020B0502020202020204" pitchFamily="34" charset="0"/>
                <a:ea typeface="Times New Roman" panose="02020603050405020304" pitchFamily="18" charset="0"/>
                <a:cs typeface="Times New Roman" panose="02020603050405020304" pitchFamily="18" charset="0"/>
              </a:rPr>
              <a:t>®</a:t>
            </a:r>
            <a:r>
              <a:rPr lang="en-US" sz="1300" dirty="0">
                <a:solidFill>
                  <a:schemeClr val="tx1">
                    <a:lumMod val="50000"/>
                  </a:schemeClr>
                </a:solidFill>
                <a:latin typeface="Century Gothic" panose="020B0502020202020204" pitchFamily="34" charset="0"/>
                <a:ea typeface="Times New Roman" panose="02020603050405020304" pitchFamily="18" charset="0"/>
                <a:cs typeface="Times New Roman" panose="02020603050405020304" pitchFamily="18" charset="0"/>
              </a:rPr>
              <a:t> System is indicated for moderate to severe Central Sleep Apnea in adult patients.</a:t>
            </a:r>
          </a:p>
          <a:p>
            <a:pPr marL="0" marR="0" indent="0" fontAlgn="ctr">
              <a:lnSpc>
                <a:spcPct val="100000"/>
              </a:lnSpc>
              <a:spcBef>
                <a:spcPts val="0"/>
              </a:spcBef>
              <a:spcAft>
                <a:spcPts val="750"/>
              </a:spcAft>
              <a:buNone/>
            </a:pPr>
            <a:r>
              <a:rPr lang="en-US" sz="1300" dirty="0">
                <a:solidFill>
                  <a:schemeClr val="tx1">
                    <a:lumMod val="50000"/>
                  </a:schemeClr>
                </a:solidFill>
                <a:latin typeface="Century Gothic" panose="020B0502020202020204" pitchFamily="34" charset="0"/>
                <a:ea typeface="Times New Roman" panose="02020603050405020304" pitchFamily="18" charset="0"/>
                <a:cs typeface="Times New Roman" panose="02020603050405020304" pitchFamily="18" charset="0"/>
              </a:rPr>
              <a:t>Your doctor will need to evaluate your condition to determine if the </a:t>
            </a:r>
            <a:r>
              <a:rPr lang="en-US" sz="1300" b="1" dirty="0">
                <a:solidFill>
                  <a:schemeClr val="tx1">
                    <a:lumMod val="50000"/>
                  </a:schemeClr>
                </a:solidFill>
                <a:latin typeface="Century Gothic" panose="020B0502020202020204" pitchFamily="34" charset="0"/>
                <a:ea typeface="Times New Roman" panose="02020603050405020304" pitchFamily="18" charset="0"/>
                <a:cs typeface="Times New Roman" panose="02020603050405020304" pitchFamily="18" charset="0"/>
              </a:rPr>
              <a:t>rem</a:t>
            </a:r>
            <a:r>
              <a:rPr lang="en-US" sz="1300" dirty="0">
                <a:solidFill>
                  <a:schemeClr val="tx1">
                    <a:lumMod val="50000"/>
                  </a:schemeClr>
                </a:solidFill>
                <a:latin typeface="Century Gothic" panose="020B0502020202020204" pitchFamily="34" charset="0"/>
                <a:ea typeface="Times New Roman" panose="02020603050405020304" pitchFamily="18" charset="0"/>
                <a:cs typeface="Times New Roman" panose="02020603050405020304" pitchFamily="18" charset="0"/>
              </a:rPr>
              <a:t>edē system is right for you.   The </a:t>
            </a:r>
            <a:r>
              <a:rPr lang="en-US" sz="1300" b="1" dirty="0">
                <a:solidFill>
                  <a:schemeClr val="tx1">
                    <a:lumMod val="50000"/>
                  </a:schemeClr>
                </a:solidFill>
                <a:latin typeface="Century Gothic" panose="020B0502020202020204" pitchFamily="34" charset="0"/>
                <a:ea typeface="Times New Roman" panose="02020603050405020304" pitchFamily="18" charset="0"/>
                <a:cs typeface="Times New Roman" panose="02020603050405020304" pitchFamily="18" charset="0"/>
              </a:rPr>
              <a:t>rem</a:t>
            </a:r>
            <a:r>
              <a:rPr lang="en-US" sz="1300" dirty="0">
                <a:solidFill>
                  <a:schemeClr val="tx1">
                    <a:lumMod val="50000"/>
                  </a:schemeClr>
                </a:solidFill>
                <a:latin typeface="Century Gothic" panose="020B0502020202020204" pitchFamily="34" charset="0"/>
                <a:ea typeface="Times New Roman" panose="02020603050405020304" pitchFamily="18" charset="0"/>
                <a:cs typeface="Times New Roman" panose="02020603050405020304" pitchFamily="18" charset="0"/>
              </a:rPr>
              <a:t>edē system is MR Conditional but conditions apply. Please make sure that your physician knows about the conditions and precautions to ensure safety, which can be found in the </a:t>
            </a:r>
            <a:r>
              <a:rPr lang="en-US" sz="1300" b="1" dirty="0">
                <a:solidFill>
                  <a:schemeClr val="tx1">
                    <a:lumMod val="50000"/>
                  </a:schemeClr>
                </a:solidFill>
                <a:latin typeface="Century Gothic" panose="020B0502020202020204" pitchFamily="34" charset="0"/>
                <a:ea typeface="Times New Roman" panose="02020603050405020304" pitchFamily="18" charset="0"/>
                <a:cs typeface="Times New Roman" panose="02020603050405020304" pitchFamily="18" charset="0"/>
              </a:rPr>
              <a:t>rem</a:t>
            </a:r>
            <a:r>
              <a:rPr lang="en-US" sz="1300" dirty="0">
                <a:solidFill>
                  <a:schemeClr val="tx1">
                    <a:lumMod val="50000"/>
                  </a:schemeClr>
                </a:solidFill>
                <a:latin typeface="Century Gothic" panose="020B0502020202020204" pitchFamily="34" charset="0"/>
                <a:ea typeface="Times New Roman" panose="02020603050405020304" pitchFamily="18" charset="0"/>
                <a:cs typeface="Times New Roman" panose="02020603050405020304" pitchFamily="18" charset="0"/>
              </a:rPr>
              <a:t>edē system MRI guidelines manual.  You should not have the </a:t>
            </a:r>
            <a:r>
              <a:rPr lang="en-US" sz="1300" b="1" dirty="0">
                <a:solidFill>
                  <a:schemeClr val="tx1">
                    <a:lumMod val="50000"/>
                  </a:schemeClr>
                </a:solidFill>
                <a:latin typeface="Century Gothic" panose="020B0502020202020204" pitchFamily="34" charset="0"/>
                <a:ea typeface="Times New Roman" panose="02020603050405020304" pitchFamily="18" charset="0"/>
                <a:cs typeface="Times New Roman" panose="02020603050405020304" pitchFamily="18" charset="0"/>
              </a:rPr>
              <a:t>rem</a:t>
            </a:r>
            <a:r>
              <a:rPr lang="en-US" sz="1300" dirty="0">
                <a:solidFill>
                  <a:schemeClr val="tx1">
                    <a:lumMod val="50000"/>
                  </a:schemeClr>
                </a:solidFill>
                <a:latin typeface="Century Gothic" panose="020B0502020202020204" pitchFamily="34" charset="0"/>
                <a:ea typeface="Times New Roman" panose="02020603050405020304" pitchFamily="18" charset="0"/>
                <a:cs typeface="Times New Roman" panose="02020603050405020304" pitchFamily="18" charset="0"/>
              </a:rPr>
              <a:t>edē System implanted if you have an infection and you will not be able to have diathermy (special heat therapies) after implantation. The </a:t>
            </a:r>
            <a:r>
              <a:rPr lang="en-US" sz="1300" b="1" dirty="0">
                <a:solidFill>
                  <a:schemeClr val="tx1">
                    <a:lumMod val="50000"/>
                  </a:schemeClr>
                </a:solidFill>
                <a:latin typeface="Century Gothic" panose="020B0502020202020204" pitchFamily="34" charset="0"/>
                <a:ea typeface="Times New Roman" panose="02020603050405020304" pitchFamily="18" charset="0"/>
                <a:cs typeface="Times New Roman" panose="02020603050405020304" pitchFamily="18" charset="0"/>
              </a:rPr>
              <a:t>rem</a:t>
            </a:r>
            <a:r>
              <a:rPr lang="en-US" sz="1300" dirty="0">
                <a:solidFill>
                  <a:schemeClr val="tx1">
                    <a:lumMod val="50000"/>
                  </a:schemeClr>
                </a:solidFill>
                <a:latin typeface="Century Gothic" panose="020B0502020202020204" pitchFamily="34" charset="0"/>
                <a:ea typeface="Times New Roman" panose="02020603050405020304" pitchFamily="18" charset="0"/>
                <a:cs typeface="Times New Roman" panose="02020603050405020304" pitchFamily="18" charset="0"/>
              </a:rPr>
              <a:t>edē System may be used if you have another stimulation device such as a heart pacemaker or defibrillator; special testing will be needed to ensure the devices are not interacting.  </a:t>
            </a:r>
          </a:p>
          <a:p>
            <a:pPr marL="0" marR="0" indent="0" fontAlgn="ctr">
              <a:lnSpc>
                <a:spcPct val="100000"/>
              </a:lnSpc>
              <a:spcBef>
                <a:spcPts val="0"/>
              </a:spcBef>
              <a:spcAft>
                <a:spcPts val="750"/>
              </a:spcAft>
              <a:buNone/>
            </a:pPr>
            <a:r>
              <a:rPr lang="en-US" sz="1300" dirty="0">
                <a:solidFill>
                  <a:schemeClr val="tx1">
                    <a:lumMod val="50000"/>
                  </a:schemeClr>
                </a:solidFill>
                <a:latin typeface="Century Gothic" panose="020B0502020202020204" pitchFamily="34" charset="0"/>
                <a:ea typeface="Times New Roman" panose="02020603050405020304" pitchFamily="18" charset="0"/>
                <a:cs typeface="Times New Roman" panose="02020603050405020304" pitchFamily="18" charset="0"/>
              </a:rPr>
              <a:t>As with any surgically implanted device, there are risks related to the surgical procedure itself which may include, but are not limited to, pain, swelling, and infection. </a:t>
            </a:r>
          </a:p>
          <a:p>
            <a:pPr marL="0" marR="0" indent="0" fontAlgn="ctr">
              <a:lnSpc>
                <a:spcPct val="100000"/>
              </a:lnSpc>
              <a:spcBef>
                <a:spcPts val="0"/>
              </a:spcBef>
              <a:spcAft>
                <a:spcPts val="750"/>
              </a:spcAft>
              <a:buNone/>
            </a:pPr>
            <a:r>
              <a:rPr lang="en-US" sz="1300" dirty="0">
                <a:solidFill>
                  <a:schemeClr val="tx1">
                    <a:lumMod val="50000"/>
                  </a:schemeClr>
                </a:solidFill>
                <a:latin typeface="Century Gothic" panose="020B0502020202020204" pitchFamily="34" charset="0"/>
                <a:ea typeface="Times New Roman" panose="02020603050405020304" pitchFamily="18" charset="0"/>
                <a:cs typeface="Times New Roman" panose="02020603050405020304" pitchFamily="18" charset="0"/>
              </a:rPr>
              <a:t>Once the therapy is turned on, some patients may experience discomfort from stimulation and/or from the presence of the device. The majority of these events are resolved either on their own or by adjusting the therapy settings. The </a:t>
            </a:r>
            <a:r>
              <a:rPr lang="en-US" sz="1300" b="1" dirty="0">
                <a:solidFill>
                  <a:schemeClr val="tx1">
                    <a:lumMod val="50000"/>
                  </a:schemeClr>
                </a:solidFill>
                <a:latin typeface="Century Gothic" panose="020B0502020202020204" pitchFamily="34" charset="0"/>
                <a:ea typeface="Times New Roman" panose="02020603050405020304" pitchFamily="18" charset="0"/>
                <a:cs typeface="Times New Roman" panose="02020603050405020304" pitchFamily="18" charset="0"/>
              </a:rPr>
              <a:t>rem</a:t>
            </a:r>
            <a:r>
              <a:rPr lang="en-US" sz="1300" dirty="0">
                <a:solidFill>
                  <a:schemeClr val="tx1">
                    <a:lumMod val="50000"/>
                  </a:schemeClr>
                </a:solidFill>
                <a:latin typeface="Century Gothic" panose="020B0502020202020204" pitchFamily="34" charset="0"/>
                <a:ea typeface="Times New Roman" panose="02020603050405020304" pitchFamily="18" charset="0"/>
                <a:cs typeface="Times New Roman" panose="02020603050405020304" pitchFamily="18" charset="0"/>
              </a:rPr>
              <a:t>edē system may not work for everyone. There are additional risks associated with removing your system. If you and your doctor decide to remove the system, another surgery will be required.</a:t>
            </a:r>
          </a:p>
          <a:p>
            <a:pPr marL="0" marR="0" indent="0" fontAlgn="ctr">
              <a:lnSpc>
                <a:spcPct val="100000"/>
              </a:lnSpc>
              <a:spcBef>
                <a:spcPts val="0"/>
              </a:spcBef>
              <a:spcAft>
                <a:spcPts val="750"/>
              </a:spcAft>
              <a:buNone/>
            </a:pPr>
            <a:r>
              <a:rPr lang="en-US" sz="1300" dirty="0">
                <a:solidFill>
                  <a:schemeClr val="tx1">
                    <a:lumMod val="50000"/>
                  </a:schemeClr>
                </a:solidFill>
                <a:latin typeface="Century Gothic" panose="020B0502020202020204" pitchFamily="34" charset="0"/>
                <a:ea typeface="Times New Roman" panose="02020603050405020304" pitchFamily="18" charset="0"/>
                <a:cs typeface="Times New Roman" panose="02020603050405020304" pitchFamily="18" charset="0"/>
              </a:rPr>
              <a:t>Be sure to talk with your doctor so that you thoroughly understand all of the risks and benefits associated with the implantation of the </a:t>
            </a:r>
            <a:r>
              <a:rPr lang="en-US" sz="1300" b="1" dirty="0">
                <a:solidFill>
                  <a:schemeClr val="tx1">
                    <a:lumMod val="50000"/>
                  </a:schemeClr>
                </a:solidFill>
                <a:latin typeface="Century Gothic" panose="020B0502020202020204" pitchFamily="34" charset="0"/>
                <a:ea typeface="Times New Roman" panose="02020603050405020304" pitchFamily="18" charset="0"/>
                <a:cs typeface="Times New Roman" panose="02020603050405020304" pitchFamily="18" charset="0"/>
              </a:rPr>
              <a:t>rem</a:t>
            </a:r>
            <a:r>
              <a:rPr lang="en-US" sz="1300" dirty="0">
                <a:solidFill>
                  <a:schemeClr val="tx1">
                    <a:lumMod val="50000"/>
                  </a:schemeClr>
                </a:solidFill>
                <a:latin typeface="Century Gothic" panose="020B0502020202020204" pitchFamily="34" charset="0"/>
                <a:ea typeface="Times New Roman" panose="02020603050405020304" pitchFamily="18" charset="0"/>
                <a:cs typeface="Times New Roman" panose="02020603050405020304" pitchFamily="18" charset="0"/>
              </a:rPr>
              <a:t>edē System. Rx only. For further information, please visit </a:t>
            </a:r>
            <a:r>
              <a:rPr lang="en-US" sz="1300" b="1" dirty="0">
                <a:solidFill>
                  <a:schemeClr val="tx1">
                    <a:lumMod val="50000"/>
                  </a:schemeClr>
                </a:solidFill>
                <a:latin typeface="Century Gothic" panose="020B0502020202020204" pitchFamily="34" charset="0"/>
                <a:ea typeface="Times New Roman" panose="02020603050405020304" pitchFamily="18" charset="0"/>
                <a:cs typeface="Times New Roman" panose="02020603050405020304" pitchFamily="18" charset="0"/>
              </a:rPr>
              <a:t>rem</a:t>
            </a:r>
            <a:r>
              <a:rPr lang="en-US" sz="1300" dirty="0">
                <a:solidFill>
                  <a:schemeClr val="tx1">
                    <a:lumMod val="50000"/>
                  </a:schemeClr>
                </a:solidFill>
                <a:latin typeface="Century Gothic" panose="020B0502020202020204" pitchFamily="34" charset="0"/>
                <a:ea typeface="Times New Roman" panose="02020603050405020304" pitchFamily="18" charset="0"/>
                <a:cs typeface="Times New Roman" panose="02020603050405020304" pitchFamily="18" charset="0"/>
              </a:rPr>
              <a:t>ede.zoll.com, call +1-952-540-4470 or email info@remede.zoll.com.</a:t>
            </a:r>
          </a:p>
          <a:p>
            <a:pPr marL="0" marR="0" indent="0" fontAlgn="ctr">
              <a:lnSpc>
                <a:spcPct val="100000"/>
              </a:lnSpc>
              <a:spcBef>
                <a:spcPts val="0"/>
              </a:spcBef>
              <a:spcAft>
                <a:spcPts val="750"/>
              </a:spcAft>
              <a:buNone/>
            </a:pPr>
            <a:r>
              <a:rPr lang="en-US" sz="1300" dirty="0">
                <a:solidFill>
                  <a:schemeClr val="tx1">
                    <a:lumMod val="50000"/>
                  </a:schemeClr>
                </a:solidFill>
                <a:latin typeface="Century Gothic" panose="020B0502020202020204" pitchFamily="34" charset="0"/>
                <a:ea typeface="Times New Roman" panose="02020603050405020304" pitchFamily="18" charset="0"/>
                <a:cs typeface="Times New Roman" panose="02020603050405020304" pitchFamily="18" charset="0"/>
              </a:rPr>
              <a:t>The </a:t>
            </a:r>
            <a:r>
              <a:rPr lang="en-US" sz="1300" b="1" dirty="0">
                <a:solidFill>
                  <a:schemeClr val="tx1">
                    <a:lumMod val="50000"/>
                  </a:schemeClr>
                </a:solidFill>
                <a:latin typeface="Century Gothic" panose="020B0502020202020204" pitchFamily="34" charset="0"/>
                <a:ea typeface="Times New Roman" panose="02020603050405020304" pitchFamily="18" charset="0"/>
                <a:cs typeface="Times New Roman" panose="02020603050405020304" pitchFamily="18" charset="0"/>
              </a:rPr>
              <a:t>rem</a:t>
            </a:r>
            <a:r>
              <a:rPr lang="en-US" sz="1300" dirty="0">
                <a:solidFill>
                  <a:schemeClr val="tx1">
                    <a:lumMod val="50000"/>
                  </a:schemeClr>
                </a:solidFill>
                <a:latin typeface="Century Gothic" panose="020B0502020202020204" pitchFamily="34" charset="0"/>
                <a:ea typeface="Times New Roman" panose="02020603050405020304" pitchFamily="18" charset="0"/>
                <a:cs typeface="Times New Roman" panose="02020603050405020304" pitchFamily="18" charset="0"/>
              </a:rPr>
              <a:t>edē</a:t>
            </a:r>
            <a:r>
              <a:rPr lang="en-US" sz="1300" baseline="30000" dirty="0">
                <a:solidFill>
                  <a:schemeClr val="tx1">
                    <a:lumMod val="50000"/>
                  </a:schemeClr>
                </a:solidFill>
                <a:latin typeface="Century Gothic" panose="020B0502020202020204" pitchFamily="34" charset="0"/>
                <a:ea typeface="Times New Roman" panose="02020603050405020304" pitchFamily="18" charset="0"/>
                <a:cs typeface="Times New Roman" panose="02020603050405020304" pitchFamily="18" charset="0"/>
              </a:rPr>
              <a:t>®</a:t>
            </a:r>
            <a:r>
              <a:rPr lang="en-US" sz="1300" dirty="0">
                <a:solidFill>
                  <a:schemeClr val="tx1">
                    <a:lumMod val="50000"/>
                  </a:schemeClr>
                </a:solidFill>
                <a:latin typeface="Century Gothic" panose="020B0502020202020204" pitchFamily="34" charset="0"/>
                <a:ea typeface="Times New Roman" panose="02020603050405020304" pitchFamily="18" charset="0"/>
                <a:cs typeface="Times New Roman" panose="02020603050405020304" pitchFamily="18" charset="0"/>
              </a:rPr>
              <a:t> System, </a:t>
            </a:r>
            <a:r>
              <a:rPr lang="en-US" sz="1300" b="1" dirty="0">
                <a:solidFill>
                  <a:schemeClr val="tx1">
                    <a:lumMod val="50000"/>
                  </a:schemeClr>
                </a:solidFill>
                <a:latin typeface="Century Gothic" panose="020B0502020202020204" pitchFamily="34" charset="0"/>
                <a:ea typeface="Times New Roman" panose="02020603050405020304" pitchFamily="18" charset="0"/>
                <a:cs typeface="Times New Roman" panose="02020603050405020304" pitchFamily="18" charset="0"/>
              </a:rPr>
              <a:t>rem</a:t>
            </a:r>
            <a:r>
              <a:rPr lang="en-US" sz="1300" dirty="0">
                <a:solidFill>
                  <a:schemeClr val="tx1">
                    <a:lumMod val="50000"/>
                  </a:schemeClr>
                </a:solidFill>
                <a:latin typeface="Century Gothic" panose="020B0502020202020204" pitchFamily="34" charset="0"/>
                <a:ea typeface="Times New Roman" panose="02020603050405020304" pitchFamily="18" charset="0"/>
                <a:cs typeface="Times New Roman" panose="02020603050405020304" pitchFamily="18" charset="0"/>
              </a:rPr>
              <a:t>edē</a:t>
            </a:r>
            <a:r>
              <a:rPr lang="en-US" sz="1300" baseline="30000" dirty="0">
                <a:solidFill>
                  <a:schemeClr val="tx1">
                    <a:lumMod val="50000"/>
                  </a:schemeClr>
                </a:solidFill>
                <a:latin typeface="Century Gothic" panose="020B0502020202020204" pitchFamily="34" charset="0"/>
                <a:ea typeface="Times New Roman" panose="02020603050405020304" pitchFamily="18" charset="0"/>
                <a:cs typeface="Times New Roman" panose="02020603050405020304" pitchFamily="18" charset="0"/>
              </a:rPr>
              <a:t>®</a:t>
            </a:r>
            <a:r>
              <a:rPr lang="en-US" sz="1300" dirty="0">
                <a:solidFill>
                  <a:schemeClr val="tx1">
                    <a:lumMod val="50000"/>
                  </a:schemeClr>
                </a:solidFill>
                <a:latin typeface="Century Gothic" panose="020B0502020202020204" pitchFamily="34" charset="0"/>
                <a:ea typeface="Times New Roman" panose="02020603050405020304" pitchFamily="18" charset="0"/>
                <a:cs typeface="Times New Roman" panose="02020603050405020304" pitchFamily="18" charset="0"/>
              </a:rPr>
              <a:t> EL System, and </a:t>
            </a:r>
            <a:r>
              <a:rPr lang="en-US" sz="1300" b="1" dirty="0">
                <a:solidFill>
                  <a:schemeClr val="tx1">
                    <a:lumMod val="50000"/>
                  </a:schemeClr>
                </a:solidFill>
                <a:latin typeface="Century Gothic" panose="020B0502020202020204" pitchFamily="34" charset="0"/>
                <a:ea typeface="Times New Roman" panose="02020603050405020304" pitchFamily="18" charset="0"/>
                <a:cs typeface="Times New Roman" panose="02020603050405020304" pitchFamily="18" charset="0"/>
              </a:rPr>
              <a:t>rem</a:t>
            </a:r>
            <a:r>
              <a:rPr lang="en-US" sz="1300" dirty="0">
                <a:solidFill>
                  <a:schemeClr val="tx1">
                    <a:lumMod val="50000"/>
                  </a:schemeClr>
                </a:solidFill>
                <a:latin typeface="Century Gothic" panose="020B0502020202020204" pitchFamily="34" charset="0"/>
                <a:ea typeface="Times New Roman" panose="02020603050405020304" pitchFamily="18" charset="0"/>
                <a:cs typeface="Times New Roman" panose="02020603050405020304" pitchFamily="18" charset="0"/>
              </a:rPr>
              <a:t>edē</a:t>
            </a:r>
            <a:r>
              <a:rPr lang="en-US" sz="1300" baseline="30000" dirty="0">
                <a:solidFill>
                  <a:schemeClr val="tx1">
                    <a:lumMod val="50000"/>
                  </a:schemeClr>
                </a:solidFill>
                <a:latin typeface="Century Gothic" panose="020B0502020202020204" pitchFamily="34" charset="0"/>
                <a:ea typeface="Times New Roman" panose="02020603050405020304" pitchFamily="18" charset="0"/>
                <a:cs typeface="Times New Roman" panose="02020603050405020304" pitchFamily="18" charset="0"/>
              </a:rPr>
              <a:t>®</a:t>
            </a:r>
            <a:r>
              <a:rPr lang="en-US" sz="1300" dirty="0">
                <a:solidFill>
                  <a:schemeClr val="tx1">
                    <a:lumMod val="50000"/>
                  </a:schemeClr>
                </a:solidFill>
                <a:latin typeface="Century Gothic" panose="020B0502020202020204" pitchFamily="34" charset="0"/>
                <a:ea typeface="Times New Roman" panose="02020603050405020304" pitchFamily="18" charset="0"/>
                <a:cs typeface="Times New Roman" panose="02020603050405020304" pitchFamily="18" charset="0"/>
              </a:rPr>
              <a:t> EL-X System have received FDA approval. The </a:t>
            </a:r>
            <a:r>
              <a:rPr lang="en-US" sz="1300" b="1" dirty="0">
                <a:solidFill>
                  <a:schemeClr val="tx1">
                    <a:lumMod val="50000"/>
                  </a:schemeClr>
                </a:solidFill>
                <a:latin typeface="Century Gothic" panose="020B0502020202020204" pitchFamily="34" charset="0"/>
                <a:ea typeface="Times New Roman" panose="02020603050405020304" pitchFamily="18" charset="0"/>
                <a:cs typeface="Times New Roman" panose="02020603050405020304" pitchFamily="18" charset="0"/>
              </a:rPr>
              <a:t>rem</a:t>
            </a:r>
            <a:r>
              <a:rPr lang="en-US" sz="1300" dirty="0">
                <a:solidFill>
                  <a:schemeClr val="tx1">
                    <a:lumMod val="50000"/>
                  </a:schemeClr>
                </a:solidFill>
                <a:latin typeface="Century Gothic" panose="020B0502020202020204" pitchFamily="34" charset="0"/>
                <a:ea typeface="Times New Roman" panose="02020603050405020304" pitchFamily="18" charset="0"/>
                <a:cs typeface="Times New Roman" panose="02020603050405020304" pitchFamily="18" charset="0"/>
              </a:rPr>
              <a:t>edē</a:t>
            </a:r>
            <a:r>
              <a:rPr lang="en-US" sz="1300" baseline="30000" dirty="0">
                <a:solidFill>
                  <a:schemeClr val="tx1">
                    <a:lumMod val="50000"/>
                  </a:schemeClr>
                </a:solidFill>
                <a:latin typeface="Century Gothic" panose="020B0502020202020204" pitchFamily="34" charset="0"/>
                <a:ea typeface="Times New Roman" panose="02020603050405020304" pitchFamily="18" charset="0"/>
                <a:cs typeface="Times New Roman" panose="02020603050405020304" pitchFamily="18" charset="0"/>
              </a:rPr>
              <a:t>®</a:t>
            </a:r>
            <a:r>
              <a:rPr lang="en-US" sz="1300" dirty="0">
                <a:solidFill>
                  <a:schemeClr val="tx1">
                    <a:lumMod val="50000"/>
                  </a:schemeClr>
                </a:solidFill>
                <a:latin typeface="Century Gothic" panose="020B0502020202020204" pitchFamily="34" charset="0"/>
                <a:ea typeface="Times New Roman" panose="02020603050405020304" pitchFamily="18" charset="0"/>
                <a:cs typeface="Times New Roman" panose="02020603050405020304" pitchFamily="18" charset="0"/>
              </a:rPr>
              <a:t> System model 1001 has received CE Mark approval.</a:t>
            </a:r>
          </a:p>
          <a:p>
            <a:pPr marL="0" marR="0" indent="0" fontAlgn="ctr">
              <a:lnSpc>
                <a:spcPct val="100000"/>
              </a:lnSpc>
              <a:spcBef>
                <a:spcPts val="0"/>
              </a:spcBef>
              <a:spcAft>
                <a:spcPts val="750"/>
              </a:spcAft>
              <a:buNone/>
            </a:pPr>
            <a:r>
              <a:rPr lang="en-US" sz="1300" dirty="0">
                <a:solidFill>
                  <a:schemeClr val="tx1">
                    <a:lumMod val="50000"/>
                  </a:schemeClr>
                </a:solidFill>
                <a:latin typeface="Century Gothic" panose="020B0502020202020204" pitchFamily="34" charset="0"/>
                <a:ea typeface="Times New Roman" panose="02020603050405020304" pitchFamily="18" charset="0"/>
                <a:cs typeface="Times New Roman" panose="02020603050405020304" pitchFamily="18" charset="0"/>
              </a:rPr>
              <a:t>Copyright © 2021 ZOLL Medical Corporation. All rights reserved. Respicardia and </a:t>
            </a:r>
            <a:r>
              <a:rPr lang="en-US" sz="1300" b="1" dirty="0">
                <a:solidFill>
                  <a:schemeClr val="tx1">
                    <a:lumMod val="50000"/>
                  </a:schemeClr>
                </a:solidFill>
                <a:latin typeface="Century Gothic" panose="020B0502020202020204" pitchFamily="34" charset="0"/>
                <a:ea typeface="Times New Roman" panose="02020603050405020304" pitchFamily="18" charset="0"/>
                <a:cs typeface="Times New Roman" panose="02020603050405020304" pitchFamily="18" charset="0"/>
              </a:rPr>
              <a:t>rem</a:t>
            </a:r>
            <a:r>
              <a:rPr lang="en-US" sz="1300" dirty="0">
                <a:solidFill>
                  <a:schemeClr val="tx1">
                    <a:lumMod val="50000"/>
                  </a:schemeClr>
                </a:solidFill>
                <a:latin typeface="Century Gothic" panose="020B0502020202020204" pitchFamily="34" charset="0"/>
                <a:ea typeface="Times New Roman" panose="02020603050405020304" pitchFamily="18" charset="0"/>
                <a:cs typeface="Times New Roman" panose="02020603050405020304" pitchFamily="18" charset="0"/>
              </a:rPr>
              <a:t>edē are registered trademarks of ZOLL Respicardia, Inc. in the United States and/or other countries. ZOLL is a registered trademark of ZOLL Medical Corporation in the United States and/or other countries.</a:t>
            </a:r>
          </a:p>
          <a:p>
            <a:pPr marL="0" indent="0" algn="just">
              <a:spcBef>
                <a:spcPts val="0"/>
              </a:spcBef>
              <a:buFont typeface="Arial" pitchFamily="34" charset="0"/>
              <a:buNone/>
            </a:pPr>
            <a:endParaRPr lang="en-US" sz="1300" kern="0" dirty="0">
              <a:latin typeface="Century Gothic" panose="020B0502020202020204" pitchFamily="34" charset="0"/>
            </a:endParaRPr>
          </a:p>
        </p:txBody>
      </p:sp>
      <p:sp>
        <p:nvSpPr>
          <p:cNvPr id="4" name="Footer Placeholder 5">
            <a:extLst>
              <a:ext uri="{FF2B5EF4-FFF2-40B4-BE49-F238E27FC236}">
                <a16:creationId xmlns:a16="http://schemas.microsoft.com/office/drawing/2014/main" id="{CE12E1BB-153F-64EF-8AE9-7481BD83CC12}"/>
              </a:ext>
            </a:extLst>
          </p:cNvPr>
          <p:cNvSpPr>
            <a:spLocks noGrp="1"/>
          </p:cNvSpPr>
          <p:nvPr>
            <p:ph type="ftr" sz="quarter" idx="11"/>
          </p:nvPr>
        </p:nvSpPr>
        <p:spPr>
          <a:xfrm>
            <a:off x="3684598" y="6459785"/>
            <a:ext cx="4822804" cy="365125"/>
          </a:xfrm>
        </p:spPr>
        <p:txBody>
          <a:bodyPr/>
          <a:lstStyle/>
          <a:p>
            <a:r>
              <a:rPr lang="en-US" dirty="0"/>
              <a:t>MAF1937 Rev E</a:t>
            </a:r>
          </a:p>
        </p:txBody>
      </p:sp>
    </p:spTree>
    <p:extLst>
      <p:ext uri="{BB962C8B-B14F-4D97-AF65-F5344CB8AC3E}">
        <p14:creationId xmlns:p14="http://schemas.microsoft.com/office/powerpoint/2010/main" val="227976313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5B012D0B-8CEB-E912-D8FA-030543B5599D}"/>
              </a:ext>
            </a:extLst>
          </p:cNvPr>
          <p:cNvSpPr>
            <a:spLocks noGrp="1"/>
          </p:cNvSpPr>
          <p:nvPr>
            <p:ph type="sldNum" sz="quarter" idx="12"/>
          </p:nvPr>
        </p:nvSpPr>
        <p:spPr/>
        <p:txBody>
          <a:bodyPr/>
          <a:lstStyle/>
          <a:p>
            <a:fld id="{21D51F98-DEF0-4E23-AE94-24E7CFC19B28}" type="slidenum">
              <a:rPr lang="en-US" smtClean="0"/>
              <a:t>25</a:t>
            </a:fld>
            <a:endParaRPr lang="en-US"/>
          </a:p>
        </p:txBody>
      </p:sp>
      <p:sp>
        <p:nvSpPr>
          <p:cNvPr id="12" name="Title 1">
            <a:extLst>
              <a:ext uri="{FF2B5EF4-FFF2-40B4-BE49-F238E27FC236}">
                <a16:creationId xmlns:a16="http://schemas.microsoft.com/office/drawing/2014/main" id="{EB3AC619-396E-B546-90E7-01ED8DF5ED33}"/>
              </a:ext>
            </a:extLst>
          </p:cNvPr>
          <p:cNvSpPr>
            <a:spLocks noGrp="1"/>
          </p:cNvSpPr>
          <p:nvPr>
            <p:ph type="title" idx="4294967295"/>
          </p:nvPr>
        </p:nvSpPr>
        <p:spPr>
          <a:xfrm>
            <a:off x="410397" y="239292"/>
            <a:ext cx="11344275" cy="603080"/>
          </a:xfrm>
        </p:spPr>
        <p:txBody>
          <a:bodyPr anchor="t">
            <a:normAutofit/>
          </a:bodyPr>
          <a:lstStyle/>
          <a:p>
            <a:r>
              <a:rPr lang="en-US" sz="3200" b="1" dirty="0">
                <a:solidFill>
                  <a:schemeClr val="accent2"/>
                </a:solidFill>
                <a:latin typeface="+mn-lt"/>
              </a:rPr>
              <a:t>Transvenous Phrenic Nerve Stimulation with the </a:t>
            </a:r>
            <a:r>
              <a:rPr kumimoji="0" lang="en-US" sz="3200" b="1" i="0" u="none" strike="noStrike" kern="0" cap="none" spc="0" normalizeH="0" baseline="0" noProof="0" dirty="0">
                <a:ln>
                  <a:noFill/>
                </a:ln>
                <a:solidFill>
                  <a:schemeClr val="accent2"/>
                </a:solidFill>
                <a:effectLst/>
                <a:uLnTx/>
                <a:uFillTx/>
                <a:latin typeface="+mn-lt"/>
                <a:ea typeface="MS PGothic" panose="020B0600070205080204" pitchFamily="34" charset="-128"/>
                <a:cs typeface="Calibri" panose="020F0502020204030204" pitchFamily="34" charset="0"/>
              </a:rPr>
              <a:t>remedē</a:t>
            </a:r>
            <a:r>
              <a:rPr kumimoji="0" lang="en-US" sz="3200" b="1" i="0" u="none" strike="noStrike" kern="0" cap="none" spc="0" normalizeH="0" baseline="30000" noProof="0" dirty="0">
                <a:ln>
                  <a:noFill/>
                </a:ln>
                <a:solidFill>
                  <a:schemeClr val="accent2"/>
                </a:solidFill>
                <a:effectLst/>
                <a:uLnTx/>
                <a:uFillTx/>
                <a:latin typeface="+mn-lt"/>
                <a:ea typeface="MS PGothic" panose="020B0600070205080204" pitchFamily="34" charset="-128"/>
                <a:cs typeface="Calibri" panose="020F0502020204030204" pitchFamily="34" charset="0"/>
              </a:rPr>
              <a:t>®</a:t>
            </a:r>
            <a:r>
              <a:rPr lang="en-US" sz="3200" b="1" dirty="0">
                <a:solidFill>
                  <a:schemeClr val="accent2"/>
                </a:solidFill>
                <a:latin typeface="+mn-lt"/>
              </a:rPr>
              <a:t> System</a:t>
            </a:r>
          </a:p>
        </p:txBody>
      </p:sp>
      <p:sp>
        <p:nvSpPr>
          <p:cNvPr id="15" name="TextBox 14">
            <a:extLst>
              <a:ext uri="{FF2B5EF4-FFF2-40B4-BE49-F238E27FC236}">
                <a16:creationId xmlns:a16="http://schemas.microsoft.com/office/drawing/2014/main" id="{D8440DFE-9569-A448-B30C-030747BAB51A}"/>
              </a:ext>
            </a:extLst>
          </p:cNvPr>
          <p:cNvSpPr txBox="1"/>
          <p:nvPr/>
        </p:nvSpPr>
        <p:spPr>
          <a:xfrm>
            <a:off x="2603731" y="5146510"/>
            <a:ext cx="893240" cy="246221"/>
          </a:xfrm>
          <a:prstGeom prst="rect">
            <a:avLst/>
          </a:prstGeom>
          <a:noFill/>
          <a:effectLst/>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dirty="0">
                <a:ln>
                  <a:noFill/>
                </a:ln>
                <a:solidFill>
                  <a:srgbClr val="000000"/>
                </a:solidFill>
                <a:effectLst>
                  <a:outerShdw blurRad="50800" dist="38100" dir="2700000" algn="tl" rotWithShape="0">
                    <a:srgbClr val="FFFFFF">
                      <a:alpha val="40000"/>
                    </a:srgbClr>
                  </a:outerShdw>
                </a:effectLst>
                <a:uLnTx/>
                <a:uFillTx/>
                <a:latin typeface="Century Gothic" panose="020B0502020202020204" pitchFamily="34" charset="0"/>
                <a:ea typeface="ＭＳ Ｐゴシック" pitchFamily="-106" charset="-128"/>
                <a:cs typeface="+mn-cs"/>
              </a:rPr>
              <a:t>Diaphragm</a:t>
            </a:r>
          </a:p>
        </p:txBody>
      </p:sp>
      <p:cxnSp>
        <p:nvCxnSpPr>
          <p:cNvPr id="16" name="Straight Connector 15">
            <a:extLst>
              <a:ext uri="{FF2B5EF4-FFF2-40B4-BE49-F238E27FC236}">
                <a16:creationId xmlns:a16="http://schemas.microsoft.com/office/drawing/2014/main" id="{EF761735-526C-4A4F-A340-FE993B211FA3}"/>
              </a:ext>
            </a:extLst>
          </p:cNvPr>
          <p:cNvCxnSpPr>
            <a:cxnSpLocks/>
          </p:cNvCxnSpPr>
          <p:nvPr/>
        </p:nvCxnSpPr>
        <p:spPr>
          <a:xfrm>
            <a:off x="3473805" y="5274172"/>
            <a:ext cx="145037" cy="1"/>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sp>
        <p:nvSpPr>
          <p:cNvPr id="23" name="Content Placeholder 5">
            <a:extLst>
              <a:ext uri="{FF2B5EF4-FFF2-40B4-BE49-F238E27FC236}">
                <a16:creationId xmlns:a16="http://schemas.microsoft.com/office/drawing/2014/main" id="{48A68A19-B88E-C64C-8CE8-3ABEAAC5ED09}"/>
              </a:ext>
            </a:extLst>
          </p:cNvPr>
          <p:cNvSpPr txBox="1">
            <a:spLocks/>
          </p:cNvSpPr>
          <p:nvPr/>
        </p:nvSpPr>
        <p:spPr>
          <a:xfrm>
            <a:off x="5339420" y="1091527"/>
            <a:ext cx="6420189" cy="4798910"/>
          </a:xfrm>
          <a:prstGeom prst="rect">
            <a:avLst/>
          </a:prstGeom>
          <a:noFill/>
        </p:spPr>
        <p:txBody>
          <a:bodyPr vert="horz" lIns="91440" tIns="45720" rIns="91440" bIns="45720" rtlCol="0" anchor="t">
            <a:noAutofit/>
          </a:bodyPr>
          <a:lstStyle>
            <a:defPPr>
              <a:defRPr lang="en-US"/>
            </a:defPPr>
            <a:lvl1pPr marL="342900" indent="-342900">
              <a:lnSpc>
                <a:spcPct val="100000"/>
              </a:lnSpc>
              <a:spcBef>
                <a:spcPts val="0"/>
              </a:spcBef>
              <a:spcAft>
                <a:spcPts val="2000"/>
              </a:spcAft>
              <a:buClr>
                <a:schemeClr val="accent1"/>
              </a:buClr>
              <a:buSzPct val="90000"/>
              <a:buFont typeface="Arial" panose="020B0604020202020204" pitchFamily="34" charset="0"/>
              <a:buChar char="•"/>
              <a:defRPr sz="2200">
                <a:solidFill>
                  <a:schemeClr val="tx1">
                    <a:lumMod val="75000"/>
                    <a:lumOff val="25000"/>
                  </a:schemeClr>
                </a:solidFill>
              </a:defRPr>
            </a:lvl1pPr>
            <a:lvl2pPr marL="685800" indent="-228600">
              <a:lnSpc>
                <a:spcPct val="90000"/>
              </a:lnSpc>
              <a:spcBef>
                <a:spcPts val="500"/>
              </a:spcBef>
              <a:buClr>
                <a:schemeClr val="accent6">
                  <a:lumMod val="75000"/>
                </a:schemeClr>
              </a:buClr>
              <a:buSzPct val="80000"/>
              <a:buFont typeface="Arial" charset="0"/>
              <a:buChar char="•"/>
              <a:defRPr sz="2200"/>
            </a:lvl2pPr>
            <a:lvl3pPr marL="1143000" indent="-228600">
              <a:lnSpc>
                <a:spcPct val="90000"/>
              </a:lnSpc>
              <a:spcBef>
                <a:spcPts val="500"/>
              </a:spcBef>
              <a:buClr>
                <a:schemeClr val="accent1"/>
              </a:buClr>
              <a:buSzPct val="70000"/>
              <a:buFont typeface="Wingdings" charset="2"/>
              <a:buChar char="§"/>
              <a:defRPr sz="2000"/>
            </a:lvl3pPr>
            <a:lvl4pPr marL="1600200" indent="-228600">
              <a:lnSpc>
                <a:spcPct val="90000"/>
              </a:lnSpc>
              <a:spcBef>
                <a:spcPts val="500"/>
              </a:spcBef>
              <a:buClr>
                <a:schemeClr val="accent6">
                  <a:lumMod val="75000"/>
                </a:schemeClr>
              </a:buClr>
              <a:buSzPct val="70000"/>
              <a:buFont typeface="Arial" charset="0"/>
              <a:buChar char="•"/>
            </a:lvl4pPr>
            <a:lvl5pPr marL="2057400" indent="-228600">
              <a:lnSpc>
                <a:spcPct val="90000"/>
              </a:lnSpc>
              <a:spcBef>
                <a:spcPts val="500"/>
              </a:spcBef>
              <a:buClr>
                <a:schemeClr val="accent5"/>
              </a:buClr>
              <a:buSzPct val="60000"/>
              <a:buFont typeface="Wingdings" charset="2"/>
              <a:buChar char="§"/>
              <a:defRPr sz="16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342900" marR="0" lvl="0" indent="-342900" algn="just" defTabSz="914400" rtl="0" eaLnBrk="1" fontAlgn="base" latinLnBrk="0" hangingPunct="1">
              <a:lnSpc>
                <a:spcPct val="100000"/>
              </a:lnSpc>
              <a:spcBef>
                <a:spcPts val="0"/>
              </a:spcBef>
              <a:spcAft>
                <a:spcPts val="1200"/>
              </a:spcAft>
              <a:buClr>
                <a:srgbClr val="3A74BD"/>
              </a:buClr>
              <a:buSzPct val="100000"/>
              <a:buFont typeface="Arial" panose="020B0604020202020204" pitchFamily="34" charset="0"/>
              <a:buChar char="•"/>
              <a:tabLst/>
              <a:defRPr/>
            </a:pPr>
            <a:r>
              <a:rPr kumimoji="0" lang="en-US" sz="1800" b="1" i="0" u="none" strike="noStrike" kern="1200" cap="none" spc="0" normalizeH="0" baseline="0" noProof="0" dirty="0">
                <a:ln>
                  <a:noFill/>
                </a:ln>
                <a:solidFill>
                  <a:srgbClr val="000000">
                    <a:lumMod val="50000"/>
                  </a:srgbClr>
                </a:solidFill>
                <a:effectLst/>
                <a:uLnTx/>
                <a:uFillTx/>
                <a:latin typeface="Century Gothic" panose="020B0502020202020204" pitchFamily="34" charset="0"/>
                <a:ea typeface="ＭＳ Ｐゴシック" pitchFamily="-106" charset="-128"/>
                <a:cs typeface="+mn-cs"/>
              </a:rPr>
              <a:t>Fully </a:t>
            </a:r>
            <a:r>
              <a:rPr kumimoji="0" lang="en-US" sz="1800" b="1" i="0" u="none" strike="noStrike" kern="1200" cap="none" spc="0" normalizeH="0" baseline="0" noProof="0" dirty="0">
                <a:ln>
                  <a:noFill/>
                </a:ln>
                <a:solidFill>
                  <a:srgbClr val="000000"/>
                </a:solidFill>
                <a:effectLst/>
                <a:uLnTx/>
                <a:uFillTx/>
                <a:latin typeface="Century Gothic" panose="020B0502020202020204" pitchFamily="34" charset="0"/>
                <a:ea typeface="ＭＳ Ｐゴシック" pitchFamily="-106" charset="-128"/>
                <a:cs typeface="+mn-cs"/>
              </a:rPr>
              <a:t>implantable system </a:t>
            </a:r>
            <a:r>
              <a:rPr kumimoji="0" lang="en-US" sz="1800" b="0" i="0" u="none" strike="noStrike" kern="1200" cap="none" spc="0" normalizeH="0" baseline="0" noProof="0" dirty="0">
                <a:ln>
                  <a:noFill/>
                </a:ln>
                <a:solidFill>
                  <a:srgbClr val="000000"/>
                </a:solidFill>
                <a:effectLst/>
                <a:uLnTx/>
                <a:uFillTx/>
                <a:latin typeface="Century Gothic" panose="020B0502020202020204" pitchFamily="34" charset="0"/>
                <a:ea typeface="ＭＳ Ｐゴシック" pitchFamily="-106" charset="-128"/>
                <a:cs typeface="+mn-cs"/>
              </a:rPr>
              <a:t>with an indication to</a:t>
            </a:r>
            <a:r>
              <a:rPr kumimoji="0" lang="en-US" sz="1800" b="0" i="0" u="none" strike="noStrike" kern="1200" cap="none" spc="0" normalizeH="0" baseline="0" noProof="0" dirty="0">
                <a:ln>
                  <a:noFill/>
                </a:ln>
                <a:solidFill>
                  <a:srgbClr val="000000">
                    <a:lumMod val="50000"/>
                  </a:srgbClr>
                </a:solidFill>
                <a:effectLst/>
                <a:uLnTx/>
                <a:uFillTx/>
                <a:latin typeface="Century Gothic" panose="020B0502020202020204" pitchFamily="34" charset="0"/>
                <a:ea typeface="ＭＳ Ｐゴシック" pitchFamily="-106" charset="-128"/>
                <a:cs typeface="+mn-cs"/>
              </a:rPr>
              <a:t> treat moderate to severe central sleep apnea in adults; received U.S. FDA PMA approval October 2017</a:t>
            </a:r>
          </a:p>
          <a:p>
            <a:pPr marL="342900" marR="0" lvl="0" indent="-342900" algn="just" defTabSz="914400" rtl="0" eaLnBrk="1" fontAlgn="base" latinLnBrk="0" hangingPunct="1">
              <a:lnSpc>
                <a:spcPct val="100000"/>
              </a:lnSpc>
              <a:spcBef>
                <a:spcPts val="0"/>
              </a:spcBef>
              <a:spcAft>
                <a:spcPts val="1200"/>
              </a:spcAft>
              <a:buClr>
                <a:srgbClr val="3A74BD"/>
              </a:buClr>
              <a:buSzPct val="100000"/>
              <a:buFont typeface="Arial" panose="020B0604020202020204" pitchFamily="34" charset="0"/>
              <a:buChar char="•"/>
              <a:tabLst/>
              <a:defRPr/>
            </a:pPr>
            <a:r>
              <a:rPr kumimoji="0" lang="en-US" sz="1800" b="1" i="0" u="none" strike="noStrike" kern="1200" cap="none" spc="0" normalizeH="0" baseline="0" noProof="0" dirty="0">
                <a:ln>
                  <a:noFill/>
                </a:ln>
                <a:solidFill>
                  <a:srgbClr val="000000">
                    <a:lumMod val="50000"/>
                  </a:srgbClr>
                </a:solidFill>
                <a:effectLst/>
                <a:uLnTx/>
                <a:uFillTx/>
                <a:latin typeface="Century Gothic" panose="020B0502020202020204" pitchFamily="34" charset="0"/>
                <a:ea typeface="ＭＳ Ｐゴシック" pitchFamily="-106" charset="-128"/>
                <a:cs typeface="+mn-cs"/>
              </a:rPr>
              <a:t>Stabilizes breathing </a:t>
            </a:r>
            <a:r>
              <a:rPr kumimoji="0" lang="en-US" sz="1800" b="0" i="0" u="none" strike="noStrike" kern="1200" cap="none" spc="0" normalizeH="0" baseline="0" noProof="0" dirty="0">
                <a:ln>
                  <a:noFill/>
                </a:ln>
                <a:solidFill>
                  <a:srgbClr val="000000">
                    <a:lumMod val="50000"/>
                  </a:srgbClr>
                </a:solidFill>
                <a:effectLst/>
                <a:uLnTx/>
                <a:uFillTx/>
                <a:latin typeface="Century Gothic" panose="020B0502020202020204" pitchFamily="34" charset="0"/>
                <a:ea typeface="ＭＳ Ｐゴシック" pitchFamily="-106" charset="-128"/>
                <a:cs typeface="+mn-cs"/>
              </a:rPr>
              <a:t>by activating the diaphragm to generate negative </a:t>
            </a:r>
            <a:r>
              <a:rPr kumimoji="0" lang="en-US" sz="1800" b="0" i="0" u="none" strike="noStrike" kern="1200" cap="none" spc="0" normalizeH="0" baseline="0" noProof="0" dirty="0">
                <a:ln>
                  <a:noFill/>
                </a:ln>
                <a:solidFill>
                  <a:srgbClr val="000000"/>
                </a:solidFill>
                <a:effectLst/>
                <a:uLnTx/>
                <a:uFillTx/>
                <a:latin typeface="Century Gothic" panose="020B0502020202020204" pitchFamily="34" charset="0"/>
                <a:ea typeface="ＭＳ Ｐゴシック" pitchFamily="-106" charset="-128"/>
                <a:cs typeface="+mn-cs"/>
              </a:rPr>
              <a:t>pressure in the chest </a:t>
            </a:r>
            <a:r>
              <a:rPr kumimoji="0" lang="en-US" sz="1800" b="0" i="0" u="none" strike="noStrike" kern="1200" cap="none" spc="0" normalizeH="0" baseline="0" noProof="0" dirty="0">
                <a:ln>
                  <a:noFill/>
                </a:ln>
                <a:solidFill>
                  <a:srgbClr val="000000">
                    <a:lumMod val="50000"/>
                  </a:srgbClr>
                </a:solidFill>
                <a:effectLst/>
                <a:uLnTx/>
                <a:uFillTx/>
                <a:latin typeface="Century Gothic" panose="020B0502020202020204" pitchFamily="34" charset="0"/>
                <a:ea typeface="ＭＳ Ｐゴシック" pitchFamily="-106" charset="-128"/>
                <a:cs typeface="+mn-cs"/>
              </a:rPr>
              <a:t>(similar to natural breathing)</a:t>
            </a:r>
          </a:p>
          <a:p>
            <a:pPr marL="342900" marR="0" lvl="0" indent="-342900" algn="just" defTabSz="914400" rtl="0" eaLnBrk="1" fontAlgn="base" latinLnBrk="0" hangingPunct="1">
              <a:lnSpc>
                <a:spcPct val="100000"/>
              </a:lnSpc>
              <a:spcBef>
                <a:spcPts val="0"/>
              </a:spcBef>
              <a:spcAft>
                <a:spcPts val="1200"/>
              </a:spcAft>
              <a:buClr>
                <a:srgbClr val="3A74BD"/>
              </a:buClr>
              <a:buSzPct val="100000"/>
              <a:buFont typeface="Arial" panose="020B0604020202020204" pitchFamily="34" charset="0"/>
              <a:buChar char="•"/>
              <a:tabLst/>
              <a:defRPr/>
            </a:pPr>
            <a:r>
              <a:rPr kumimoji="0" lang="en-US" sz="1800" b="1" i="0" u="none" strike="noStrike" kern="1200" cap="none" spc="0" normalizeH="0" baseline="0" noProof="0" dirty="0">
                <a:ln>
                  <a:noFill/>
                </a:ln>
                <a:solidFill>
                  <a:srgbClr val="000000">
                    <a:lumMod val="50000"/>
                  </a:srgbClr>
                </a:solidFill>
                <a:effectLst/>
                <a:uLnTx/>
                <a:uFillTx/>
                <a:latin typeface="Century Gothic" panose="020B0502020202020204" pitchFamily="34" charset="0"/>
                <a:ea typeface="ＭＳ Ｐゴシック" pitchFamily="-106" charset="-128"/>
                <a:cs typeface="+mn-cs"/>
              </a:rPr>
              <a:t>Turns on automatically at night, </a:t>
            </a:r>
            <a:r>
              <a:rPr kumimoji="0" lang="en-US" sz="1800" b="0" i="0" u="none" strike="noStrike" kern="1200" cap="none" spc="0" normalizeH="0" baseline="0" noProof="0" dirty="0">
                <a:ln>
                  <a:noFill/>
                </a:ln>
                <a:solidFill>
                  <a:srgbClr val="000000"/>
                </a:solidFill>
                <a:effectLst/>
                <a:uLnTx/>
                <a:uFillTx/>
                <a:latin typeface="Century Gothic" panose="020B0502020202020204" pitchFamily="34" charset="0"/>
                <a:ea typeface="ＭＳ Ｐゴシック" pitchFamily="-106" charset="-128"/>
                <a:cs typeface="+mn-cs"/>
              </a:rPr>
              <a:t>ensuring nightly compliance and adherence over time</a:t>
            </a:r>
          </a:p>
          <a:p>
            <a:pPr marL="342900" marR="0" lvl="0" indent="-342900" algn="just" defTabSz="914400" rtl="0" eaLnBrk="1" fontAlgn="base" latinLnBrk="0" hangingPunct="1">
              <a:lnSpc>
                <a:spcPct val="100000"/>
              </a:lnSpc>
              <a:spcBef>
                <a:spcPts val="0"/>
              </a:spcBef>
              <a:spcAft>
                <a:spcPts val="0"/>
              </a:spcAft>
              <a:buClr>
                <a:srgbClr val="3A74BD"/>
              </a:buClr>
              <a:buSzPct val="100000"/>
              <a:buFont typeface="Arial" panose="020B0604020202020204" pitchFamily="34" charset="0"/>
              <a:buChar char="•"/>
              <a:tabLst/>
              <a:defRPr/>
            </a:pPr>
            <a:r>
              <a:rPr kumimoji="0" lang="en-US" sz="1800" b="0" i="0" u="none" strike="noStrike" kern="1200" cap="none" spc="0" normalizeH="0" baseline="0" noProof="0" dirty="0">
                <a:ln>
                  <a:noFill/>
                </a:ln>
                <a:solidFill>
                  <a:srgbClr val="000000">
                    <a:lumMod val="50000"/>
                  </a:srgbClr>
                </a:solidFill>
                <a:effectLst/>
                <a:uLnTx/>
                <a:uFillTx/>
                <a:latin typeface="Century Gothic" panose="020B0502020202020204" pitchFamily="34" charset="0"/>
                <a:ea typeface="ＭＳ Ｐゴシック" pitchFamily="-106" charset="-128"/>
                <a:cs typeface="+mn-cs"/>
              </a:rPr>
              <a:t>Implanted </a:t>
            </a:r>
            <a:r>
              <a:rPr kumimoji="0" lang="en-US" sz="1800" b="0" i="0" u="none" strike="noStrike" kern="1200" cap="none" spc="0" normalizeH="0" baseline="0" noProof="0" dirty="0">
                <a:ln>
                  <a:noFill/>
                </a:ln>
                <a:solidFill>
                  <a:srgbClr val="000000"/>
                </a:solidFill>
                <a:effectLst/>
                <a:uLnTx/>
                <a:uFillTx/>
                <a:latin typeface="Century Gothic" panose="020B0502020202020204" pitchFamily="34" charset="0"/>
                <a:ea typeface="ＭＳ Ｐゴシック" pitchFamily="-106" charset="-128"/>
                <a:cs typeface="+mn-cs"/>
              </a:rPr>
              <a:t>by cardiac electrophysiologists </a:t>
            </a:r>
            <a:r>
              <a:rPr kumimoji="0" lang="en-US" sz="1800" b="0" i="0" u="none" strike="noStrike" kern="1200" cap="none" spc="0" normalizeH="0" baseline="0" noProof="0" dirty="0">
                <a:ln>
                  <a:noFill/>
                </a:ln>
                <a:solidFill>
                  <a:srgbClr val="000000">
                    <a:lumMod val="50000"/>
                  </a:srgbClr>
                </a:solidFill>
                <a:effectLst/>
                <a:uLnTx/>
                <a:uFillTx/>
                <a:latin typeface="Century Gothic" panose="020B0502020202020204" pitchFamily="34" charset="0"/>
                <a:ea typeface="ＭＳ Ｐゴシック" pitchFamily="-106" charset="-128"/>
                <a:cs typeface="+mn-cs"/>
              </a:rPr>
              <a:t>(EPs)</a:t>
            </a:r>
          </a:p>
          <a:p>
            <a:pPr marL="685800" marR="0" lvl="1" indent="-228600" algn="just" defTabSz="914400" rtl="0" eaLnBrk="1" fontAlgn="base" latinLnBrk="0" hangingPunct="1">
              <a:lnSpc>
                <a:spcPct val="100000"/>
              </a:lnSpc>
              <a:spcBef>
                <a:spcPts val="0"/>
              </a:spcBef>
              <a:spcAft>
                <a:spcPct val="0"/>
              </a:spcAft>
              <a:buClr>
                <a:srgbClr val="3A74BD"/>
              </a:buClr>
              <a:buSzPct val="80000"/>
              <a:buFont typeface="Courier New" panose="02070309020205020404" pitchFamily="49" charset="0"/>
              <a:buChar char="o"/>
              <a:tabLst/>
              <a:defRPr/>
            </a:pPr>
            <a:r>
              <a:rPr kumimoji="0" lang="en-US" sz="1800" b="1" i="0" u="none" strike="noStrike" kern="1200" cap="none" spc="0" normalizeH="0" baseline="0" noProof="0" dirty="0">
                <a:ln>
                  <a:noFill/>
                </a:ln>
                <a:solidFill>
                  <a:srgbClr val="000000">
                    <a:lumMod val="50000"/>
                  </a:srgbClr>
                </a:solidFill>
                <a:effectLst/>
                <a:uLnTx/>
                <a:uFillTx/>
                <a:latin typeface="Century Gothic" panose="020B0502020202020204" pitchFamily="34" charset="0"/>
                <a:ea typeface="ＭＳ Ｐゴシック" pitchFamily="-106" charset="-128"/>
                <a:cs typeface="+mn-cs"/>
              </a:rPr>
              <a:t>Pulse generator</a:t>
            </a:r>
            <a:r>
              <a:rPr kumimoji="0" lang="en-US" sz="1800" b="0" i="0" u="none" strike="noStrike" kern="1200" cap="none" spc="0" normalizeH="0" baseline="0" noProof="0" dirty="0">
                <a:ln>
                  <a:noFill/>
                </a:ln>
                <a:solidFill>
                  <a:srgbClr val="000000">
                    <a:lumMod val="50000"/>
                  </a:srgbClr>
                </a:solidFill>
                <a:effectLst/>
                <a:uLnTx/>
                <a:uFillTx/>
                <a:latin typeface="Century Gothic" panose="020B0502020202020204" pitchFamily="34" charset="0"/>
                <a:ea typeface="ＭＳ Ｐゴシック" pitchFamily="-106" charset="-128"/>
                <a:cs typeface="+mn-cs"/>
              </a:rPr>
              <a:t> implanted below clavicle</a:t>
            </a:r>
          </a:p>
          <a:p>
            <a:pPr marL="685800" marR="0" lvl="1" indent="-228600" algn="just" defTabSz="914400" rtl="0" eaLnBrk="1" fontAlgn="base" latinLnBrk="0" hangingPunct="1">
              <a:lnSpc>
                <a:spcPct val="100000"/>
              </a:lnSpc>
              <a:spcBef>
                <a:spcPts val="0"/>
              </a:spcBef>
              <a:spcAft>
                <a:spcPct val="0"/>
              </a:spcAft>
              <a:buClr>
                <a:srgbClr val="3A74BD"/>
              </a:buClr>
              <a:buSzPct val="80000"/>
              <a:buFont typeface="Courier New" panose="02070309020205020404" pitchFamily="49" charset="0"/>
              <a:buChar char="o"/>
              <a:tabLst/>
              <a:defRPr/>
            </a:pPr>
            <a:r>
              <a:rPr kumimoji="0" lang="en-US" sz="1800" b="1" i="0" u="none" strike="noStrike" kern="1200" cap="none" spc="0" normalizeH="0" baseline="0" noProof="0" dirty="0">
                <a:ln>
                  <a:noFill/>
                </a:ln>
                <a:solidFill>
                  <a:srgbClr val="000000">
                    <a:lumMod val="50000"/>
                  </a:srgbClr>
                </a:solidFill>
                <a:effectLst/>
                <a:uLnTx/>
                <a:uFillTx/>
                <a:latin typeface="Century Gothic" panose="020B0502020202020204" pitchFamily="34" charset="0"/>
                <a:ea typeface="ＭＳ Ｐゴシック" pitchFamily="-106" charset="-128"/>
                <a:cs typeface="+mn-cs"/>
              </a:rPr>
              <a:t>Stimulation lead </a:t>
            </a:r>
            <a:r>
              <a:rPr kumimoji="0" lang="en-US" sz="1800" b="0" i="0" u="none" strike="noStrike" kern="1200" cap="none" spc="0" normalizeH="0" baseline="0" noProof="0" dirty="0">
                <a:ln>
                  <a:noFill/>
                </a:ln>
                <a:solidFill>
                  <a:srgbClr val="000000"/>
                </a:solidFill>
                <a:effectLst/>
                <a:uLnTx/>
                <a:uFillTx/>
                <a:latin typeface="Century Gothic" panose="020B0502020202020204" pitchFamily="34" charset="0"/>
                <a:ea typeface="ＭＳ Ｐゴシック" pitchFamily="-106" charset="-128"/>
                <a:cs typeface="+mn-cs"/>
              </a:rPr>
              <a:t>placed either in left </a:t>
            </a:r>
            <a:r>
              <a:rPr kumimoji="0" lang="en-US" sz="1800" b="0" i="0" u="none" strike="noStrike" kern="1200" cap="none" spc="0" normalizeH="0" baseline="0" noProof="0" dirty="0">
                <a:ln>
                  <a:noFill/>
                </a:ln>
                <a:solidFill>
                  <a:srgbClr val="000000">
                    <a:lumMod val="50000"/>
                  </a:srgbClr>
                </a:solidFill>
                <a:effectLst/>
                <a:uLnTx/>
                <a:uFillTx/>
                <a:latin typeface="Century Gothic" panose="020B0502020202020204" pitchFamily="34" charset="0"/>
                <a:ea typeface="ＭＳ Ｐゴシック" pitchFamily="-106" charset="-128"/>
                <a:cs typeface="+mn-cs"/>
              </a:rPr>
              <a:t>pericardiophrenic or right brachiocephalic vein</a:t>
            </a:r>
          </a:p>
          <a:p>
            <a:pPr marL="685800" marR="0" lvl="1" indent="-228600" algn="just" defTabSz="914400" rtl="0" eaLnBrk="1" fontAlgn="base" latinLnBrk="0" hangingPunct="1">
              <a:lnSpc>
                <a:spcPct val="100000"/>
              </a:lnSpc>
              <a:spcBef>
                <a:spcPts val="0"/>
              </a:spcBef>
              <a:spcAft>
                <a:spcPct val="0"/>
              </a:spcAft>
              <a:buClr>
                <a:srgbClr val="3A74BD"/>
              </a:buClr>
              <a:buSzPct val="80000"/>
              <a:buFont typeface="Courier New" panose="02070309020205020404" pitchFamily="49" charset="0"/>
              <a:buChar char="o"/>
              <a:tabLst/>
              <a:defRPr/>
            </a:pPr>
            <a:r>
              <a:rPr kumimoji="0" lang="en-US" sz="1800" b="1" i="0" u="none" strike="noStrike" kern="1200" cap="none" spc="0" normalizeH="0" baseline="0" noProof="0" dirty="0">
                <a:ln>
                  <a:noFill/>
                </a:ln>
                <a:solidFill>
                  <a:srgbClr val="000000">
                    <a:lumMod val="50000"/>
                  </a:srgbClr>
                </a:solidFill>
                <a:effectLst/>
                <a:uLnTx/>
                <a:uFillTx/>
                <a:latin typeface="Century Gothic" panose="020B0502020202020204" pitchFamily="34" charset="0"/>
                <a:ea typeface="ＭＳ Ｐゴシック" pitchFamily="-106" charset="-128"/>
                <a:cs typeface="+mn-cs"/>
              </a:rPr>
              <a:t>Sensing lead </a:t>
            </a:r>
            <a:r>
              <a:rPr kumimoji="0" lang="en-US" sz="1800" b="0" i="0" u="none" strike="noStrike" kern="1200" cap="none" spc="0" normalizeH="0" baseline="0" noProof="0" dirty="0">
                <a:ln>
                  <a:noFill/>
                </a:ln>
                <a:solidFill>
                  <a:srgbClr val="000000">
                    <a:lumMod val="50000"/>
                  </a:srgbClr>
                </a:solidFill>
                <a:effectLst/>
                <a:uLnTx/>
                <a:uFillTx/>
                <a:latin typeface="Century Gothic" panose="020B0502020202020204" pitchFamily="34" charset="0"/>
                <a:ea typeface="ＭＳ Ｐゴシック" pitchFamily="-106" charset="-128"/>
                <a:cs typeface="+mn-cs"/>
              </a:rPr>
              <a:t>placed in the Azygos vein, helps optimize therapy (optional)</a:t>
            </a:r>
          </a:p>
        </p:txBody>
      </p:sp>
      <p:sp>
        <p:nvSpPr>
          <p:cNvPr id="25" name="Footer Placeholder 1">
            <a:extLst>
              <a:ext uri="{FF2B5EF4-FFF2-40B4-BE49-F238E27FC236}">
                <a16:creationId xmlns:a16="http://schemas.microsoft.com/office/drawing/2014/main" id="{B00D220B-038A-2C42-8DFB-13D16F9BAC4A}"/>
              </a:ext>
            </a:extLst>
          </p:cNvPr>
          <p:cNvSpPr txBox="1">
            <a:spLocks/>
          </p:cNvSpPr>
          <p:nvPr/>
        </p:nvSpPr>
        <p:spPr>
          <a:xfrm>
            <a:off x="5339420" y="5847907"/>
            <a:ext cx="6420189" cy="360246"/>
          </a:xfrm>
          <a:prstGeom prst="rect">
            <a:avLst/>
          </a:prstGeom>
          <a:noFill/>
        </p:spPr>
        <p:txBody>
          <a:bodyPr vert="horz" lIns="91440" tIns="45720" rIns="91440" bIns="45720" rtlCol="0" anchor="t"/>
          <a:lstStyle>
            <a:defPPr>
              <a:defRPr lang="en-US"/>
            </a:defPPr>
            <a:lvl1pPr marL="0" algn="l" defTabSz="914400" rtl="0" eaLnBrk="1" latinLnBrk="0" hangingPunct="1">
              <a:defRPr sz="1200" kern="1200">
                <a:solidFill>
                  <a:srgbClr val="8F909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just" defTabSz="914400" rtl="0" eaLnBrk="1" fontAlgn="base" latinLnBrk="0" hangingPunct="1">
              <a:lnSpc>
                <a:spcPct val="100000"/>
              </a:lnSpc>
              <a:spcBef>
                <a:spcPct val="0"/>
              </a:spcBef>
              <a:spcAft>
                <a:spcPct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Century Gothic" panose="020F0302020204030204"/>
                <a:ea typeface="+mn-ea"/>
                <a:cs typeface="+mn-cs"/>
              </a:rPr>
              <a:t>FDA-Approved Summary of Safety and Effectiveness Data (SSED) for the </a:t>
            </a:r>
            <a:r>
              <a:rPr kumimoji="0" lang="en-US" sz="1050" b="1" i="0" u="none" strike="noStrike" kern="1200" cap="none" spc="0" normalizeH="0" baseline="0" noProof="0" dirty="0">
                <a:ln>
                  <a:noFill/>
                </a:ln>
                <a:solidFill>
                  <a:srgbClr val="000000"/>
                </a:solidFill>
                <a:effectLst/>
                <a:uLnTx/>
                <a:uFillTx/>
                <a:latin typeface="Century Gothic" panose="020F0302020204030204"/>
                <a:ea typeface="+mn-ea"/>
                <a:cs typeface="+mn-cs"/>
              </a:rPr>
              <a:t>rem</a:t>
            </a:r>
            <a:r>
              <a:rPr kumimoji="0" lang="en-US" sz="1050" b="0" i="0" u="none" strike="noStrike" kern="1200" cap="none" spc="0" normalizeH="0" baseline="0" noProof="0" dirty="0">
                <a:ln>
                  <a:noFill/>
                </a:ln>
                <a:solidFill>
                  <a:srgbClr val="000000"/>
                </a:solidFill>
                <a:effectLst/>
                <a:uLnTx/>
                <a:uFillTx/>
                <a:latin typeface="Century Gothic" panose="020F0302020204030204"/>
                <a:ea typeface="+mn-ea"/>
                <a:cs typeface="+mn-cs"/>
              </a:rPr>
              <a:t>edē® System and The </a:t>
            </a:r>
            <a:r>
              <a:rPr kumimoji="0" lang="en-US" sz="1050" b="1" i="0" u="none" strike="noStrike" kern="1200" cap="none" spc="0" normalizeH="0" baseline="0" noProof="0" dirty="0">
                <a:ln>
                  <a:noFill/>
                </a:ln>
                <a:solidFill>
                  <a:srgbClr val="000000"/>
                </a:solidFill>
                <a:effectLst/>
                <a:uLnTx/>
                <a:uFillTx/>
                <a:latin typeface="Century Gothic" panose="020F0302020204030204"/>
                <a:ea typeface="+mn-ea"/>
                <a:cs typeface="+mn-cs"/>
              </a:rPr>
              <a:t>rem</a:t>
            </a:r>
            <a:r>
              <a:rPr kumimoji="0" lang="en-US" sz="1050" b="0" i="0" u="none" strike="noStrike" kern="1200" cap="none" spc="0" normalizeH="0" baseline="0" noProof="0" dirty="0">
                <a:ln>
                  <a:noFill/>
                </a:ln>
                <a:solidFill>
                  <a:srgbClr val="000000"/>
                </a:solidFill>
                <a:effectLst/>
                <a:uLnTx/>
                <a:uFillTx/>
                <a:latin typeface="Century Gothic" panose="020F0302020204030204"/>
                <a:ea typeface="+mn-ea"/>
                <a:cs typeface="+mn-cs"/>
              </a:rPr>
              <a:t>edē System Implant and Clinician Use Manual (P160039) Oct. 6, 2017.  </a:t>
            </a:r>
          </a:p>
        </p:txBody>
      </p:sp>
      <p:pic>
        <p:nvPicPr>
          <p:cNvPr id="24" name="Picture 23">
            <a:extLst>
              <a:ext uri="{FF2B5EF4-FFF2-40B4-BE49-F238E27FC236}">
                <a16:creationId xmlns:a16="http://schemas.microsoft.com/office/drawing/2014/main" id="{EAD0867E-8C18-4866-989C-5FCEAC5102B9}"/>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05494" y="1091527"/>
            <a:ext cx="4625799" cy="5194434"/>
          </a:xfrm>
          <a:prstGeom prst="rect">
            <a:avLst/>
          </a:prstGeom>
        </p:spPr>
      </p:pic>
      <p:sp>
        <p:nvSpPr>
          <p:cNvPr id="5" name="Footer Placeholder 5">
            <a:extLst>
              <a:ext uri="{FF2B5EF4-FFF2-40B4-BE49-F238E27FC236}">
                <a16:creationId xmlns:a16="http://schemas.microsoft.com/office/drawing/2014/main" id="{D4697B8D-EA7B-F96B-2FCA-50BC29D6AD13}"/>
              </a:ext>
            </a:extLst>
          </p:cNvPr>
          <p:cNvSpPr>
            <a:spLocks noGrp="1"/>
          </p:cNvSpPr>
          <p:nvPr>
            <p:ph type="ftr" sz="quarter" idx="11"/>
          </p:nvPr>
        </p:nvSpPr>
        <p:spPr>
          <a:xfrm>
            <a:off x="3684598" y="6459785"/>
            <a:ext cx="4822804" cy="365125"/>
          </a:xfrm>
        </p:spPr>
        <p:txBody>
          <a:bodyPr/>
          <a:lstStyle/>
          <a:p>
            <a:r>
              <a:rPr lang="en-US" dirty="0"/>
              <a:t>MAF1937 Rev E</a:t>
            </a:r>
          </a:p>
        </p:txBody>
      </p:sp>
    </p:spTree>
    <p:extLst>
      <p:ext uri="{BB962C8B-B14F-4D97-AF65-F5344CB8AC3E}">
        <p14:creationId xmlns:p14="http://schemas.microsoft.com/office/powerpoint/2010/main" val="269935338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A close-up of a person's x-ray&#10;&#10;Description automatically generated with medium confidence">
            <a:extLst>
              <a:ext uri="{FF2B5EF4-FFF2-40B4-BE49-F238E27FC236}">
                <a16:creationId xmlns:a16="http://schemas.microsoft.com/office/drawing/2014/main" id="{DE2E4670-6D99-4635-9FBB-D2155B5CC54C}"/>
              </a:ext>
            </a:extLst>
          </p:cNvPr>
          <p:cNvPicPr>
            <a:picLocks noChangeAspect="1"/>
          </p:cNvPicPr>
          <p:nvPr/>
        </p:nvPicPr>
        <p:blipFill>
          <a:blip r:embed="rId3"/>
          <a:stretch>
            <a:fillRect/>
          </a:stretch>
        </p:blipFill>
        <p:spPr>
          <a:xfrm>
            <a:off x="2672729" y="850109"/>
            <a:ext cx="6302595" cy="5394962"/>
          </a:xfrm>
          <a:prstGeom prst="rect">
            <a:avLst/>
          </a:prstGeom>
        </p:spPr>
      </p:pic>
      <p:cxnSp>
        <p:nvCxnSpPr>
          <p:cNvPr id="8" name="Straight Arrow Connector 7">
            <a:extLst>
              <a:ext uri="{FF2B5EF4-FFF2-40B4-BE49-F238E27FC236}">
                <a16:creationId xmlns:a16="http://schemas.microsoft.com/office/drawing/2014/main" id="{F5A7C917-C101-47E8-A898-B3E5DAD614D1}"/>
              </a:ext>
            </a:extLst>
          </p:cNvPr>
          <p:cNvCxnSpPr>
            <a:cxnSpLocks/>
          </p:cNvCxnSpPr>
          <p:nvPr/>
        </p:nvCxnSpPr>
        <p:spPr>
          <a:xfrm>
            <a:off x="1489753" y="1705510"/>
            <a:ext cx="2157573" cy="835257"/>
          </a:xfrm>
          <a:prstGeom prst="straightConnector1">
            <a:avLst/>
          </a:prstGeom>
          <a:ln w="50800">
            <a:tailEnd type="triangle"/>
          </a:ln>
        </p:spPr>
        <p:style>
          <a:lnRef idx="2">
            <a:schemeClr val="accent1"/>
          </a:lnRef>
          <a:fillRef idx="0">
            <a:schemeClr val="accent1"/>
          </a:fillRef>
          <a:effectRef idx="1">
            <a:schemeClr val="accent1"/>
          </a:effectRef>
          <a:fontRef idx="minor">
            <a:schemeClr val="tx1"/>
          </a:fontRef>
        </p:style>
      </p:cxnSp>
      <p:sp>
        <p:nvSpPr>
          <p:cNvPr id="9" name="TextBox 8">
            <a:extLst>
              <a:ext uri="{FF2B5EF4-FFF2-40B4-BE49-F238E27FC236}">
                <a16:creationId xmlns:a16="http://schemas.microsoft.com/office/drawing/2014/main" id="{65CF80F9-7EFE-4AD7-AC4C-0A8212750E2D}"/>
              </a:ext>
            </a:extLst>
          </p:cNvPr>
          <p:cNvSpPr txBox="1"/>
          <p:nvPr/>
        </p:nvSpPr>
        <p:spPr>
          <a:xfrm>
            <a:off x="381740" y="1378322"/>
            <a:ext cx="2085266" cy="369332"/>
          </a:xfrm>
          <a:prstGeom prst="rect">
            <a:avLst/>
          </a:prstGeom>
          <a:noFill/>
          <a:ln>
            <a:noFill/>
          </a:ln>
        </p:spPr>
        <p:txBody>
          <a:bodyPr wrap="square" rtlCol="0">
            <a:spAutoFit/>
          </a:bodyPr>
          <a:lstStyle/>
          <a:p>
            <a:pPr algn="l"/>
            <a:r>
              <a:rPr lang="en-US" b="1" dirty="0">
                <a:latin typeface="+mj-lt"/>
              </a:rPr>
              <a:t>rem</a:t>
            </a:r>
            <a:r>
              <a:rPr lang="en-US" dirty="0">
                <a:latin typeface="+mj-lt"/>
              </a:rPr>
              <a:t>edē</a:t>
            </a:r>
            <a:r>
              <a:rPr lang="en-US" b="1" dirty="0">
                <a:latin typeface="+mj-lt"/>
              </a:rPr>
              <a:t> EL System</a:t>
            </a:r>
          </a:p>
        </p:txBody>
      </p:sp>
      <p:cxnSp>
        <p:nvCxnSpPr>
          <p:cNvPr id="10" name="Straight Arrow Connector 9">
            <a:extLst>
              <a:ext uri="{FF2B5EF4-FFF2-40B4-BE49-F238E27FC236}">
                <a16:creationId xmlns:a16="http://schemas.microsoft.com/office/drawing/2014/main" id="{9D9EB58C-1175-4C95-ACA3-CA83AA5B06A4}"/>
              </a:ext>
            </a:extLst>
          </p:cNvPr>
          <p:cNvCxnSpPr>
            <a:cxnSpLocks/>
          </p:cNvCxnSpPr>
          <p:nvPr/>
        </p:nvCxnSpPr>
        <p:spPr>
          <a:xfrm flipH="1">
            <a:off x="6646878" y="2257606"/>
            <a:ext cx="2872393" cy="1033516"/>
          </a:xfrm>
          <a:prstGeom prst="straightConnector1">
            <a:avLst/>
          </a:prstGeom>
          <a:ln w="50800">
            <a:tailEnd type="triangle"/>
          </a:ln>
        </p:spPr>
        <p:style>
          <a:lnRef idx="2">
            <a:schemeClr val="accent1"/>
          </a:lnRef>
          <a:fillRef idx="0">
            <a:schemeClr val="accent1"/>
          </a:fillRef>
          <a:effectRef idx="1">
            <a:schemeClr val="accent1"/>
          </a:effectRef>
          <a:fontRef idx="minor">
            <a:schemeClr val="tx1"/>
          </a:fontRef>
        </p:style>
      </p:cxnSp>
      <p:sp>
        <p:nvSpPr>
          <p:cNvPr id="15" name="TextBox 14">
            <a:extLst>
              <a:ext uri="{FF2B5EF4-FFF2-40B4-BE49-F238E27FC236}">
                <a16:creationId xmlns:a16="http://schemas.microsoft.com/office/drawing/2014/main" id="{1654EFB2-2E64-486B-8E63-340AC960E1CA}"/>
              </a:ext>
            </a:extLst>
          </p:cNvPr>
          <p:cNvSpPr txBox="1"/>
          <p:nvPr/>
        </p:nvSpPr>
        <p:spPr>
          <a:xfrm>
            <a:off x="9519271" y="2072940"/>
            <a:ext cx="2228850" cy="369332"/>
          </a:xfrm>
          <a:prstGeom prst="rect">
            <a:avLst/>
          </a:prstGeom>
          <a:noFill/>
          <a:ln>
            <a:noFill/>
          </a:ln>
        </p:spPr>
        <p:txBody>
          <a:bodyPr wrap="square" rtlCol="0">
            <a:spAutoFit/>
          </a:bodyPr>
          <a:lstStyle/>
          <a:p>
            <a:pPr algn="l"/>
            <a:r>
              <a:rPr lang="en-US" b="1" dirty="0">
                <a:latin typeface="+mj-lt"/>
              </a:rPr>
              <a:t>Stimulation Lead</a:t>
            </a:r>
          </a:p>
        </p:txBody>
      </p:sp>
      <p:sp>
        <p:nvSpPr>
          <p:cNvPr id="5" name="Title 4">
            <a:extLst>
              <a:ext uri="{FF2B5EF4-FFF2-40B4-BE49-F238E27FC236}">
                <a16:creationId xmlns:a16="http://schemas.microsoft.com/office/drawing/2014/main" id="{AC553B34-B685-6F32-023A-1384F4EC9EB1}"/>
              </a:ext>
            </a:extLst>
          </p:cNvPr>
          <p:cNvSpPr>
            <a:spLocks noGrp="1"/>
          </p:cNvSpPr>
          <p:nvPr>
            <p:ph type="title" idx="4294967295"/>
          </p:nvPr>
        </p:nvSpPr>
        <p:spPr>
          <a:xfrm>
            <a:off x="381740" y="66683"/>
            <a:ext cx="10058400" cy="801687"/>
          </a:xfrm>
        </p:spPr>
        <p:txBody>
          <a:bodyPr>
            <a:normAutofit/>
          </a:bodyPr>
          <a:lstStyle/>
          <a:p>
            <a:r>
              <a:rPr lang="en-US" sz="4000" b="1" dirty="0">
                <a:solidFill>
                  <a:schemeClr val="accent2"/>
                </a:solidFill>
                <a:latin typeface="+mn-lt"/>
              </a:rPr>
              <a:t>The rem</a:t>
            </a:r>
            <a:r>
              <a:rPr lang="en-US" sz="4000" dirty="0">
                <a:solidFill>
                  <a:schemeClr val="accent2"/>
                </a:solidFill>
                <a:latin typeface="+mn-lt"/>
              </a:rPr>
              <a:t>edē® </a:t>
            </a:r>
            <a:r>
              <a:rPr lang="en-US" sz="4000" b="1" dirty="0">
                <a:solidFill>
                  <a:schemeClr val="accent2"/>
                </a:solidFill>
                <a:latin typeface="+mn-lt"/>
              </a:rPr>
              <a:t>EL System</a:t>
            </a:r>
          </a:p>
        </p:txBody>
      </p:sp>
      <p:sp>
        <p:nvSpPr>
          <p:cNvPr id="3" name="Slide Number Placeholder 2">
            <a:extLst>
              <a:ext uri="{FF2B5EF4-FFF2-40B4-BE49-F238E27FC236}">
                <a16:creationId xmlns:a16="http://schemas.microsoft.com/office/drawing/2014/main" id="{D18C1C87-23A0-7B3F-6EBC-2AD4B58FE818}"/>
              </a:ext>
            </a:extLst>
          </p:cNvPr>
          <p:cNvSpPr>
            <a:spLocks noGrp="1"/>
          </p:cNvSpPr>
          <p:nvPr>
            <p:ph type="sldNum" sz="quarter" idx="12"/>
          </p:nvPr>
        </p:nvSpPr>
        <p:spPr/>
        <p:txBody>
          <a:bodyPr/>
          <a:lstStyle/>
          <a:p>
            <a:fld id="{21D51F98-DEF0-4E23-AE94-24E7CFC19B28}" type="slidenum">
              <a:rPr lang="en-US" smtClean="0"/>
              <a:t>26</a:t>
            </a:fld>
            <a:endParaRPr lang="en-US"/>
          </a:p>
        </p:txBody>
      </p:sp>
      <p:sp>
        <p:nvSpPr>
          <p:cNvPr id="7" name="Footer Placeholder 5">
            <a:extLst>
              <a:ext uri="{FF2B5EF4-FFF2-40B4-BE49-F238E27FC236}">
                <a16:creationId xmlns:a16="http://schemas.microsoft.com/office/drawing/2014/main" id="{C67FFD0B-DE91-D255-6CAC-A8BBEAB972CB}"/>
              </a:ext>
            </a:extLst>
          </p:cNvPr>
          <p:cNvSpPr>
            <a:spLocks noGrp="1"/>
          </p:cNvSpPr>
          <p:nvPr>
            <p:ph type="ftr" sz="quarter" idx="11"/>
          </p:nvPr>
        </p:nvSpPr>
        <p:spPr>
          <a:xfrm>
            <a:off x="3684598" y="6459785"/>
            <a:ext cx="4822804" cy="365125"/>
          </a:xfrm>
        </p:spPr>
        <p:txBody>
          <a:bodyPr/>
          <a:lstStyle/>
          <a:p>
            <a:r>
              <a:rPr lang="en-US" dirty="0"/>
              <a:t>MAF1937 Rev E</a:t>
            </a:r>
          </a:p>
        </p:txBody>
      </p:sp>
    </p:spTree>
    <p:extLst>
      <p:ext uri="{BB962C8B-B14F-4D97-AF65-F5344CB8AC3E}">
        <p14:creationId xmlns:p14="http://schemas.microsoft.com/office/powerpoint/2010/main" val="323496872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EB3AC619-396E-B546-90E7-01ED8DF5ED33}"/>
              </a:ext>
            </a:extLst>
          </p:cNvPr>
          <p:cNvSpPr>
            <a:spLocks noGrp="1"/>
          </p:cNvSpPr>
          <p:nvPr>
            <p:ph type="title"/>
          </p:nvPr>
        </p:nvSpPr>
        <p:spPr>
          <a:xfrm>
            <a:off x="469775" y="423654"/>
            <a:ext cx="10344511" cy="544193"/>
          </a:xfrm>
        </p:spPr>
        <p:txBody>
          <a:bodyPr anchor="t">
            <a:normAutofit fontScale="90000"/>
          </a:bodyPr>
          <a:lstStyle/>
          <a:p>
            <a:r>
              <a:rPr kumimoji="0" lang="en-US" sz="3600" b="1" i="0" u="none" strike="noStrike" kern="0" cap="none" spc="0" normalizeH="0" baseline="0" noProof="0" dirty="0">
                <a:ln>
                  <a:noFill/>
                </a:ln>
                <a:solidFill>
                  <a:schemeClr val="accent2"/>
                </a:solidFill>
                <a:effectLst/>
                <a:uLnTx/>
                <a:uFillTx/>
                <a:latin typeface="+mn-lt"/>
                <a:ea typeface="MS PGothic" panose="020B0600070205080204" pitchFamily="34" charset="-128"/>
                <a:cs typeface="Calibri" panose="020F0502020204030204" pitchFamily="34" charset="0"/>
              </a:rPr>
              <a:t>rem</a:t>
            </a:r>
            <a:r>
              <a:rPr kumimoji="0" lang="en-US" sz="3600" i="0" u="none" strike="noStrike" kern="0" cap="none" spc="0" normalizeH="0" baseline="0" noProof="0" dirty="0">
                <a:ln>
                  <a:noFill/>
                </a:ln>
                <a:solidFill>
                  <a:schemeClr val="accent2"/>
                </a:solidFill>
                <a:effectLst/>
                <a:uLnTx/>
                <a:uFillTx/>
                <a:latin typeface="+mn-lt"/>
                <a:ea typeface="MS PGothic" panose="020B0600070205080204" pitchFamily="34" charset="-128"/>
                <a:cs typeface="Calibri" panose="020F0502020204030204" pitchFamily="34" charset="0"/>
              </a:rPr>
              <a:t>edē</a:t>
            </a:r>
            <a:r>
              <a:rPr kumimoji="0" lang="en-US" sz="3600" b="1" i="0" u="none" strike="noStrike" kern="0" cap="none" spc="0" normalizeH="0" baseline="30000" noProof="0" dirty="0">
                <a:ln>
                  <a:noFill/>
                </a:ln>
                <a:solidFill>
                  <a:schemeClr val="accent2"/>
                </a:solidFill>
                <a:effectLst/>
                <a:uLnTx/>
                <a:uFillTx/>
                <a:latin typeface="+mn-lt"/>
                <a:ea typeface="MS PGothic" panose="020B0600070205080204" pitchFamily="34" charset="-128"/>
                <a:cs typeface="Calibri" panose="020F0502020204030204" pitchFamily="34" charset="0"/>
              </a:rPr>
              <a:t>®</a:t>
            </a:r>
            <a:r>
              <a:rPr lang="en-US" sz="3600" b="1" dirty="0">
                <a:solidFill>
                  <a:schemeClr val="accent2"/>
                </a:solidFill>
                <a:latin typeface="+mn-lt"/>
              </a:rPr>
              <a:t> System Therapy Activates Automatically Each Night</a:t>
            </a:r>
          </a:p>
        </p:txBody>
      </p:sp>
      <p:sp>
        <p:nvSpPr>
          <p:cNvPr id="24" name="Title 3">
            <a:extLst>
              <a:ext uri="{FF2B5EF4-FFF2-40B4-BE49-F238E27FC236}">
                <a16:creationId xmlns:a16="http://schemas.microsoft.com/office/drawing/2014/main" id="{C93F7DB3-7AC5-6545-A6DE-F1E1CFBDE1DC}"/>
              </a:ext>
            </a:extLst>
          </p:cNvPr>
          <p:cNvSpPr txBox="1">
            <a:spLocks/>
          </p:cNvSpPr>
          <p:nvPr/>
        </p:nvSpPr>
        <p:spPr>
          <a:xfrm>
            <a:off x="3032135" y="1151562"/>
            <a:ext cx="6123993" cy="486369"/>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2700" b="1" kern="1200" spc="75" baseline="0">
                <a:solidFill>
                  <a:schemeClr val="accent5"/>
                </a:solidFill>
                <a:latin typeface="+mn-lt"/>
                <a:ea typeface="+mj-ea"/>
                <a:cs typeface="+mj-cs"/>
              </a:defRPr>
            </a:lvl1pPr>
          </a:lstStyle>
          <a:p>
            <a:pPr algn="ctr"/>
            <a:r>
              <a:rPr lang="en-US" sz="2000" spc="0" dirty="0">
                <a:solidFill>
                  <a:srgbClr val="002060"/>
                </a:solidFill>
              </a:rPr>
              <a:t>Therapy is Delivered When…</a:t>
            </a:r>
          </a:p>
        </p:txBody>
      </p:sp>
      <p:sp>
        <p:nvSpPr>
          <p:cNvPr id="26" name="Title 3">
            <a:extLst>
              <a:ext uri="{FF2B5EF4-FFF2-40B4-BE49-F238E27FC236}">
                <a16:creationId xmlns:a16="http://schemas.microsoft.com/office/drawing/2014/main" id="{46637726-553C-8D49-BAB1-50175B1D698C}"/>
              </a:ext>
            </a:extLst>
          </p:cNvPr>
          <p:cNvSpPr txBox="1">
            <a:spLocks/>
          </p:cNvSpPr>
          <p:nvPr/>
        </p:nvSpPr>
        <p:spPr>
          <a:xfrm>
            <a:off x="469775" y="1804952"/>
            <a:ext cx="3302968" cy="722645"/>
          </a:xfrm>
          <a:prstGeom prst="rect">
            <a:avLst/>
          </a:prstGeom>
        </p:spPr>
        <p:txBody>
          <a:bodyPr vert="horz" lIns="91440" tIns="45720" rIns="91440" bIns="45720" rtlCol="0" anchor="t">
            <a:noAutofit/>
          </a:bodyPr>
          <a:lstStyle>
            <a:lvl1pPr algn="l" defTabSz="914400" rtl="0" eaLnBrk="1" latinLnBrk="0" hangingPunct="1">
              <a:lnSpc>
                <a:spcPct val="90000"/>
              </a:lnSpc>
              <a:spcBef>
                <a:spcPct val="0"/>
              </a:spcBef>
              <a:buNone/>
              <a:defRPr sz="2700" b="1" kern="1200" spc="75" baseline="0">
                <a:solidFill>
                  <a:schemeClr val="accent5"/>
                </a:solidFill>
                <a:latin typeface="+mn-lt"/>
                <a:ea typeface="+mj-ea"/>
                <a:cs typeface="+mj-cs"/>
              </a:defRPr>
            </a:lvl1pPr>
          </a:lstStyle>
          <a:p>
            <a:pPr algn="ctr">
              <a:lnSpc>
                <a:spcPct val="100000"/>
              </a:lnSpc>
            </a:pPr>
            <a:r>
              <a:rPr lang="en-US" sz="2000" b="0" spc="0" dirty="0">
                <a:solidFill>
                  <a:schemeClr val="tx1"/>
                </a:solidFill>
              </a:rPr>
              <a:t>It is within the pre-programmed sleeping hours…</a:t>
            </a:r>
          </a:p>
        </p:txBody>
      </p:sp>
      <p:sp>
        <p:nvSpPr>
          <p:cNvPr id="27" name="Title 3">
            <a:extLst>
              <a:ext uri="{FF2B5EF4-FFF2-40B4-BE49-F238E27FC236}">
                <a16:creationId xmlns:a16="http://schemas.microsoft.com/office/drawing/2014/main" id="{0A4B806E-1E1C-FC43-B4A6-FAF5AA29ACA8}"/>
              </a:ext>
            </a:extLst>
          </p:cNvPr>
          <p:cNvSpPr txBox="1">
            <a:spLocks/>
          </p:cNvSpPr>
          <p:nvPr/>
        </p:nvSpPr>
        <p:spPr>
          <a:xfrm>
            <a:off x="4171882" y="1804952"/>
            <a:ext cx="3848236" cy="722645"/>
          </a:xfrm>
          <a:prstGeom prst="rect">
            <a:avLst/>
          </a:prstGeom>
        </p:spPr>
        <p:txBody>
          <a:bodyPr vert="horz" lIns="91440" tIns="45720" rIns="91440" bIns="45720" rtlCol="0" anchor="t">
            <a:noAutofit/>
          </a:bodyPr>
          <a:lstStyle>
            <a:lvl1pPr algn="l" defTabSz="914400" rtl="0" eaLnBrk="1" latinLnBrk="0" hangingPunct="1">
              <a:lnSpc>
                <a:spcPct val="90000"/>
              </a:lnSpc>
              <a:spcBef>
                <a:spcPct val="0"/>
              </a:spcBef>
              <a:buNone/>
              <a:defRPr sz="2700" b="1" kern="1200" spc="75" baseline="0">
                <a:solidFill>
                  <a:schemeClr val="accent5"/>
                </a:solidFill>
                <a:latin typeface="+mn-lt"/>
                <a:ea typeface="+mj-ea"/>
                <a:cs typeface="+mj-cs"/>
              </a:defRPr>
            </a:lvl1pPr>
          </a:lstStyle>
          <a:p>
            <a:pPr algn="ctr">
              <a:lnSpc>
                <a:spcPct val="100000"/>
              </a:lnSpc>
            </a:pPr>
            <a:r>
              <a:rPr lang="en-US" sz="2000" b="0" spc="0" dirty="0">
                <a:solidFill>
                  <a:schemeClr val="tx1"/>
                </a:solidFill>
              </a:rPr>
              <a:t>…</a:t>
            </a:r>
            <a:r>
              <a:rPr lang="en-US" sz="2000" b="0" u="sng" spc="0" dirty="0">
                <a:solidFill>
                  <a:schemeClr val="tx1"/>
                </a:solidFill>
              </a:rPr>
              <a:t>AND</a:t>
            </a:r>
            <a:r>
              <a:rPr lang="en-US" sz="2000" b="0" spc="0" dirty="0">
                <a:solidFill>
                  <a:schemeClr val="tx1"/>
                </a:solidFill>
              </a:rPr>
              <a:t> the patient is reclined past the programmed sleeping angle…</a:t>
            </a:r>
          </a:p>
        </p:txBody>
      </p:sp>
      <p:sp>
        <p:nvSpPr>
          <p:cNvPr id="28" name="Title 3">
            <a:extLst>
              <a:ext uri="{FF2B5EF4-FFF2-40B4-BE49-F238E27FC236}">
                <a16:creationId xmlns:a16="http://schemas.microsoft.com/office/drawing/2014/main" id="{D7DA4EED-3A2C-384C-ADBF-E686217F3504}"/>
              </a:ext>
            </a:extLst>
          </p:cNvPr>
          <p:cNvSpPr txBox="1">
            <a:spLocks/>
          </p:cNvSpPr>
          <p:nvPr/>
        </p:nvSpPr>
        <p:spPr>
          <a:xfrm>
            <a:off x="8975091" y="1804952"/>
            <a:ext cx="2386615" cy="722645"/>
          </a:xfrm>
          <a:prstGeom prst="rect">
            <a:avLst/>
          </a:prstGeom>
        </p:spPr>
        <p:txBody>
          <a:bodyPr vert="horz" lIns="91440" tIns="45720" rIns="91440" bIns="45720" rtlCol="0" anchor="t">
            <a:noAutofit/>
          </a:bodyPr>
          <a:lstStyle>
            <a:lvl1pPr algn="l" defTabSz="914400" rtl="0" eaLnBrk="1" latinLnBrk="0" hangingPunct="1">
              <a:lnSpc>
                <a:spcPct val="90000"/>
              </a:lnSpc>
              <a:spcBef>
                <a:spcPct val="0"/>
              </a:spcBef>
              <a:buNone/>
              <a:defRPr sz="2700" b="1" kern="1200" spc="75" baseline="0">
                <a:solidFill>
                  <a:schemeClr val="accent5"/>
                </a:solidFill>
                <a:latin typeface="+mn-lt"/>
                <a:ea typeface="+mj-ea"/>
                <a:cs typeface="+mj-cs"/>
              </a:defRPr>
            </a:lvl1pPr>
          </a:lstStyle>
          <a:p>
            <a:pPr algn="ctr">
              <a:lnSpc>
                <a:spcPct val="100000"/>
              </a:lnSpc>
            </a:pPr>
            <a:r>
              <a:rPr lang="en-US" sz="2000" b="0" spc="0" dirty="0">
                <a:solidFill>
                  <a:schemeClr val="tx1"/>
                </a:solidFill>
              </a:rPr>
              <a:t>…</a:t>
            </a:r>
            <a:r>
              <a:rPr lang="en-US" sz="2000" b="0" u="sng" spc="0" dirty="0">
                <a:solidFill>
                  <a:schemeClr val="tx1"/>
                </a:solidFill>
              </a:rPr>
              <a:t>AND</a:t>
            </a:r>
            <a:r>
              <a:rPr lang="en-US" sz="2000" b="0" spc="0" dirty="0">
                <a:solidFill>
                  <a:schemeClr val="tx1"/>
                </a:solidFill>
              </a:rPr>
              <a:t> the patient is not moving</a:t>
            </a:r>
          </a:p>
        </p:txBody>
      </p:sp>
      <p:sp>
        <p:nvSpPr>
          <p:cNvPr id="32" name="Rounded Rectangle 31">
            <a:extLst>
              <a:ext uri="{FF2B5EF4-FFF2-40B4-BE49-F238E27FC236}">
                <a16:creationId xmlns:a16="http://schemas.microsoft.com/office/drawing/2014/main" id="{0C955891-D062-CF40-9D2E-FD5A239BAD3E}"/>
              </a:ext>
            </a:extLst>
          </p:cNvPr>
          <p:cNvSpPr/>
          <p:nvPr/>
        </p:nvSpPr>
        <p:spPr>
          <a:xfrm>
            <a:off x="4944996" y="2534497"/>
            <a:ext cx="2302008" cy="988614"/>
          </a:xfrm>
          <a:prstGeom prst="round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 name="Rounded Rectangle 1">
            <a:extLst>
              <a:ext uri="{FF2B5EF4-FFF2-40B4-BE49-F238E27FC236}">
                <a16:creationId xmlns:a16="http://schemas.microsoft.com/office/drawing/2014/main" id="{C38D9F6C-6073-F346-AB03-5D043BCB0D7C}"/>
              </a:ext>
            </a:extLst>
          </p:cNvPr>
          <p:cNvSpPr/>
          <p:nvPr/>
        </p:nvSpPr>
        <p:spPr>
          <a:xfrm>
            <a:off x="923604" y="2534497"/>
            <a:ext cx="2302008" cy="988614"/>
          </a:xfrm>
          <a:prstGeom prst="round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4" name="Rounded Rectangle 33">
            <a:extLst>
              <a:ext uri="{FF2B5EF4-FFF2-40B4-BE49-F238E27FC236}">
                <a16:creationId xmlns:a16="http://schemas.microsoft.com/office/drawing/2014/main" id="{34C3E987-6987-4948-BCCB-418C220D1777}"/>
              </a:ext>
            </a:extLst>
          </p:cNvPr>
          <p:cNvSpPr/>
          <p:nvPr/>
        </p:nvSpPr>
        <p:spPr>
          <a:xfrm>
            <a:off x="8966388" y="2534497"/>
            <a:ext cx="2302008" cy="988614"/>
          </a:xfrm>
          <a:prstGeom prst="round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5" name="Title 3">
            <a:extLst>
              <a:ext uri="{FF2B5EF4-FFF2-40B4-BE49-F238E27FC236}">
                <a16:creationId xmlns:a16="http://schemas.microsoft.com/office/drawing/2014/main" id="{203869C3-0723-E046-AB78-DCDF899C7E80}"/>
              </a:ext>
            </a:extLst>
          </p:cNvPr>
          <p:cNvSpPr txBox="1">
            <a:spLocks/>
          </p:cNvSpPr>
          <p:nvPr/>
        </p:nvSpPr>
        <p:spPr>
          <a:xfrm>
            <a:off x="3034003" y="3649474"/>
            <a:ext cx="6123993" cy="486369"/>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2700" b="1" kern="1200" spc="75" baseline="0">
                <a:solidFill>
                  <a:schemeClr val="accent5"/>
                </a:solidFill>
                <a:latin typeface="+mn-lt"/>
                <a:ea typeface="+mj-ea"/>
                <a:cs typeface="+mj-cs"/>
              </a:defRPr>
            </a:lvl1pPr>
          </a:lstStyle>
          <a:p>
            <a:pPr algn="ctr"/>
            <a:r>
              <a:rPr lang="en-US" sz="2000" spc="0" dirty="0">
                <a:solidFill>
                  <a:schemeClr val="tx1"/>
                </a:solidFill>
              </a:rPr>
              <a:t>Therapy is Paused When…</a:t>
            </a:r>
          </a:p>
        </p:txBody>
      </p:sp>
      <p:sp>
        <p:nvSpPr>
          <p:cNvPr id="38" name="Title 3">
            <a:extLst>
              <a:ext uri="{FF2B5EF4-FFF2-40B4-BE49-F238E27FC236}">
                <a16:creationId xmlns:a16="http://schemas.microsoft.com/office/drawing/2014/main" id="{8EF82C85-7E9B-7F41-8720-014F0B6D2ED3}"/>
              </a:ext>
            </a:extLst>
          </p:cNvPr>
          <p:cNvSpPr txBox="1">
            <a:spLocks/>
          </p:cNvSpPr>
          <p:nvPr/>
        </p:nvSpPr>
        <p:spPr>
          <a:xfrm>
            <a:off x="2863444" y="4135843"/>
            <a:ext cx="2481568" cy="722645"/>
          </a:xfrm>
          <a:prstGeom prst="rect">
            <a:avLst/>
          </a:prstGeom>
        </p:spPr>
        <p:txBody>
          <a:bodyPr vert="horz" lIns="91440" tIns="45720" rIns="91440" bIns="45720" rtlCol="0" anchor="t">
            <a:noAutofit/>
          </a:bodyPr>
          <a:lstStyle>
            <a:lvl1pPr algn="l" defTabSz="914400" rtl="0" eaLnBrk="1" latinLnBrk="0" hangingPunct="1">
              <a:lnSpc>
                <a:spcPct val="90000"/>
              </a:lnSpc>
              <a:spcBef>
                <a:spcPct val="0"/>
              </a:spcBef>
              <a:buNone/>
              <a:defRPr sz="2700" b="1" kern="1200" spc="75" baseline="0">
                <a:solidFill>
                  <a:schemeClr val="accent5"/>
                </a:solidFill>
                <a:latin typeface="+mn-lt"/>
                <a:ea typeface="+mj-ea"/>
                <a:cs typeface="+mj-cs"/>
              </a:defRPr>
            </a:lvl1pPr>
          </a:lstStyle>
          <a:p>
            <a:pPr algn="ctr"/>
            <a:r>
              <a:rPr lang="en-US" sz="2000" b="0" dirty="0">
                <a:solidFill>
                  <a:schemeClr val="tx1"/>
                </a:solidFill>
              </a:rPr>
              <a:t>The patient sits up…</a:t>
            </a:r>
          </a:p>
        </p:txBody>
      </p:sp>
      <p:sp>
        <p:nvSpPr>
          <p:cNvPr id="39" name="Title 3">
            <a:extLst>
              <a:ext uri="{FF2B5EF4-FFF2-40B4-BE49-F238E27FC236}">
                <a16:creationId xmlns:a16="http://schemas.microsoft.com/office/drawing/2014/main" id="{40D4AA8D-DBC5-BD42-B215-628572AC800B}"/>
              </a:ext>
            </a:extLst>
          </p:cNvPr>
          <p:cNvSpPr txBox="1">
            <a:spLocks/>
          </p:cNvSpPr>
          <p:nvPr/>
        </p:nvSpPr>
        <p:spPr>
          <a:xfrm>
            <a:off x="6437320" y="4135843"/>
            <a:ext cx="2891236" cy="722645"/>
          </a:xfrm>
          <a:prstGeom prst="rect">
            <a:avLst/>
          </a:prstGeom>
        </p:spPr>
        <p:txBody>
          <a:bodyPr vert="horz" lIns="91440" tIns="45720" rIns="91440" bIns="45720" rtlCol="0" anchor="t">
            <a:noAutofit/>
          </a:bodyPr>
          <a:lstStyle>
            <a:lvl1pPr algn="l" defTabSz="914400" rtl="0" eaLnBrk="1" latinLnBrk="0" hangingPunct="1">
              <a:lnSpc>
                <a:spcPct val="90000"/>
              </a:lnSpc>
              <a:spcBef>
                <a:spcPct val="0"/>
              </a:spcBef>
              <a:buNone/>
              <a:defRPr sz="2700" b="1" kern="1200" spc="75" baseline="0">
                <a:solidFill>
                  <a:schemeClr val="accent5"/>
                </a:solidFill>
                <a:latin typeface="+mn-lt"/>
                <a:ea typeface="+mj-ea"/>
                <a:cs typeface="+mj-cs"/>
              </a:defRPr>
            </a:lvl1pPr>
          </a:lstStyle>
          <a:p>
            <a:pPr algn="ctr"/>
            <a:r>
              <a:rPr lang="en-US" sz="2000" b="0" dirty="0">
                <a:solidFill>
                  <a:schemeClr val="tx1"/>
                </a:solidFill>
              </a:rPr>
              <a:t>…</a:t>
            </a:r>
            <a:r>
              <a:rPr lang="en-US" sz="2000" b="0" u="sng" dirty="0">
                <a:solidFill>
                  <a:schemeClr val="tx1"/>
                </a:solidFill>
              </a:rPr>
              <a:t>OR</a:t>
            </a:r>
            <a:r>
              <a:rPr lang="en-US" sz="2000" b="0" dirty="0">
                <a:solidFill>
                  <a:schemeClr val="tx1"/>
                </a:solidFill>
              </a:rPr>
              <a:t> the patient moves</a:t>
            </a:r>
          </a:p>
        </p:txBody>
      </p:sp>
      <p:sp>
        <p:nvSpPr>
          <p:cNvPr id="40" name="Rounded Rectangle 39">
            <a:extLst>
              <a:ext uri="{FF2B5EF4-FFF2-40B4-BE49-F238E27FC236}">
                <a16:creationId xmlns:a16="http://schemas.microsoft.com/office/drawing/2014/main" id="{7A44EB2F-24ED-F74B-A7C0-731C61C9B307}"/>
              </a:ext>
            </a:extLst>
          </p:cNvPr>
          <p:cNvSpPr/>
          <p:nvPr/>
        </p:nvSpPr>
        <p:spPr>
          <a:xfrm>
            <a:off x="6731934" y="4567678"/>
            <a:ext cx="2302008" cy="988614"/>
          </a:xfrm>
          <a:prstGeom prst="round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1" name="Rounded Rectangle 40">
            <a:extLst>
              <a:ext uri="{FF2B5EF4-FFF2-40B4-BE49-F238E27FC236}">
                <a16:creationId xmlns:a16="http://schemas.microsoft.com/office/drawing/2014/main" id="{FC06A485-85CD-F14A-9282-69D3961E5FC7}"/>
              </a:ext>
            </a:extLst>
          </p:cNvPr>
          <p:cNvSpPr/>
          <p:nvPr/>
        </p:nvSpPr>
        <p:spPr>
          <a:xfrm>
            <a:off x="2960711" y="4567678"/>
            <a:ext cx="2302008" cy="988614"/>
          </a:xfrm>
          <a:prstGeom prst="round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3" name="Title 3">
            <a:extLst>
              <a:ext uri="{FF2B5EF4-FFF2-40B4-BE49-F238E27FC236}">
                <a16:creationId xmlns:a16="http://schemas.microsoft.com/office/drawing/2014/main" id="{00E26DF7-BBAA-B54E-A1CE-93B03E9299EF}"/>
              </a:ext>
            </a:extLst>
          </p:cNvPr>
          <p:cNvSpPr txBox="1">
            <a:spLocks/>
          </p:cNvSpPr>
          <p:nvPr/>
        </p:nvSpPr>
        <p:spPr>
          <a:xfrm>
            <a:off x="314875" y="5858599"/>
            <a:ext cx="11598957" cy="341632"/>
          </a:xfrm>
          <a:prstGeom prst="rect">
            <a:avLst/>
          </a:prstGeom>
        </p:spPr>
        <p:txBody>
          <a:bodyPr vert="horz" wrap="square" lIns="91440" tIns="45720" rIns="91440" bIns="45720" rtlCol="0" anchor="t">
            <a:spAutoFit/>
          </a:bodyPr>
          <a:lstStyle>
            <a:defPPr>
              <a:defRPr lang="en-US"/>
            </a:defPPr>
            <a:lvl1pPr algn="ctr">
              <a:lnSpc>
                <a:spcPct val="90000"/>
              </a:lnSpc>
              <a:spcBef>
                <a:spcPct val="0"/>
              </a:spcBef>
              <a:buNone/>
              <a:defRPr sz="2400" b="1" spc="75" baseline="0">
                <a:solidFill>
                  <a:schemeClr val="accent5"/>
                </a:solidFill>
                <a:ea typeface="+mj-ea"/>
                <a:cs typeface="+mj-cs"/>
              </a:defRPr>
            </a:lvl1pPr>
          </a:lstStyle>
          <a:p>
            <a:r>
              <a:rPr lang="en-US" sz="1800" dirty="0">
                <a:solidFill>
                  <a:srgbClr val="29425E"/>
                </a:solidFill>
                <a:latin typeface="Century Gothic" panose="020B0502020202020204" pitchFamily="34" charset="0"/>
              </a:rPr>
              <a:t>Therapy resumes ~10 minutes after the patient returns to sleep position and is once again still</a:t>
            </a:r>
          </a:p>
        </p:txBody>
      </p:sp>
      <p:sp>
        <p:nvSpPr>
          <p:cNvPr id="44" name="Title 3">
            <a:extLst>
              <a:ext uri="{FF2B5EF4-FFF2-40B4-BE49-F238E27FC236}">
                <a16:creationId xmlns:a16="http://schemas.microsoft.com/office/drawing/2014/main" id="{DB0D3C0E-C74B-2A48-8387-9076C77F2D38}"/>
              </a:ext>
            </a:extLst>
          </p:cNvPr>
          <p:cNvSpPr txBox="1">
            <a:spLocks/>
          </p:cNvSpPr>
          <p:nvPr/>
        </p:nvSpPr>
        <p:spPr>
          <a:xfrm>
            <a:off x="923484" y="2628691"/>
            <a:ext cx="2295547" cy="770550"/>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2700" b="1" kern="1200" spc="75" baseline="0">
                <a:solidFill>
                  <a:schemeClr val="accent5"/>
                </a:solidFill>
                <a:latin typeface="+mn-lt"/>
                <a:ea typeface="+mj-ea"/>
                <a:cs typeface="+mj-cs"/>
              </a:defRPr>
            </a:lvl1pPr>
          </a:lstStyle>
          <a:p>
            <a:pPr algn="ctr">
              <a:lnSpc>
                <a:spcPct val="100000"/>
              </a:lnSpc>
            </a:pPr>
            <a:r>
              <a:rPr lang="en-US" sz="2000" b="0" spc="0" dirty="0">
                <a:ln>
                  <a:solidFill>
                    <a:schemeClr val="bg1"/>
                  </a:solidFill>
                </a:ln>
                <a:solidFill>
                  <a:schemeClr val="bg1"/>
                </a:solidFill>
              </a:rPr>
              <a:t>Example</a:t>
            </a:r>
          </a:p>
          <a:p>
            <a:pPr algn="ctr">
              <a:lnSpc>
                <a:spcPct val="150000"/>
              </a:lnSpc>
            </a:pPr>
            <a:r>
              <a:rPr lang="en-US" sz="2000" spc="0" dirty="0">
                <a:ln>
                  <a:solidFill>
                    <a:schemeClr val="bg1"/>
                  </a:solidFill>
                </a:ln>
                <a:solidFill>
                  <a:schemeClr val="bg1"/>
                </a:solidFill>
              </a:rPr>
              <a:t>11:00 pm</a:t>
            </a:r>
          </a:p>
        </p:txBody>
      </p:sp>
      <p:grpSp>
        <p:nvGrpSpPr>
          <p:cNvPr id="5" name="Group 4">
            <a:extLst>
              <a:ext uri="{FF2B5EF4-FFF2-40B4-BE49-F238E27FC236}">
                <a16:creationId xmlns:a16="http://schemas.microsoft.com/office/drawing/2014/main" id="{F469E881-005B-5A44-82C2-67E65820839A}"/>
              </a:ext>
            </a:extLst>
          </p:cNvPr>
          <p:cNvGrpSpPr/>
          <p:nvPr/>
        </p:nvGrpSpPr>
        <p:grpSpPr>
          <a:xfrm>
            <a:off x="5216720" y="2682381"/>
            <a:ext cx="1646268" cy="627076"/>
            <a:chOff x="6345512" y="2971153"/>
            <a:chExt cx="1991985" cy="689784"/>
          </a:xfrm>
        </p:grpSpPr>
        <p:sp>
          <p:nvSpPr>
            <p:cNvPr id="46" name="Rounded Rectangle 45">
              <a:extLst>
                <a:ext uri="{FF2B5EF4-FFF2-40B4-BE49-F238E27FC236}">
                  <a16:creationId xmlns:a16="http://schemas.microsoft.com/office/drawing/2014/main" id="{70096699-F73C-0A43-828C-788084AF11CE}"/>
                </a:ext>
              </a:extLst>
            </p:cNvPr>
            <p:cNvSpPr/>
            <p:nvPr/>
          </p:nvSpPr>
          <p:spPr>
            <a:xfrm rot="1302090">
              <a:off x="6757887" y="3303144"/>
              <a:ext cx="881896" cy="209648"/>
            </a:xfrm>
            <a:prstGeom prst="roundRect">
              <a:avLst>
                <a:gd name="adj" fmla="val 50000"/>
              </a:avLst>
            </a:prstGeom>
            <a:solidFill>
              <a:schemeClr val="bg1"/>
            </a:solidFill>
            <a:ln w="19050">
              <a:solidFill>
                <a:srgbClr val="29425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 name="Rounded Rectangle 46">
              <a:extLst>
                <a:ext uri="{FF2B5EF4-FFF2-40B4-BE49-F238E27FC236}">
                  <a16:creationId xmlns:a16="http://schemas.microsoft.com/office/drawing/2014/main" id="{866B4795-A0FF-1145-93FA-86E377292414}"/>
                </a:ext>
              </a:extLst>
            </p:cNvPr>
            <p:cNvSpPr/>
            <p:nvPr/>
          </p:nvSpPr>
          <p:spPr>
            <a:xfrm rot="18245145">
              <a:off x="7394427" y="3350106"/>
              <a:ext cx="386634" cy="207964"/>
            </a:xfrm>
            <a:prstGeom prst="roundRect">
              <a:avLst>
                <a:gd name="adj" fmla="val 50000"/>
              </a:avLst>
            </a:prstGeom>
            <a:solidFill>
              <a:schemeClr val="bg1"/>
            </a:solidFill>
            <a:ln w="19050">
              <a:solidFill>
                <a:srgbClr val="29425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 name="Rounded Rectangle 47">
              <a:extLst>
                <a:ext uri="{FF2B5EF4-FFF2-40B4-BE49-F238E27FC236}">
                  <a16:creationId xmlns:a16="http://schemas.microsoft.com/office/drawing/2014/main" id="{BB810EF8-CF3A-7447-9D57-9476C8180DD8}"/>
                </a:ext>
              </a:extLst>
            </p:cNvPr>
            <p:cNvSpPr/>
            <p:nvPr/>
          </p:nvSpPr>
          <p:spPr>
            <a:xfrm rot="2677072">
              <a:off x="6722954" y="3345793"/>
              <a:ext cx="560478" cy="150117"/>
            </a:xfrm>
            <a:prstGeom prst="roundRect">
              <a:avLst>
                <a:gd name="adj" fmla="val 50000"/>
              </a:avLst>
            </a:prstGeom>
            <a:solidFill>
              <a:schemeClr val="bg1"/>
            </a:solidFill>
            <a:ln w="19050">
              <a:solidFill>
                <a:srgbClr val="29425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 name="Rounded Rectangle 48">
              <a:extLst>
                <a:ext uri="{FF2B5EF4-FFF2-40B4-BE49-F238E27FC236}">
                  <a16:creationId xmlns:a16="http://schemas.microsoft.com/office/drawing/2014/main" id="{C70DA53B-1688-2C41-84C7-1880501B5667}"/>
                </a:ext>
              </a:extLst>
            </p:cNvPr>
            <p:cNvSpPr/>
            <p:nvPr/>
          </p:nvSpPr>
          <p:spPr>
            <a:xfrm>
              <a:off x="7064656" y="3480666"/>
              <a:ext cx="507160" cy="150117"/>
            </a:xfrm>
            <a:prstGeom prst="roundRect">
              <a:avLst>
                <a:gd name="adj" fmla="val 50000"/>
              </a:avLst>
            </a:prstGeom>
            <a:solidFill>
              <a:schemeClr val="bg1"/>
            </a:solidFill>
            <a:ln w="19050">
              <a:solidFill>
                <a:srgbClr val="29425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0" name="Rounded Rectangle 49">
              <a:extLst>
                <a:ext uri="{FF2B5EF4-FFF2-40B4-BE49-F238E27FC236}">
                  <a16:creationId xmlns:a16="http://schemas.microsoft.com/office/drawing/2014/main" id="{C2D8DB7C-8DE2-0B4D-A5B4-B92A93CFF453}"/>
                </a:ext>
              </a:extLst>
            </p:cNvPr>
            <p:cNvSpPr/>
            <p:nvPr/>
          </p:nvSpPr>
          <p:spPr>
            <a:xfrm>
              <a:off x="6345512" y="3321113"/>
              <a:ext cx="479108" cy="156772"/>
            </a:xfrm>
            <a:prstGeom prst="roundRect">
              <a:avLst>
                <a:gd name="adj" fmla="val 50000"/>
              </a:avLst>
            </a:prstGeom>
            <a:solidFill>
              <a:schemeClr val="bg1"/>
            </a:solidFill>
            <a:ln>
              <a:solidFill>
                <a:srgbClr val="29425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Rounded Rectangle 50">
              <a:extLst>
                <a:ext uri="{FF2B5EF4-FFF2-40B4-BE49-F238E27FC236}">
                  <a16:creationId xmlns:a16="http://schemas.microsoft.com/office/drawing/2014/main" id="{95683501-B432-BF4C-95D9-E4545EADE483}"/>
                </a:ext>
              </a:extLst>
            </p:cNvPr>
            <p:cNvSpPr/>
            <p:nvPr/>
          </p:nvSpPr>
          <p:spPr>
            <a:xfrm>
              <a:off x="6345512" y="3504165"/>
              <a:ext cx="479108" cy="156772"/>
            </a:xfrm>
            <a:prstGeom prst="roundRect">
              <a:avLst>
                <a:gd name="adj" fmla="val 50000"/>
              </a:avLst>
            </a:prstGeom>
            <a:solidFill>
              <a:schemeClr val="bg1"/>
            </a:solidFill>
            <a:ln>
              <a:solidFill>
                <a:srgbClr val="29425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2" name="Rounded Rectangle 51">
              <a:extLst>
                <a:ext uri="{FF2B5EF4-FFF2-40B4-BE49-F238E27FC236}">
                  <a16:creationId xmlns:a16="http://schemas.microsoft.com/office/drawing/2014/main" id="{A3C8D63A-2577-8344-A523-E0005F29D2D0}"/>
                </a:ext>
              </a:extLst>
            </p:cNvPr>
            <p:cNvSpPr/>
            <p:nvPr/>
          </p:nvSpPr>
          <p:spPr>
            <a:xfrm rot="1302641">
              <a:off x="7536478" y="3381969"/>
              <a:ext cx="801019" cy="150117"/>
            </a:xfrm>
            <a:prstGeom prst="roundRect">
              <a:avLst>
                <a:gd name="adj" fmla="val 50000"/>
              </a:avLst>
            </a:prstGeom>
            <a:solidFill>
              <a:schemeClr val="bg1"/>
            </a:solidFill>
            <a:ln w="19050">
              <a:solidFill>
                <a:srgbClr val="29425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3" name="Oval 52">
              <a:extLst>
                <a:ext uri="{FF2B5EF4-FFF2-40B4-BE49-F238E27FC236}">
                  <a16:creationId xmlns:a16="http://schemas.microsoft.com/office/drawing/2014/main" id="{31CE3E7D-914D-9B47-A9E5-FDA2FD20F4AF}"/>
                </a:ext>
              </a:extLst>
            </p:cNvPr>
            <p:cNvSpPr/>
            <p:nvPr/>
          </p:nvSpPr>
          <p:spPr>
            <a:xfrm>
              <a:off x="6506943" y="2971153"/>
              <a:ext cx="328620" cy="301373"/>
            </a:xfrm>
            <a:prstGeom prst="ellipse">
              <a:avLst/>
            </a:prstGeom>
            <a:solidFill>
              <a:schemeClr val="bg1"/>
            </a:solidFill>
            <a:ln w="19050">
              <a:solidFill>
                <a:srgbClr val="29425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54" name="Group 53">
            <a:extLst>
              <a:ext uri="{FF2B5EF4-FFF2-40B4-BE49-F238E27FC236}">
                <a16:creationId xmlns:a16="http://schemas.microsoft.com/office/drawing/2014/main" id="{95B83A5A-4749-FB40-B537-8BB61F4F0672}"/>
              </a:ext>
            </a:extLst>
          </p:cNvPr>
          <p:cNvGrpSpPr/>
          <p:nvPr/>
        </p:nvGrpSpPr>
        <p:grpSpPr>
          <a:xfrm>
            <a:off x="9177680" y="2844098"/>
            <a:ext cx="1949626" cy="357962"/>
            <a:chOff x="7732098" y="3125226"/>
            <a:chExt cx="1949626" cy="357962"/>
          </a:xfrm>
          <a:solidFill>
            <a:schemeClr val="bg1"/>
          </a:solidFill>
        </p:grpSpPr>
        <p:sp>
          <p:nvSpPr>
            <p:cNvPr id="55" name="Rounded Rectangle 54">
              <a:extLst>
                <a:ext uri="{FF2B5EF4-FFF2-40B4-BE49-F238E27FC236}">
                  <a16:creationId xmlns:a16="http://schemas.microsoft.com/office/drawing/2014/main" id="{9276E633-0D47-174E-B631-F7C7E673C74B}"/>
                </a:ext>
              </a:extLst>
            </p:cNvPr>
            <p:cNvSpPr/>
            <p:nvPr/>
          </p:nvSpPr>
          <p:spPr>
            <a:xfrm rot="497303">
              <a:off x="8820669" y="3315149"/>
              <a:ext cx="784393" cy="152040"/>
            </a:xfrm>
            <a:prstGeom prst="roundRect">
              <a:avLst>
                <a:gd name="adj" fmla="val 50000"/>
              </a:avLst>
            </a:prstGeom>
            <a:grpFill/>
            <a:ln w="19050">
              <a:solidFill>
                <a:srgbClr val="29425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6" name="Rounded Rectangle 55">
              <a:extLst>
                <a:ext uri="{FF2B5EF4-FFF2-40B4-BE49-F238E27FC236}">
                  <a16:creationId xmlns:a16="http://schemas.microsoft.com/office/drawing/2014/main" id="{43FE24CA-F48B-0E43-B1D7-AEA53C7BEA52}"/>
                </a:ext>
              </a:extLst>
            </p:cNvPr>
            <p:cNvSpPr/>
            <p:nvPr/>
          </p:nvSpPr>
          <p:spPr>
            <a:xfrm rot="497303">
              <a:off x="8897331" y="3213947"/>
              <a:ext cx="784393" cy="132756"/>
            </a:xfrm>
            <a:prstGeom prst="roundRect">
              <a:avLst>
                <a:gd name="adj" fmla="val 50000"/>
              </a:avLst>
            </a:prstGeom>
            <a:grpFill/>
            <a:ln w="19050">
              <a:solidFill>
                <a:srgbClr val="29425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7" name="Oval 56">
              <a:extLst>
                <a:ext uri="{FF2B5EF4-FFF2-40B4-BE49-F238E27FC236}">
                  <a16:creationId xmlns:a16="http://schemas.microsoft.com/office/drawing/2014/main" id="{9331523D-AEF6-774A-9554-8D894665C32B}"/>
                </a:ext>
              </a:extLst>
            </p:cNvPr>
            <p:cNvSpPr/>
            <p:nvPr/>
          </p:nvSpPr>
          <p:spPr>
            <a:xfrm>
              <a:off x="7732098" y="3147432"/>
              <a:ext cx="321800" cy="335756"/>
            </a:xfrm>
            <a:prstGeom prst="ellipse">
              <a:avLst/>
            </a:prstGeom>
            <a:grpFill/>
            <a:ln w="19050">
              <a:solidFill>
                <a:srgbClr val="29425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8" name="Rounded Rectangle 57">
              <a:extLst>
                <a:ext uri="{FF2B5EF4-FFF2-40B4-BE49-F238E27FC236}">
                  <a16:creationId xmlns:a16="http://schemas.microsoft.com/office/drawing/2014/main" id="{F2B866DB-8114-EB4C-8909-865C491EDAE8}"/>
                </a:ext>
              </a:extLst>
            </p:cNvPr>
            <p:cNvSpPr/>
            <p:nvPr/>
          </p:nvSpPr>
          <p:spPr>
            <a:xfrm rot="18320382">
              <a:off x="8667189" y="3200198"/>
              <a:ext cx="348062" cy="198118"/>
            </a:xfrm>
            <a:prstGeom prst="roundRect">
              <a:avLst>
                <a:gd name="adj" fmla="val 50000"/>
              </a:avLst>
            </a:prstGeom>
            <a:grpFill/>
            <a:ln w="19050">
              <a:solidFill>
                <a:srgbClr val="29425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9" name="Rounded Rectangle 58">
              <a:extLst>
                <a:ext uri="{FF2B5EF4-FFF2-40B4-BE49-F238E27FC236}">
                  <a16:creationId xmlns:a16="http://schemas.microsoft.com/office/drawing/2014/main" id="{1BE9544E-C9D7-7349-A255-CADFE8BC6A3E}"/>
                </a:ext>
              </a:extLst>
            </p:cNvPr>
            <p:cNvSpPr/>
            <p:nvPr/>
          </p:nvSpPr>
          <p:spPr>
            <a:xfrm>
              <a:off x="8051463" y="3256953"/>
              <a:ext cx="863592" cy="212333"/>
            </a:xfrm>
            <a:prstGeom prst="roundRect">
              <a:avLst>
                <a:gd name="adj" fmla="val 50000"/>
              </a:avLst>
            </a:prstGeom>
            <a:grpFill/>
            <a:ln w="19050">
              <a:solidFill>
                <a:srgbClr val="29425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Rounded Rectangle 59">
              <a:extLst>
                <a:ext uri="{FF2B5EF4-FFF2-40B4-BE49-F238E27FC236}">
                  <a16:creationId xmlns:a16="http://schemas.microsoft.com/office/drawing/2014/main" id="{845F8DF3-6B13-C541-A64C-C7AF0DD19C09}"/>
                </a:ext>
              </a:extLst>
            </p:cNvPr>
            <p:cNvSpPr/>
            <p:nvPr/>
          </p:nvSpPr>
          <p:spPr>
            <a:xfrm rot="224972">
              <a:off x="8106401" y="3192519"/>
              <a:ext cx="548845" cy="152040"/>
            </a:xfrm>
            <a:prstGeom prst="roundRect">
              <a:avLst>
                <a:gd name="adj" fmla="val 50000"/>
              </a:avLst>
            </a:prstGeom>
            <a:grpFill/>
            <a:ln w="19050">
              <a:solidFill>
                <a:srgbClr val="29425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61" name="Group 60">
            <a:extLst>
              <a:ext uri="{FF2B5EF4-FFF2-40B4-BE49-F238E27FC236}">
                <a16:creationId xmlns:a16="http://schemas.microsoft.com/office/drawing/2014/main" id="{7DEE7607-60B1-BC4E-A4FF-387AA5EC0735}"/>
              </a:ext>
            </a:extLst>
          </p:cNvPr>
          <p:cNvGrpSpPr/>
          <p:nvPr/>
        </p:nvGrpSpPr>
        <p:grpSpPr>
          <a:xfrm>
            <a:off x="3472774" y="4617991"/>
            <a:ext cx="1325064" cy="857600"/>
            <a:chOff x="2307830" y="5499056"/>
            <a:chExt cx="2807730" cy="1823552"/>
          </a:xfrm>
          <a:solidFill>
            <a:schemeClr val="bg1"/>
          </a:solidFill>
        </p:grpSpPr>
        <p:sp>
          <p:nvSpPr>
            <p:cNvPr id="62" name="Rounded Rectangle 61">
              <a:extLst>
                <a:ext uri="{FF2B5EF4-FFF2-40B4-BE49-F238E27FC236}">
                  <a16:creationId xmlns:a16="http://schemas.microsoft.com/office/drawing/2014/main" id="{3467C44F-36D9-A745-97DF-084C5FC70E89}"/>
                </a:ext>
              </a:extLst>
            </p:cNvPr>
            <p:cNvSpPr/>
            <p:nvPr/>
          </p:nvSpPr>
          <p:spPr>
            <a:xfrm rot="5400000">
              <a:off x="3003459" y="6513725"/>
              <a:ext cx="1309240" cy="308526"/>
            </a:xfrm>
            <a:prstGeom prst="roundRect">
              <a:avLst>
                <a:gd name="adj" fmla="val 50000"/>
              </a:avLst>
            </a:prstGeom>
            <a:grpFill/>
            <a:ln w="19050">
              <a:solidFill>
                <a:srgbClr val="29425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3" name="Rounded Rectangle 62">
              <a:extLst>
                <a:ext uri="{FF2B5EF4-FFF2-40B4-BE49-F238E27FC236}">
                  <a16:creationId xmlns:a16="http://schemas.microsoft.com/office/drawing/2014/main" id="{66EA35BF-3905-3847-A0CB-24D9F9F10506}"/>
                </a:ext>
              </a:extLst>
            </p:cNvPr>
            <p:cNvSpPr/>
            <p:nvPr/>
          </p:nvSpPr>
          <p:spPr>
            <a:xfrm rot="20204129">
              <a:off x="3534678" y="6920011"/>
              <a:ext cx="696506" cy="308738"/>
            </a:xfrm>
            <a:prstGeom prst="roundRect">
              <a:avLst>
                <a:gd name="adj" fmla="val 50000"/>
              </a:avLst>
            </a:prstGeom>
            <a:grpFill/>
            <a:ln w="19050">
              <a:solidFill>
                <a:srgbClr val="29425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4" name="Rounded Rectangle 63">
              <a:extLst>
                <a:ext uri="{FF2B5EF4-FFF2-40B4-BE49-F238E27FC236}">
                  <a16:creationId xmlns:a16="http://schemas.microsoft.com/office/drawing/2014/main" id="{A546208A-6609-5149-A544-0032E7F6DD95}"/>
                </a:ext>
              </a:extLst>
            </p:cNvPr>
            <p:cNvSpPr/>
            <p:nvPr/>
          </p:nvSpPr>
          <p:spPr>
            <a:xfrm rot="2677072">
              <a:off x="3504097" y="6227569"/>
              <a:ext cx="661664" cy="220918"/>
            </a:xfrm>
            <a:prstGeom prst="roundRect">
              <a:avLst>
                <a:gd name="adj" fmla="val 50000"/>
              </a:avLst>
            </a:prstGeom>
            <a:grpFill/>
            <a:ln w="19050">
              <a:solidFill>
                <a:srgbClr val="29425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5" name="Rounded Rectangle 64">
              <a:extLst>
                <a:ext uri="{FF2B5EF4-FFF2-40B4-BE49-F238E27FC236}">
                  <a16:creationId xmlns:a16="http://schemas.microsoft.com/office/drawing/2014/main" id="{E8122AE0-1FA7-0543-86A4-E79444551151}"/>
                </a:ext>
              </a:extLst>
            </p:cNvPr>
            <p:cNvSpPr/>
            <p:nvPr/>
          </p:nvSpPr>
          <p:spPr>
            <a:xfrm>
              <a:off x="3913686" y="6402205"/>
              <a:ext cx="752916" cy="220918"/>
            </a:xfrm>
            <a:prstGeom prst="roundRect">
              <a:avLst>
                <a:gd name="adj" fmla="val 50000"/>
              </a:avLst>
            </a:prstGeom>
            <a:grpFill/>
            <a:ln w="19050">
              <a:solidFill>
                <a:srgbClr val="29425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6" name="Rounded Rectangle 65">
              <a:extLst>
                <a:ext uri="{FF2B5EF4-FFF2-40B4-BE49-F238E27FC236}">
                  <a16:creationId xmlns:a16="http://schemas.microsoft.com/office/drawing/2014/main" id="{CD341E25-96E9-A746-9281-9F022D80A353}"/>
                </a:ext>
              </a:extLst>
            </p:cNvPr>
            <p:cNvSpPr/>
            <p:nvPr/>
          </p:nvSpPr>
          <p:spPr>
            <a:xfrm>
              <a:off x="2307830" y="6753422"/>
              <a:ext cx="711271" cy="230712"/>
            </a:xfrm>
            <a:prstGeom prst="roundRect">
              <a:avLst>
                <a:gd name="adj" fmla="val 50000"/>
              </a:avLst>
            </a:prstGeom>
            <a:grpFill/>
            <a:ln>
              <a:solidFill>
                <a:srgbClr val="29425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7" name="Rounded Rectangle 66">
              <a:extLst>
                <a:ext uri="{FF2B5EF4-FFF2-40B4-BE49-F238E27FC236}">
                  <a16:creationId xmlns:a16="http://schemas.microsoft.com/office/drawing/2014/main" id="{D775D34A-9C8E-2444-8BE7-6DF5DF450197}"/>
                </a:ext>
              </a:extLst>
            </p:cNvPr>
            <p:cNvSpPr/>
            <p:nvPr/>
          </p:nvSpPr>
          <p:spPr>
            <a:xfrm>
              <a:off x="2307830" y="7061695"/>
              <a:ext cx="711271" cy="230712"/>
            </a:xfrm>
            <a:prstGeom prst="roundRect">
              <a:avLst>
                <a:gd name="adj" fmla="val 50000"/>
              </a:avLst>
            </a:prstGeom>
            <a:grpFill/>
            <a:ln>
              <a:solidFill>
                <a:srgbClr val="29425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8" name="Rounded Rectangle 67">
              <a:extLst>
                <a:ext uri="{FF2B5EF4-FFF2-40B4-BE49-F238E27FC236}">
                  <a16:creationId xmlns:a16="http://schemas.microsoft.com/office/drawing/2014/main" id="{EEDC9256-6C9B-274C-85DC-8B01FECD09B0}"/>
                </a:ext>
              </a:extLst>
            </p:cNvPr>
            <p:cNvSpPr/>
            <p:nvPr/>
          </p:nvSpPr>
          <p:spPr>
            <a:xfrm rot="917667">
              <a:off x="3951275" y="6985857"/>
              <a:ext cx="1164285" cy="227222"/>
            </a:xfrm>
            <a:prstGeom prst="roundRect">
              <a:avLst>
                <a:gd name="adj" fmla="val 50000"/>
              </a:avLst>
            </a:prstGeom>
            <a:grpFill/>
            <a:ln w="19050">
              <a:solidFill>
                <a:srgbClr val="29425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9" name="Oval 68">
              <a:extLst>
                <a:ext uri="{FF2B5EF4-FFF2-40B4-BE49-F238E27FC236}">
                  <a16:creationId xmlns:a16="http://schemas.microsoft.com/office/drawing/2014/main" id="{7BC7B8FB-60A3-B340-85A3-88D6D1777A8B}"/>
                </a:ext>
              </a:extLst>
            </p:cNvPr>
            <p:cNvSpPr/>
            <p:nvPr/>
          </p:nvSpPr>
          <p:spPr>
            <a:xfrm>
              <a:off x="3414147" y="5499056"/>
              <a:ext cx="487860" cy="487862"/>
            </a:xfrm>
            <a:prstGeom prst="ellipse">
              <a:avLst/>
            </a:prstGeom>
            <a:grpFill/>
            <a:ln w="19050">
              <a:solidFill>
                <a:srgbClr val="29425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70" name="Group 69">
            <a:extLst>
              <a:ext uri="{FF2B5EF4-FFF2-40B4-BE49-F238E27FC236}">
                <a16:creationId xmlns:a16="http://schemas.microsoft.com/office/drawing/2014/main" id="{D3B1CA2F-8556-D340-9FD4-461700BD6B11}"/>
              </a:ext>
            </a:extLst>
          </p:cNvPr>
          <p:cNvGrpSpPr/>
          <p:nvPr/>
        </p:nvGrpSpPr>
        <p:grpSpPr>
          <a:xfrm>
            <a:off x="7009036" y="5055825"/>
            <a:ext cx="1747803" cy="304652"/>
            <a:chOff x="5969623" y="6515680"/>
            <a:chExt cx="2955710" cy="520128"/>
          </a:xfrm>
          <a:solidFill>
            <a:schemeClr val="bg1"/>
          </a:solidFill>
        </p:grpSpPr>
        <p:sp>
          <p:nvSpPr>
            <p:cNvPr id="71" name="Rounded Rectangle 70">
              <a:extLst>
                <a:ext uri="{FF2B5EF4-FFF2-40B4-BE49-F238E27FC236}">
                  <a16:creationId xmlns:a16="http://schemas.microsoft.com/office/drawing/2014/main" id="{6D3255C2-18B4-3440-AAD5-2407637A02A0}"/>
                </a:ext>
              </a:extLst>
            </p:cNvPr>
            <p:cNvSpPr/>
            <p:nvPr/>
          </p:nvSpPr>
          <p:spPr>
            <a:xfrm rot="497303">
              <a:off x="7619941" y="6791643"/>
              <a:ext cx="1189171" cy="220918"/>
            </a:xfrm>
            <a:prstGeom prst="roundRect">
              <a:avLst>
                <a:gd name="adj" fmla="val 50000"/>
              </a:avLst>
            </a:prstGeom>
            <a:grpFill/>
            <a:ln w="19050">
              <a:solidFill>
                <a:srgbClr val="29425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2" name="Rounded Rectangle 71">
              <a:extLst>
                <a:ext uri="{FF2B5EF4-FFF2-40B4-BE49-F238E27FC236}">
                  <a16:creationId xmlns:a16="http://schemas.microsoft.com/office/drawing/2014/main" id="{120C238C-88F0-F242-A56C-2CD75FA434EC}"/>
                </a:ext>
              </a:extLst>
            </p:cNvPr>
            <p:cNvSpPr/>
            <p:nvPr/>
          </p:nvSpPr>
          <p:spPr>
            <a:xfrm rot="497303">
              <a:off x="7736162" y="6644594"/>
              <a:ext cx="1189171" cy="192898"/>
            </a:xfrm>
            <a:prstGeom prst="roundRect">
              <a:avLst>
                <a:gd name="adj" fmla="val 50000"/>
              </a:avLst>
            </a:prstGeom>
            <a:grpFill/>
            <a:ln w="19050">
              <a:solidFill>
                <a:srgbClr val="29425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3" name="Oval 72">
              <a:extLst>
                <a:ext uri="{FF2B5EF4-FFF2-40B4-BE49-F238E27FC236}">
                  <a16:creationId xmlns:a16="http://schemas.microsoft.com/office/drawing/2014/main" id="{32223E79-5FE2-3A41-8C9E-9E975A37BA04}"/>
                </a:ext>
              </a:extLst>
            </p:cNvPr>
            <p:cNvSpPr/>
            <p:nvPr/>
          </p:nvSpPr>
          <p:spPr>
            <a:xfrm>
              <a:off x="5969623" y="6547947"/>
              <a:ext cx="487861" cy="487861"/>
            </a:xfrm>
            <a:prstGeom prst="ellipse">
              <a:avLst/>
            </a:prstGeom>
            <a:grpFill/>
            <a:ln w="19050">
              <a:solidFill>
                <a:srgbClr val="29425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5" name="Rounded Rectangle 74">
              <a:extLst>
                <a:ext uri="{FF2B5EF4-FFF2-40B4-BE49-F238E27FC236}">
                  <a16:creationId xmlns:a16="http://schemas.microsoft.com/office/drawing/2014/main" id="{9B445D81-2D7F-7647-8846-8E14CC3EF430}"/>
                </a:ext>
              </a:extLst>
            </p:cNvPr>
            <p:cNvSpPr/>
            <p:nvPr/>
          </p:nvSpPr>
          <p:spPr>
            <a:xfrm rot="18320382">
              <a:off x="7398225" y="6618375"/>
              <a:ext cx="505743" cy="300354"/>
            </a:xfrm>
            <a:prstGeom prst="roundRect">
              <a:avLst>
                <a:gd name="adj" fmla="val 50000"/>
              </a:avLst>
            </a:prstGeom>
            <a:grpFill/>
            <a:ln w="19050">
              <a:solidFill>
                <a:srgbClr val="29425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6" name="Rounded Rectangle 75">
              <a:extLst>
                <a:ext uri="{FF2B5EF4-FFF2-40B4-BE49-F238E27FC236}">
                  <a16:creationId xmlns:a16="http://schemas.microsoft.com/office/drawing/2014/main" id="{A423E3D1-3EE9-0245-8B37-5835A86CADE2}"/>
                </a:ext>
              </a:extLst>
            </p:cNvPr>
            <p:cNvSpPr/>
            <p:nvPr/>
          </p:nvSpPr>
          <p:spPr>
            <a:xfrm>
              <a:off x="6453792" y="6707084"/>
              <a:ext cx="1309240" cy="308526"/>
            </a:xfrm>
            <a:prstGeom prst="roundRect">
              <a:avLst>
                <a:gd name="adj" fmla="val 50000"/>
              </a:avLst>
            </a:prstGeom>
            <a:grpFill/>
            <a:ln w="19050">
              <a:solidFill>
                <a:srgbClr val="29425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7" name="Rounded Rectangle 76">
              <a:extLst>
                <a:ext uri="{FF2B5EF4-FFF2-40B4-BE49-F238E27FC236}">
                  <a16:creationId xmlns:a16="http://schemas.microsoft.com/office/drawing/2014/main" id="{5F69B999-4B7B-DE40-BB8A-C7D68E1C81EA}"/>
                </a:ext>
              </a:extLst>
            </p:cNvPr>
            <p:cNvSpPr/>
            <p:nvPr/>
          </p:nvSpPr>
          <p:spPr>
            <a:xfrm rot="224972">
              <a:off x="6537081" y="6613458"/>
              <a:ext cx="832071" cy="220918"/>
            </a:xfrm>
            <a:prstGeom prst="roundRect">
              <a:avLst>
                <a:gd name="adj" fmla="val 50000"/>
              </a:avLst>
            </a:prstGeom>
            <a:grpFill/>
            <a:ln w="19050">
              <a:solidFill>
                <a:srgbClr val="29425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8" name="Rounded Rectangle 77">
              <a:extLst>
                <a:ext uri="{FF2B5EF4-FFF2-40B4-BE49-F238E27FC236}">
                  <a16:creationId xmlns:a16="http://schemas.microsoft.com/office/drawing/2014/main" id="{CA4F2374-897D-F54F-965E-81B4A988D59A}"/>
                </a:ext>
              </a:extLst>
            </p:cNvPr>
            <p:cNvSpPr/>
            <p:nvPr/>
          </p:nvSpPr>
          <p:spPr>
            <a:xfrm rot="1887798">
              <a:off x="6800746" y="6533035"/>
              <a:ext cx="602390" cy="220918"/>
            </a:xfrm>
            <a:prstGeom prst="roundRect">
              <a:avLst>
                <a:gd name="adj" fmla="val 50000"/>
              </a:avLst>
            </a:prstGeom>
            <a:grpFill/>
            <a:ln w="19050">
              <a:solidFill>
                <a:srgbClr val="29425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79" name="Curved Left Arrow 78">
            <a:extLst>
              <a:ext uri="{FF2B5EF4-FFF2-40B4-BE49-F238E27FC236}">
                <a16:creationId xmlns:a16="http://schemas.microsoft.com/office/drawing/2014/main" id="{D6CA30F5-3F87-354D-B954-AAE210F6AE7E}"/>
              </a:ext>
            </a:extLst>
          </p:cNvPr>
          <p:cNvSpPr/>
          <p:nvPr/>
        </p:nvSpPr>
        <p:spPr>
          <a:xfrm rot="18864735">
            <a:off x="7943910" y="4592746"/>
            <a:ext cx="434090" cy="943705"/>
          </a:xfrm>
          <a:prstGeom prst="curvedLeftArrow">
            <a:avLst>
              <a:gd name="adj1" fmla="val 25000"/>
              <a:gd name="adj2" fmla="val 107496"/>
              <a:gd name="adj3" fmla="val 25000"/>
            </a:avLst>
          </a:prstGeom>
          <a:solidFill>
            <a:srgbClr val="D482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4" name="Slide Number Placeholder 3">
            <a:extLst>
              <a:ext uri="{FF2B5EF4-FFF2-40B4-BE49-F238E27FC236}">
                <a16:creationId xmlns:a16="http://schemas.microsoft.com/office/drawing/2014/main" id="{2A6BA0B9-0152-51EA-2DD0-372EE9A9FA8F}"/>
              </a:ext>
            </a:extLst>
          </p:cNvPr>
          <p:cNvSpPr>
            <a:spLocks noGrp="1"/>
          </p:cNvSpPr>
          <p:nvPr>
            <p:ph type="sldNum" sz="quarter" idx="12"/>
          </p:nvPr>
        </p:nvSpPr>
        <p:spPr/>
        <p:txBody>
          <a:bodyPr/>
          <a:lstStyle/>
          <a:p>
            <a:fld id="{21D51F98-DEF0-4E23-AE94-24E7CFC19B28}" type="slidenum">
              <a:rPr lang="en-US" smtClean="0"/>
              <a:t>27</a:t>
            </a:fld>
            <a:endParaRPr lang="en-US"/>
          </a:p>
        </p:txBody>
      </p:sp>
      <p:sp>
        <p:nvSpPr>
          <p:cNvPr id="7" name="Footer Placeholder 5">
            <a:extLst>
              <a:ext uri="{FF2B5EF4-FFF2-40B4-BE49-F238E27FC236}">
                <a16:creationId xmlns:a16="http://schemas.microsoft.com/office/drawing/2014/main" id="{D9D0B18F-3BAF-3107-058C-C2987D099225}"/>
              </a:ext>
            </a:extLst>
          </p:cNvPr>
          <p:cNvSpPr>
            <a:spLocks noGrp="1"/>
          </p:cNvSpPr>
          <p:nvPr>
            <p:ph type="ftr" sz="quarter" idx="11"/>
          </p:nvPr>
        </p:nvSpPr>
        <p:spPr>
          <a:xfrm>
            <a:off x="3684598" y="6459785"/>
            <a:ext cx="4822804" cy="365125"/>
          </a:xfrm>
        </p:spPr>
        <p:txBody>
          <a:bodyPr/>
          <a:lstStyle/>
          <a:p>
            <a:r>
              <a:rPr lang="en-US" dirty="0"/>
              <a:t>MAF1937 Rev E</a:t>
            </a:r>
          </a:p>
        </p:txBody>
      </p:sp>
    </p:spTree>
    <p:extLst>
      <p:ext uri="{BB962C8B-B14F-4D97-AF65-F5344CB8AC3E}">
        <p14:creationId xmlns:p14="http://schemas.microsoft.com/office/powerpoint/2010/main" val="223561414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85023" y="13443"/>
            <a:ext cx="11618912" cy="828675"/>
          </a:xfrm>
        </p:spPr>
        <p:txBody>
          <a:bodyPr>
            <a:noAutofit/>
          </a:bodyPr>
          <a:lstStyle/>
          <a:p>
            <a:r>
              <a:rPr lang="en-US" sz="2400" b="1" dirty="0">
                <a:solidFill>
                  <a:schemeClr val="accent2"/>
                </a:solidFill>
                <a:latin typeface="+mn-lt"/>
              </a:rPr>
              <a:t>Breathing stabilizes and apnea events are significantly reduced when phrenic nerve simulation is being delivered in this example</a:t>
            </a:r>
            <a:r>
              <a:rPr lang="en-US" sz="2400" b="1" baseline="30000" dirty="0">
                <a:solidFill>
                  <a:schemeClr val="accent2"/>
                </a:solidFill>
                <a:latin typeface="+mn-lt"/>
              </a:rPr>
              <a:t>1</a:t>
            </a:r>
          </a:p>
        </p:txBody>
      </p:sp>
      <p:pic>
        <p:nvPicPr>
          <p:cNvPr id="1026" name="Picture 2"/>
          <p:cNvPicPr>
            <a:picLocks noChangeAspect="1" noChangeArrowheads="1"/>
          </p:cNvPicPr>
          <p:nvPr/>
        </p:nvPicPr>
        <p:blipFill rotWithShape="1">
          <a:blip r:embed="rId2" cstate="email">
            <a:extLst>
              <a:ext uri="{28A0092B-C50C-407E-A947-70E740481C1C}">
                <a14:useLocalDpi xmlns:a14="http://schemas.microsoft.com/office/drawing/2010/main"/>
              </a:ext>
            </a:extLst>
          </a:blip>
          <a:srcRect/>
          <a:stretch/>
        </p:blipFill>
        <p:spPr bwMode="auto">
          <a:xfrm>
            <a:off x="1484894" y="962605"/>
            <a:ext cx="10253027" cy="45807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TextBox 6"/>
          <p:cNvSpPr txBox="1"/>
          <p:nvPr/>
        </p:nvSpPr>
        <p:spPr>
          <a:xfrm>
            <a:off x="6809677" y="5596921"/>
            <a:ext cx="5102802" cy="378838"/>
          </a:xfrm>
          <a:prstGeom prst="rect">
            <a:avLst/>
          </a:prstGeom>
          <a:solidFill>
            <a:schemeClr val="accent1"/>
          </a:solidFill>
          <a:ln>
            <a:solidFill>
              <a:schemeClr val="accent1"/>
            </a:solidFill>
          </a:ln>
        </p:spPr>
        <p:txBody>
          <a:bodyPr wrap="square" rtlCol="0">
            <a:spAutoFit/>
          </a:bodyPr>
          <a:lstStyle/>
          <a:p>
            <a:pPr algn="ctr"/>
            <a:r>
              <a:rPr lang="en-US" b="1" dirty="0">
                <a:solidFill>
                  <a:schemeClr val="bg1"/>
                </a:solidFill>
              </a:rPr>
              <a:t>Therapy On</a:t>
            </a:r>
          </a:p>
        </p:txBody>
      </p:sp>
      <p:sp>
        <p:nvSpPr>
          <p:cNvPr id="17" name="TextBox 3"/>
          <p:cNvSpPr txBox="1"/>
          <p:nvPr/>
        </p:nvSpPr>
        <p:spPr>
          <a:xfrm>
            <a:off x="59092" y="1347044"/>
            <a:ext cx="1340528" cy="584775"/>
          </a:xfrm>
          <a:prstGeom prst="rect">
            <a:avLst/>
          </a:prstGeom>
          <a:noFill/>
        </p:spPr>
        <p:txBody>
          <a:bodyPr wrap="square" rtlCol="0">
            <a:spAutoFit/>
          </a:bodyPr>
          <a:lstStyle>
            <a:defPPr>
              <a:defRPr lang="en-US"/>
            </a:defPPr>
            <a:lvl1pPr>
              <a:defRPr sz="1600" b="1">
                <a:solidFill>
                  <a:schemeClr val="accent5"/>
                </a:solidFill>
              </a:defRPr>
            </a:lvl1pPr>
          </a:lstStyle>
          <a:p>
            <a:pPr algn="ctr"/>
            <a:r>
              <a:rPr lang="en-US" dirty="0">
                <a:solidFill>
                  <a:schemeClr val="accent2"/>
                </a:solidFill>
              </a:rPr>
              <a:t>Oxygen </a:t>
            </a:r>
          </a:p>
          <a:p>
            <a:pPr algn="ctr"/>
            <a:r>
              <a:rPr lang="en-US" dirty="0">
                <a:solidFill>
                  <a:schemeClr val="accent2"/>
                </a:solidFill>
              </a:rPr>
              <a:t>Saturation</a:t>
            </a:r>
          </a:p>
        </p:txBody>
      </p:sp>
      <p:sp>
        <p:nvSpPr>
          <p:cNvPr id="18" name="TextBox 17"/>
          <p:cNvSpPr txBox="1"/>
          <p:nvPr/>
        </p:nvSpPr>
        <p:spPr>
          <a:xfrm>
            <a:off x="-47344" y="2423457"/>
            <a:ext cx="1532238" cy="338554"/>
          </a:xfrm>
          <a:prstGeom prst="rect">
            <a:avLst/>
          </a:prstGeom>
          <a:noFill/>
        </p:spPr>
        <p:txBody>
          <a:bodyPr wrap="square" rtlCol="0">
            <a:spAutoFit/>
          </a:bodyPr>
          <a:lstStyle>
            <a:defPPr>
              <a:defRPr lang="en-US"/>
            </a:defPPr>
            <a:lvl1pPr>
              <a:defRPr sz="1600" b="1">
                <a:solidFill>
                  <a:schemeClr val="accent5"/>
                </a:solidFill>
              </a:defRPr>
            </a:lvl1pPr>
          </a:lstStyle>
          <a:p>
            <a:pPr algn="r"/>
            <a:r>
              <a:rPr lang="en-US" dirty="0">
                <a:solidFill>
                  <a:schemeClr val="accent2"/>
                </a:solidFill>
              </a:rPr>
              <a:t>Abdominal Belt</a:t>
            </a:r>
          </a:p>
        </p:txBody>
      </p:sp>
      <p:sp>
        <p:nvSpPr>
          <p:cNvPr id="20" name="TextBox 19"/>
          <p:cNvSpPr txBox="1"/>
          <p:nvPr/>
        </p:nvSpPr>
        <p:spPr>
          <a:xfrm>
            <a:off x="98715" y="3495645"/>
            <a:ext cx="1295996" cy="338554"/>
          </a:xfrm>
          <a:prstGeom prst="rect">
            <a:avLst/>
          </a:prstGeom>
          <a:noFill/>
        </p:spPr>
        <p:txBody>
          <a:bodyPr wrap="square" rtlCol="0">
            <a:spAutoFit/>
          </a:bodyPr>
          <a:lstStyle>
            <a:defPPr>
              <a:defRPr lang="en-US"/>
            </a:defPPr>
            <a:lvl1pPr>
              <a:defRPr sz="1600" b="1">
                <a:solidFill>
                  <a:schemeClr val="accent5"/>
                </a:solidFill>
              </a:defRPr>
            </a:lvl1pPr>
          </a:lstStyle>
          <a:p>
            <a:pPr algn="r"/>
            <a:r>
              <a:rPr lang="en-US" dirty="0">
                <a:solidFill>
                  <a:schemeClr val="accent2"/>
                </a:solidFill>
              </a:rPr>
              <a:t>Thorax Belt</a:t>
            </a:r>
          </a:p>
        </p:txBody>
      </p:sp>
      <p:sp>
        <p:nvSpPr>
          <p:cNvPr id="24" name="TextBox 23"/>
          <p:cNvSpPr txBox="1"/>
          <p:nvPr/>
        </p:nvSpPr>
        <p:spPr>
          <a:xfrm>
            <a:off x="195988" y="4600716"/>
            <a:ext cx="1011661" cy="338554"/>
          </a:xfrm>
          <a:prstGeom prst="rect">
            <a:avLst/>
          </a:prstGeom>
          <a:noFill/>
        </p:spPr>
        <p:txBody>
          <a:bodyPr wrap="square" rtlCol="0">
            <a:spAutoFit/>
          </a:bodyPr>
          <a:lstStyle>
            <a:defPPr>
              <a:defRPr lang="en-US"/>
            </a:defPPr>
            <a:lvl1pPr>
              <a:defRPr sz="1600" b="1">
                <a:solidFill>
                  <a:schemeClr val="accent5"/>
                </a:solidFill>
              </a:defRPr>
            </a:lvl1pPr>
          </a:lstStyle>
          <a:p>
            <a:pPr algn="r"/>
            <a:r>
              <a:rPr lang="en-US" dirty="0">
                <a:solidFill>
                  <a:schemeClr val="accent2"/>
                </a:solidFill>
              </a:rPr>
              <a:t>Airflow</a:t>
            </a:r>
          </a:p>
        </p:txBody>
      </p:sp>
      <p:pic>
        <p:nvPicPr>
          <p:cNvPr id="16" name="Picture 2"/>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a:stretch/>
        </p:blipFill>
        <p:spPr bwMode="auto">
          <a:xfrm>
            <a:off x="6663709" y="1017355"/>
            <a:ext cx="5074211" cy="45260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9" name="Picture 2"/>
          <p:cNvPicPr>
            <a:picLocks noChangeAspect="1" noChangeArrowheads="1"/>
          </p:cNvPicPr>
          <p:nvPr/>
        </p:nvPicPr>
        <p:blipFill rotWithShape="1">
          <a:blip r:embed="rId4" cstate="email">
            <a:extLst>
              <a:ext uri="{28A0092B-C50C-407E-A947-70E740481C1C}">
                <a14:useLocalDpi xmlns:a14="http://schemas.microsoft.com/office/drawing/2010/main"/>
              </a:ext>
            </a:extLst>
          </a:blip>
          <a:srcRect/>
          <a:stretch/>
        </p:blipFill>
        <p:spPr bwMode="auto">
          <a:xfrm>
            <a:off x="1951316" y="962522"/>
            <a:ext cx="4837293" cy="45808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11" name="Straight Arrow Connector 10"/>
          <p:cNvCxnSpPr/>
          <p:nvPr/>
        </p:nvCxnSpPr>
        <p:spPr>
          <a:xfrm>
            <a:off x="3056290" y="898093"/>
            <a:ext cx="1290234" cy="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14" name="TextBox 13"/>
          <p:cNvSpPr txBox="1"/>
          <p:nvPr/>
        </p:nvSpPr>
        <p:spPr>
          <a:xfrm>
            <a:off x="2594755" y="981940"/>
            <a:ext cx="2336825" cy="307777"/>
          </a:xfrm>
          <a:prstGeom prst="rect">
            <a:avLst/>
          </a:prstGeom>
          <a:noFill/>
        </p:spPr>
        <p:txBody>
          <a:bodyPr wrap="square" rtlCol="0">
            <a:spAutoFit/>
          </a:bodyPr>
          <a:lstStyle>
            <a:defPPr>
              <a:defRPr lang="en-US"/>
            </a:defPPr>
            <a:lvl1pPr algn="r">
              <a:defRPr sz="1600" b="1">
                <a:solidFill>
                  <a:schemeClr val="accent5"/>
                </a:solidFill>
              </a:defRPr>
            </a:lvl1pPr>
          </a:lstStyle>
          <a:p>
            <a:pPr algn="ctr"/>
            <a:r>
              <a:rPr lang="en-US" sz="1400" dirty="0">
                <a:solidFill>
                  <a:schemeClr val="accent1"/>
                </a:solidFill>
              </a:rPr>
              <a:t>1 min intervals</a:t>
            </a:r>
          </a:p>
        </p:txBody>
      </p:sp>
      <p:sp>
        <p:nvSpPr>
          <p:cNvPr id="15" name="Rectangle 14"/>
          <p:cNvSpPr/>
          <p:nvPr/>
        </p:nvSpPr>
        <p:spPr>
          <a:xfrm>
            <a:off x="3390091" y="2307225"/>
            <a:ext cx="343746" cy="3053948"/>
          </a:xfrm>
          <a:prstGeom prst="rect">
            <a:avLst/>
          </a:prstGeom>
          <a:no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1"/>
              </a:solidFill>
            </a:endParaRPr>
          </a:p>
        </p:txBody>
      </p:sp>
      <p:sp>
        <p:nvSpPr>
          <p:cNvPr id="23" name="TextBox 22"/>
          <p:cNvSpPr txBox="1"/>
          <p:nvPr/>
        </p:nvSpPr>
        <p:spPr>
          <a:xfrm>
            <a:off x="3710286" y="1725514"/>
            <a:ext cx="2057685" cy="347267"/>
          </a:xfrm>
          <a:prstGeom prst="rect">
            <a:avLst/>
          </a:prstGeom>
          <a:solidFill>
            <a:schemeClr val="bg1"/>
          </a:solidFill>
        </p:spPr>
        <p:txBody>
          <a:bodyPr wrap="square" rtlCol="0">
            <a:spAutoFit/>
          </a:bodyPr>
          <a:lstStyle>
            <a:defPPr>
              <a:defRPr lang="en-US"/>
            </a:defPPr>
            <a:lvl1pPr>
              <a:defRPr sz="1600" b="1">
                <a:solidFill>
                  <a:schemeClr val="accent5"/>
                </a:solidFill>
              </a:defRPr>
            </a:lvl1pPr>
          </a:lstStyle>
          <a:p>
            <a:r>
              <a:rPr lang="en-US" dirty="0">
                <a:solidFill>
                  <a:schemeClr val="accent1"/>
                </a:solidFill>
              </a:rPr>
              <a:t>Central apnea events</a:t>
            </a:r>
          </a:p>
        </p:txBody>
      </p:sp>
      <p:cxnSp>
        <p:nvCxnSpPr>
          <p:cNvPr id="22" name="Straight Arrow Connector 21"/>
          <p:cNvCxnSpPr>
            <a:cxnSpLocks/>
          </p:cNvCxnSpPr>
          <p:nvPr/>
        </p:nvCxnSpPr>
        <p:spPr>
          <a:xfrm flipH="1">
            <a:off x="3701408" y="2000176"/>
            <a:ext cx="123521" cy="275992"/>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sp>
        <p:nvSpPr>
          <p:cNvPr id="27" name="TextBox 26"/>
          <p:cNvSpPr txBox="1"/>
          <p:nvPr/>
        </p:nvSpPr>
        <p:spPr>
          <a:xfrm>
            <a:off x="8896891" y="1033892"/>
            <a:ext cx="2057685" cy="347267"/>
          </a:xfrm>
          <a:prstGeom prst="rect">
            <a:avLst/>
          </a:prstGeom>
          <a:solidFill>
            <a:schemeClr val="bg1"/>
          </a:solidFill>
        </p:spPr>
        <p:txBody>
          <a:bodyPr wrap="square" rtlCol="0">
            <a:spAutoFit/>
          </a:bodyPr>
          <a:lstStyle>
            <a:defPPr>
              <a:defRPr lang="en-US"/>
            </a:defPPr>
            <a:lvl1pPr>
              <a:defRPr sz="1600" b="1">
                <a:solidFill>
                  <a:schemeClr val="accent5"/>
                </a:solidFill>
              </a:defRPr>
            </a:lvl1pPr>
          </a:lstStyle>
          <a:p>
            <a:r>
              <a:rPr lang="en-US" dirty="0">
                <a:solidFill>
                  <a:schemeClr val="accent1"/>
                </a:solidFill>
              </a:rPr>
              <a:t>Oxygen stabilizes</a:t>
            </a:r>
          </a:p>
        </p:txBody>
      </p:sp>
      <p:cxnSp>
        <p:nvCxnSpPr>
          <p:cNvPr id="28" name="Straight Arrow Connector 27"/>
          <p:cNvCxnSpPr/>
          <p:nvPr/>
        </p:nvCxnSpPr>
        <p:spPr>
          <a:xfrm>
            <a:off x="9120962" y="1258382"/>
            <a:ext cx="6868" cy="278627"/>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sp>
        <p:nvSpPr>
          <p:cNvPr id="26" name="TextBox 25"/>
          <p:cNvSpPr txBox="1"/>
          <p:nvPr/>
        </p:nvSpPr>
        <p:spPr>
          <a:xfrm>
            <a:off x="1685809" y="5605478"/>
            <a:ext cx="5102802" cy="378838"/>
          </a:xfrm>
          <a:prstGeom prst="rect">
            <a:avLst/>
          </a:prstGeom>
          <a:noFill/>
          <a:ln w="19050">
            <a:solidFill>
              <a:schemeClr val="accent1"/>
            </a:solidFill>
            <a:prstDash val="dash"/>
          </a:ln>
        </p:spPr>
        <p:txBody>
          <a:bodyPr wrap="square" rtlCol="0">
            <a:spAutoFit/>
          </a:bodyPr>
          <a:lstStyle/>
          <a:p>
            <a:pPr algn="ctr"/>
            <a:r>
              <a:rPr lang="en-US" b="1" dirty="0">
                <a:solidFill>
                  <a:schemeClr val="accent1"/>
                </a:solidFill>
              </a:rPr>
              <a:t>Therapy Off</a:t>
            </a:r>
          </a:p>
        </p:txBody>
      </p:sp>
      <p:sp>
        <p:nvSpPr>
          <p:cNvPr id="4" name="Rectangle 3"/>
          <p:cNvSpPr/>
          <p:nvPr/>
        </p:nvSpPr>
        <p:spPr>
          <a:xfrm>
            <a:off x="107469" y="6514818"/>
            <a:ext cx="2533066" cy="230832"/>
          </a:xfrm>
          <a:prstGeom prst="rect">
            <a:avLst/>
          </a:prstGeom>
        </p:spPr>
        <p:txBody>
          <a:bodyPr wrap="none">
            <a:spAutoFit/>
          </a:bodyPr>
          <a:lstStyle/>
          <a:p>
            <a:r>
              <a:rPr lang="en-US" sz="900" dirty="0">
                <a:solidFill>
                  <a:srgbClr val="33363E"/>
                </a:solidFill>
              </a:rPr>
              <a:t>1 Costanzo MR, et al., J Card Fail. 2015;21:892-902</a:t>
            </a:r>
            <a:endParaRPr lang="en-US" sz="1600" dirty="0"/>
          </a:p>
        </p:txBody>
      </p:sp>
      <p:cxnSp>
        <p:nvCxnSpPr>
          <p:cNvPr id="6" name="Straight Connector 5"/>
          <p:cNvCxnSpPr/>
          <p:nvPr/>
        </p:nvCxnSpPr>
        <p:spPr>
          <a:xfrm>
            <a:off x="6787863" y="958618"/>
            <a:ext cx="21814" cy="5070701"/>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21" name="Slide Number Placeholder 20">
            <a:extLst>
              <a:ext uri="{FF2B5EF4-FFF2-40B4-BE49-F238E27FC236}">
                <a16:creationId xmlns:a16="http://schemas.microsoft.com/office/drawing/2014/main" id="{27ADF5C2-06BD-649B-89B4-E0119BB73114}"/>
              </a:ext>
            </a:extLst>
          </p:cNvPr>
          <p:cNvSpPr>
            <a:spLocks noGrp="1"/>
          </p:cNvSpPr>
          <p:nvPr>
            <p:ph type="sldNum" sz="quarter" idx="12"/>
          </p:nvPr>
        </p:nvSpPr>
        <p:spPr/>
        <p:txBody>
          <a:bodyPr/>
          <a:lstStyle/>
          <a:p>
            <a:fld id="{21D51F98-DEF0-4E23-AE94-24E7CFC19B28}" type="slidenum">
              <a:rPr lang="en-US" smtClean="0"/>
              <a:t>28</a:t>
            </a:fld>
            <a:endParaRPr lang="en-US"/>
          </a:p>
        </p:txBody>
      </p:sp>
      <p:sp>
        <p:nvSpPr>
          <p:cNvPr id="9" name="TextBox 8">
            <a:extLst>
              <a:ext uri="{FF2B5EF4-FFF2-40B4-BE49-F238E27FC236}">
                <a16:creationId xmlns:a16="http://schemas.microsoft.com/office/drawing/2014/main" id="{821D51CB-C7DC-906E-73EE-24B318767CD5}"/>
              </a:ext>
            </a:extLst>
          </p:cNvPr>
          <p:cNvSpPr txBox="1"/>
          <p:nvPr/>
        </p:nvSpPr>
        <p:spPr>
          <a:xfrm>
            <a:off x="195988" y="6029319"/>
            <a:ext cx="11607947" cy="276999"/>
          </a:xfrm>
          <a:prstGeom prst="rect">
            <a:avLst/>
          </a:prstGeom>
          <a:noFill/>
        </p:spPr>
        <p:txBody>
          <a:bodyPr wrap="square" rtlCol="0">
            <a:spAutoFit/>
          </a:bodyPr>
          <a:lstStyle/>
          <a:p>
            <a:r>
              <a:rPr lang="en-US" sz="1200" dirty="0"/>
              <a:t>*This is an individual patient example and does not provide any indication, guide, warranty or guarantee as to the response other patients may have to the therapy.</a:t>
            </a:r>
          </a:p>
        </p:txBody>
      </p:sp>
      <p:sp>
        <p:nvSpPr>
          <p:cNvPr id="12" name="Footer Placeholder 5">
            <a:extLst>
              <a:ext uri="{FF2B5EF4-FFF2-40B4-BE49-F238E27FC236}">
                <a16:creationId xmlns:a16="http://schemas.microsoft.com/office/drawing/2014/main" id="{F032CEED-7547-F143-42E0-101D2B8D440E}"/>
              </a:ext>
            </a:extLst>
          </p:cNvPr>
          <p:cNvSpPr>
            <a:spLocks noGrp="1"/>
          </p:cNvSpPr>
          <p:nvPr>
            <p:ph type="ftr" sz="quarter" idx="11"/>
          </p:nvPr>
        </p:nvSpPr>
        <p:spPr>
          <a:xfrm>
            <a:off x="3684598" y="6459785"/>
            <a:ext cx="4822804" cy="365125"/>
          </a:xfrm>
        </p:spPr>
        <p:txBody>
          <a:bodyPr/>
          <a:lstStyle/>
          <a:p>
            <a:r>
              <a:rPr lang="en-US" dirty="0"/>
              <a:t>MAF1937 Rev E</a:t>
            </a:r>
          </a:p>
        </p:txBody>
      </p:sp>
    </p:spTree>
    <p:extLst>
      <p:ext uri="{BB962C8B-B14F-4D97-AF65-F5344CB8AC3E}">
        <p14:creationId xmlns:p14="http://schemas.microsoft.com/office/powerpoint/2010/main" val="79601702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5" imgH="476" progId="TCLayout.ActiveDocument.1">
                  <p:embed/>
                </p:oleObj>
              </mc:Choice>
              <mc:Fallback>
                <p:oleObj name="think-cell Slide" r:id="rId4" imgW="475" imgH="476"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2000" i="1" dirty="0">
              <a:latin typeface="Calibri" panose="020F0502020204030204" pitchFamily="34" charset="0"/>
              <a:ea typeface="+mj-ea"/>
              <a:cs typeface="+mj-cs"/>
              <a:sym typeface="Calibri" panose="020F0502020204030204" pitchFamily="34" charset="0"/>
            </a:endParaRPr>
          </a:p>
        </p:txBody>
      </p:sp>
      <p:sp>
        <p:nvSpPr>
          <p:cNvPr id="4" name="Slide Number Placeholder 3">
            <a:extLst>
              <a:ext uri="{FF2B5EF4-FFF2-40B4-BE49-F238E27FC236}">
                <a16:creationId xmlns:a16="http://schemas.microsoft.com/office/drawing/2014/main" id="{3C90E264-A90D-E02B-0238-93CA6A5A32A0}"/>
              </a:ext>
            </a:extLst>
          </p:cNvPr>
          <p:cNvSpPr>
            <a:spLocks noGrp="1"/>
          </p:cNvSpPr>
          <p:nvPr>
            <p:ph type="sldNum" sz="quarter" idx="12"/>
          </p:nvPr>
        </p:nvSpPr>
        <p:spPr/>
        <p:txBody>
          <a:bodyPr/>
          <a:lstStyle/>
          <a:p>
            <a:fld id="{21D51F98-DEF0-4E23-AE94-24E7CFC19B28}" type="slidenum">
              <a:rPr lang="en-US" smtClean="0"/>
              <a:t>29</a:t>
            </a:fld>
            <a:endParaRPr lang="en-US"/>
          </a:p>
        </p:txBody>
      </p:sp>
      <p:sp>
        <p:nvSpPr>
          <p:cNvPr id="16" name="Title 15">
            <a:extLst>
              <a:ext uri="{FF2B5EF4-FFF2-40B4-BE49-F238E27FC236}">
                <a16:creationId xmlns:a16="http://schemas.microsoft.com/office/drawing/2014/main" id="{16FF93C6-034E-4965-B49C-12FBBC60B1D1}"/>
              </a:ext>
            </a:extLst>
          </p:cNvPr>
          <p:cNvSpPr>
            <a:spLocks noGrp="1"/>
          </p:cNvSpPr>
          <p:nvPr>
            <p:ph type="title" idx="4294967295"/>
          </p:nvPr>
        </p:nvSpPr>
        <p:spPr>
          <a:xfrm>
            <a:off x="406370" y="107715"/>
            <a:ext cx="10806113" cy="1157288"/>
          </a:xfrm>
        </p:spPr>
        <p:txBody>
          <a:bodyPr>
            <a:noAutofit/>
          </a:bodyPr>
          <a:lstStyle/>
          <a:p>
            <a:r>
              <a:rPr lang="en-US" sz="3200" b="1" dirty="0">
                <a:solidFill>
                  <a:schemeClr val="accent2"/>
                </a:solidFill>
                <a:latin typeface="+mn-lt"/>
              </a:rPr>
              <a:t>TPNS Utilizes a Step-wise Increase in Stimulation to Capture Ventilation and Stabilize the Breathing Pattern</a:t>
            </a:r>
          </a:p>
        </p:txBody>
      </p:sp>
      <p:pic>
        <p:nvPicPr>
          <p:cNvPr id="6" name="Picture 5"/>
          <p:cNvPicPr>
            <a:picLocks noChangeAspect="1"/>
          </p:cNvPicPr>
          <p:nvPr/>
        </p:nvPicPr>
        <p:blipFill>
          <a:blip r:embed="rId6"/>
          <a:stretch>
            <a:fillRect/>
          </a:stretch>
        </p:blipFill>
        <p:spPr>
          <a:xfrm>
            <a:off x="110994" y="1560604"/>
            <a:ext cx="9464938" cy="4138860"/>
          </a:xfrm>
          <a:prstGeom prst="rect">
            <a:avLst/>
          </a:prstGeom>
        </p:spPr>
      </p:pic>
      <p:sp>
        <p:nvSpPr>
          <p:cNvPr id="8" name="Rectangle 7"/>
          <p:cNvSpPr/>
          <p:nvPr/>
        </p:nvSpPr>
        <p:spPr>
          <a:xfrm>
            <a:off x="9528175" y="1646282"/>
            <a:ext cx="2663825" cy="4231351"/>
          </a:xfrm>
          <a:prstGeom prst="rect">
            <a:avLst/>
          </a:prstGeom>
        </p:spPr>
        <p:txBody>
          <a:bodyPr wrap="square">
            <a:spAutoFit/>
          </a:bodyPr>
          <a:lstStyle/>
          <a:p>
            <a:pPr>
              <a:lnSpc>
                <a:spcPct val="107000"/>
              </a:lnSpc>
            </a:pPr>
            <a:r>
              <a:rPr lang="en-US" sz="1400" b="1" dirty="0">
                <a:latin typeface="Calibri" panose="020F0502020204030204" pitchFamily="34" charset="0"/>
                <a:ea typeface="Calibri" panose="020F0502020204030204" pitchFamily="34" charset="0"/>
                <a:cs typeface="Calibri" panose="020F0502020204030204" pitchFamily="34" charset="0"/>
              </a:rPr>
              <a:t>Automatic step-wise increases in stimulation amplitude stabilize tidal airflow, respiratory effort and oxyhemoglobin saturation as ventilation is captured progressively</a:t>
            </a:r>
            <a:endParaRPr lang="en-US" sz="1400" dirty="0">
              <a:latin typeface="Calibri" panose="020F0502020204030204" pitchFamily="34" charset="0"/>
              <a:ea typeface="Calibri" panose="020F0502020204030204" pitchFamily="34" charset="0"/>
              <a:cs typeface="Times New Roman" panose="02020603050405020304" pitchFamily="18" charset="0"/>
            </a:endParaRPr>
          </a:p>
          <a:p>
            <a:pPr>
              <a:lnSpc>
                <a:spcPct val="107000"/>
              </a:lnSpc>
            </a:pPr>
            <a:r>
              <a:rPr lang="en-US" sz="1400" dirty="0">
                <a:solidFill>
                  <a:srgbClr val="1F497D"/>
                </a:solidFill>
                <a:latin typeface="Calibri" panose="020F0502020204030204" pitchFamily="34" charset="0"/>
                <a:ea typeface="Calibri" panose="020F0502020204030204" pitchFamily="34" charset="0"/>
                <a:cs typeface="Calibri" panose="020F0502020204030204" pitchFamily="34" charset="0"/>
              </a:rPr>
              <a:t> </a:t>
            </a:r>
            <a:endParaRPr lang="en-US" sz="1400" dirty="0">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US" sz="1400" dirty="0">
                <a:latin typeface="Calibri" panose="020F0502020204030204" pitchFamily="34" charset="0"/>
                <a:ea typeface="Calibri" panose="020F0502020204030204" pitchFamily="34" charset="0"/>
                <a:cs typeface="Calibri" panose="020F0502020204030204" pitchFamily="34" charset="0"/>
              </a:rPr>
              <a:t>A period of step-wise increases in phrenic nerve stimulation amplitude (middle segment) is bracketed by periods off stimulation. Automatic step-wise increases in stimulation amplitude stabilize tidal airflow, respiratory effort and oxyhemoglobin saturation as ventilation is captured progressively.</a:t>
            </a:r>
            <a:endParaRPr lang="en-US" sz="1400" dirty="0">
              <a:latin typeface="Calibri" panose="020F0502020204030204" pitchFamily="34" charset="0"/>
              <a:ea typeface="Calibri" panose="020F0502020204030204" pitchFamily="34" charset="0"/>
              <a:cs typeface="Times New Roman" panose="02020603050405020304" pitchFamily="18" charset="0"/>
            </a:endParaRPr>
          </a:p>
        </p:txBody>
      </p:sp>
      <p:sp>
        <p:nvSpPr>
          <p:cNvPr id="9" name="Rectangle 8"/>
          <p:cNvSpPr/>
          <p:nvPr/>
        </p:nvSpPr>
        <p:spPr>
          <a:xfrm>
            <a:off x="110994" y="6507149"/>
            <a:ext cx="9564757" cy="261610"/>
          </a:xfrm>
          <a:prstGeom prst="rect">
            <a:avLst/>
          </a:prstGeom>
        </p:spPr>
        <p:txBody>
          <a:bodyPr wrap="square">
            <a:spAutoFit/>
          </a:bodyPr>
          <a:lstStyle/>
          <a:p>
            <a:r>
              <a:rPr lang="en-US" sz="1100" dirty="0">
                <a:solidFill>
                  <a:schemeClr val="bg1"/>
                </a:solidFill>
              </a:rPr>
              <a:t>Schwartz AR, et al. J </a:t>
            </a:r>
            <a:r>
              <a:rPr lang="en-US" sz="1100" dirty="0" err="1">
                <a:solidFill>
                  <a:schemeClr val="bg1"/>
                </a:solidFill>
              </a:rPr>
              <a:t>Clin</a:t>
            </a:r>
            <a:r>
              <a:rPr lang="en-US" sz="1100" dirty="0">
                <a:solidFill>
                  <a:schemeClr val="bg1"/>
                </a:solidFill>
              </a:rPr>
              <a:t> Sleep Med. 2020;16(5):817–820.</a:t>
            </a:r>
          </a:p>
        </p:txBody>
      </p:sp>
      <p:sp>
        <p:nvSpPr>
          <p:cNvPr id="3" name="TextBox 2">
            <a:extLst>
              <a:ext uri="{FF2B5EF4-FFF2-40B4-BE49-F238E27FC236}">
                <a16:creationId xmlns:a16="http://schemas.microsoft.com/office/drawing/2014/main" id="{DE185B11-7BEF-9473-EED6-40409C5B95FF}"/>
              </a:ext>
            </a:extLst>
          </p:cNvPr>
          <p:cNvSpPr txBox="1"/>
          <p:nvPr/>
        </p:nvSpPr>
        <p:spPr>
          <a:xfrm>
            <a:off x="195988" y="6029319"/>
            <a:ext cx="11607947" cy="276999"/>
          </a:xfrm>
          <a:prstGeom prst="rect">
            <a:avLst/>
          </a:prstGeom>
          <a:noFill/>
        </p:spPr>
        <p:txBody>
          <a:bodyPr wrap="square" rtlCol="0">
            <a:spAutoFit/>
          </a:bodyPr>
          <a:lstStyle/>
          <a:p>
            <a:r>
              <a:rPr lang="en-US" sz="1200" dirty="0"/>
              <a:t>*This is an individual patient example and does not provide any indication, guide, warranty or guarantee as to the response other patients may have to the therapy.</a:t>
            </a:r>
          </a:p>
        </p:txBody>
      </p:sp>
      <p:sp>
        <p:nvSpPr>
          <p:cNvPr id="11" name="Footer Placeholder 5">
            <a:extLst>
              <a:ext uri="{FF2B5EF4-FFF2-40B4-BE49-F238E27FC236}">
                <a16:creationId xmlns:a16="http://schemas.microsoft.com/office/drawing/2014/main" id="{B7AA9E0B-6005-A9A4-4F03-9AF2F1CDA5BC}"/>
              </a:ext>
            </a:extLst>
          </p:cNvPr>
          <p:cNvSpPr>
            <a:spLocks noGrp="1"/>
          </p:cNvSpPr>
          <p:nvPr>
            <p:ph type="ftr" sz="quarter" idx="11"/>
          </p:nvPr>
        </p:nvSpPr>
        <p:spPr>
          <a:xfrm>
            <a:off x="3684598" y="6459785"/>
            <a:ext cx="4822804" cy="365125"/>
          </a:xfrm>
        </p:spPr>
        <p:txBody>
          <a:bodyPr/>
          <a:lstStyle/>
          <a:p>
            <a:r>
              <a:rPr lang="en-US" dirty="0"/>
              <a:t>MAF1937 Rev E</a:t>
            </a:r>
          </a:p>
        </p:txBody>
      </p:sp>
    </p:spTree>
    <p:extLst>
      <p:ext uri="{BB962C8B-B14F-4D97-AF65-F5344CB8AC3E}">
        <p14:creationId xmlns:p14="http://schemas.microsoft.com/office/powerpoint/2010/main" val="207402657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Slide Number Placeholder 11">
            <a:extLst>
              <a:ext uri="{FF2B5EF4-FFF2-40B4-BE49-F238E27FC236}">
                <a16:creationId xmlns:a16="http://schemas.microsoft.com/office/drawing/2014/main" id="{2359F0DD-17BA-6A09-6DFE-763EC63908F8}"/>
              </a:ext>
            </a:extLst>
          </p:cNvPr>
          <p:cNvSpPr>
            <a:spLocks noGrp="1"/>
          </p:cNvSpPr>
          <p:nvPr>
            <p:ph type="sldNum" sz="quarter" idx="12"/>
          </p:nvPr>
        </p:nvSpPr>
        <p:spPr/>
        <p:txBody>
          <a:bodyPr/>
          <a:lstStyle/>
          <a:p>
            <a:fld id="{21D51F98-DEF0-4E23-AE94-24E7CFC19B28}" type="slidenum">
              <a:rPr lang="en-US" smtClean="0"/>
              <a:t>3</a:t>
            </a:fld>
            <a:endParaRPr lang="en-US" dirty="0"/>
          </a:p>
        </p:txBody>
      </p:sp>
      <p:sp>
        <p:nvSpPr>
          <p:cNvPr id="4" name="Title 5">
            <a:extLst>
              <a:ext uri="{FF2B5EF4-FFF2-40B4-BE49-F238E27FC236}">
                <a16:creationId xmlns:a16="http://schemas.microsoft.com/office/drawing/2014/main" id="{B4DC08B6-1DA8-4D7D-96AE-9BB9781625F6}"/>
              </a:ext>
            </a:extLst>
          </p:cNvPr>
          <p:cNvSpPr>
            <a:spLocks noGrp="1"/>
          </p:cNvSpPr>
          <p:nvPr>
            <p:ph type="title" idx="4294967295"/>
          </p:nvPr>
        </p:nvSpPr>
        <p:spPr>
          <a:xfrm>
            <a:off x="618479" y="71425"/>
            <a:ext cx="11573521" cy="822371"/>
          </a:xfrm>
        </p:spPr>
        <p:txBody>
          <a:bodyPr>
            <a:noAutofit/>
          </a:bodyPr>
          <a:lstStyle/>
          <a:p>
            <a:r>
              <a:rPr lang="en-US" sz="3600" b="1" dirty="0">
                <a:solidFill>
                  <a:schemeClr val="accent2"/>
                </a:solidFill>
                <a:latin typeface="+mn-lt"/>
              </a:rPr>
              <a:t>Sleep Apnea is an Interruption in Breathing During Sleep</a:t>
            </a:r>
          </a:p>
        </p:txBody>
      </p:sp>
      <p:grpSp>
        <p:nvGrpSpPr>
          <p:cNvPr id="5" name="Group 4">
            <a:extLst>
              <a:ext uri="{FF2B5EF4-FFF2-40B4-BE49-F238E27FC236}">
                <a16:creationId xmlns:a16="http://schemas.microsoft.com/office/drawing/2014/main" id="{28219CA7-E06C-4E1E-8E35-BB6107C78F00}"/>
              </a:ext>
            </a:extLst>
          </p:cNvPr>
          <p:cNvGrpSpPr/>
          <p:nvPr/>
        </p:nvGrpSpPr>
        <p:grpSpPr>
          <a:xfrm>
            <a:off x="618479" y="1358284"/>
            <a:ext cx="10762694" cy="4912568"/>
            <a:chOff x="979775" y="3522929"/>
            <a:chExt cx="7197722" cy="2377942"/>
          </a:xfrm>
        </p:grpSpPr>
        <p:sp>
          <p:nvSpPr>
            <p:cNvPr id="6" name="Flowchart: Process 5">
              <a:extLst>
                <a:ext uri="{FF2B5EF4-FFF2-40B4-BE49-F238E27FC236}">
                  <a16:creationId xmlns:a16="http://schemas.microsoft.com/office/drawing/2014/main" id="{4DBEFE05-CDA2-40D0-85A9-07F5DE5B90CC}"/>
                </a:ext>
              </a:extLst>
            </p:cNvPr>
            <p:cNvSpPr/>
            <p:nvPr/>
          </p:nvSpPr>
          <p:spPr>
            <a:xfrm>
              <a:off x="4717775" y="3838767"/>
              <a:ext cx="3459722" cy="2062104"/>
            </a:xfrm>
            <a:prstGeom prst="flowChartProcess">
              <a:avLst/>
            </a:prstGeom>
            <a:solidFill>
              <a:srgbClr val="FFFFFF"/>
            </a:solidFill>
            <a:ln w="12700" cap="flat" cmpd="sng" algn="ctr">
              <a:solidFill>
                <a:srgbClr val="00AEB5">
                  <a:shade val="50000"/>
                </a:srgbClr>
              </a:solid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30000" noProof="0" dirty="0">
                <a:ln>
                  <a:noFill/>
                </a:ln>
                <a:solidFill>
                  <a:srgbClr val="FFFFFF"/>
                </a:solidFill>
                <a:effectLst/>
                <a:uLnTx/>
                <a:uFillTx/>
                <a:latin typeface="Calibri" panose="020F0502020204030204"/>
                <a:ea typeface="+mn-ea"/>
                <a:cs typeface="+mn-cs"/>
              </a:endParaRPr>
            </a:p>
          </p:txBody>
        </p:sp>
        <p:sp>
          <p:nvSpPr>
            <p:cNvPr id="7" name="Flowchart: Process 6">
              <a:extLst>
                <a:ext uri="{FF2B5EF4-FFF2-40B4-BE49-F238E27FC236}">
                  <a16:creationId xmlns:a16="http://schemas.microsoft.com/office/drawing/2014/main" id="{058BD2EC-5359-4362-BED9-01038770AFDF}"/>
                </a:ext>
              </a:extLst>
            </p:cNvPr>
            <p:cNvSpPr/>
            <p:nvPr/>
          </p:nvSpPr>
          <p:spPr>
            <a:xfrm>
              <a:off x="979775" y="3838767"/>
              <a:ext cx="3459722" cy="2062104"/>
            </a:xfrm>
            <a:prstGeom prst="flowChartProcess">
              <a:avLst/>
            </a:prstGeom>
            <a:solidFill>
              <a:srgbClr val="FFFFFF"/>
            </a:solidFill>
            <a:ln w="12700" cap="flat" cmpd="sng" algn="ctr">
              <a:solidFill>
                <a:srgbClr val="00AEB5">
                  <a:shade val="50000"/>
                </a:srgbClr>
              </a:solid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30000" noProof="0" dirty="0">
                <a:ln>
                  <a:noFill/>
                </a:ln>
                <a:solidFill>
                  <a:srgbClr val="FFFFFF"/>
                </a:solidFill>
                <a:effectLst/>
                <a:uLnTx/>
                <a:uFillTx/>
                <a:latin typeface="Calibri" panose="020F0502020204030204"/>
                <a:ea typeface="+mn-ea"/>
                <a:cs typeface="+mn-cs"/>
              </a:endParaRPr>
            </a:p>
          </p:txBody>
        </p:sp>
        <p:sp>
          <p:nvSpPr>
            <p:cNvPr id="8" name="Flowchart: Process 7">
              <a:extLst>
                <a:ext uri="{FF2B5EF4-FFF2-40B4-BE49-F238E27FC236}">
                  <a16:creationId xmlns:a16="http://schemas.microsoft.com/office/drawing/2014/main" id="{0B89D56E-0CFC-432E-BCDE-4ECE58E7A259}"/>
                </a:ext>
              </a:extLst>
            </p:cNvPr>
            <p:cNvSpPr/>
            <p:nvPr/>
          </p:nvSpPr>
          <p:spPr>
            <a:xfrm>
              <a:off x="979775" y="3522929"/>
              <a:ext cx="3459722" cy="335482"/>
            </a:xfrm>
            <a:prstGeom prst="flowChartProcess">
              <a:avLst/>
            </a:prstGeom>
            <a:solidFill>
              <a:schemeClr val="accent1"/>
            </a:solidFill>
            <a:ln w="12700" cap="flat" cmpd="sng" algn="ctr">
              <a:solidFill>
                <a:srgbClr val="00AEB5">
                  <a:shade val="50000"/>
                </a:srgbClr>
              </a:solid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rgbClr val="FFFFFF"/>
                  </a:solidFill>
                  <a:effectLst/>
                  <a:uLnTx/>
                  <a:uFillTx/>
                  <a:latin typeface="Calibri" panose="020F0502020204030204"/>
                  <a:ea typeface="+mn-ea"/>
                  <a:cs typeface="+mn-cs"/>
                </a:rPr>
                <a:t>Obstructive sleep apnea (OSA)</a:t>
              </a:r>
              <a:endParaRPr kumimoji="0" lang="en-US" sz="2400" b="0" i="0" u="none" strike="noStrike" kern="0" cap="none" spc="0" normalizeH="0" baseline="30000" noProof="0" dirty="0">
                <a:ln>
                  <a:noFill/>
                </a:ln>
                <a:solidFill>
                  <a:srgbClr val="FFFFFF"/>
                </a:solidFill>
                <a:effectLst/>
                <a:uLnTx/>
                <a:uFillTx/>
                <a:latin typeface="Calibri" panose="020F0502020204030204"/>
                <a:ea typeface="+mn-ea"/>
                <a:cs typeface="+mn-cs"/>
              </a:endParaRPr>
            </a:p>
          </p:txBody>
        </p:sp>
        <p:sp>
          <p:nvSpPr>
            <p:cNvPr id="9" name="Flowchart: Process 8">
              <a:extLst>
                <a:ext uri="{FF2B5EF4-FFF2-40B4-BE49-F238E27FC236}">
                  <a16:creationId xmlns:a16="http://schemas.microsoft.com/office/drawing/2014/main" id="{DE6B5434-765C-49FB-8195-F8CC08601B8A}"/>
                </a:ext>
              </a:extLst>
            </p:cNvPr>
            <p:cNvSpPr/>
            <p:nvPr/>
          </p:nvSpPr>
          <p:spPr>
            <a:xfrm>
              <a:off x="4717775" y="3522930"/>
              <a:ext cx="3459722" cy="335482"/>
            </a:xfrm>
            <a:prstGeom prst="flowChartProcess">
              <a:avLst/>
            </a:prstGeom>
            <a:solidFill>
              <a:srgbClr val="0081C5"/>
            </a:solidFill>
            <a:ln w="12700" cap="flat" cmpd="sng" algn="ctr">
              <a:solidFill>
                <a:srgbClr val="00AEB5">
                  <a:shade val="50000"/>
                </a:srgbClr>
              </a:solid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rgbClr val="FFFFFF"/>
                  </a:solidFill>
                  <a:effectLst/>
                  <a:uLnTx/>
                  <a:uFillTx/>
                  <a:latin typeface="Calibri" panose="020F0502020204030204"/>
                  <a:ea typeface="+mn-ea"/>
                  <a:cs typeface="+mn-cs"/>
                </a:rPr>
                <a:t>Central sleep apnea (CSA)</a:t>
              </a:r>
            </a:p>
          </p:txBody>
        </p:sp>
        <p:sp>
          <p:nvSpPr>
            <p:cNvPr id="10" name="TextBox 9">
              <a:extLst>
                <a:ext uri="{FF2B5EF4-FFF2-40B4-BE49-F238E27FC236}">
                  <a16:creationId xmlns:a16="http://schemas.microsoft.com/office/drawing/2014/main" id="{B9A8BEDE-30D0-493B-8055-BF4688F83083}"/>
                </a:ext>
              </a:extLst>
            </p:cNvPr>
            <p:cNvSpPr txBox="1"/>
            <p:nvPr/>
          </p:nvSpPr>
          <p:spPr>
            <a:xfrm>
              <a:off x="1039042" y="3838767"/>
              <a:ext cx="3190058" cy="1834325"/>
            </a:xfrm>
            <a:prstGeom prst="rect">
              <a:avLst/>
            </a:prstGeom>
            <a:noFill/>
          </p:spPr>
          <p:txBody>
            <a:bodyPr wrap="square" rtlCol="0">
              <a:spAutoFit/>
            </a:bodyPr>
            <a:lstStyle/>
            <a:p>
              <a:pPr marL="0" marR="0" lvl="0" indent="0" defTabSz="914400" eaLnBrk="1" fontAlgn="auto" latinLnBrk="0" hangingPunct="1">
                <a:lnSpc>
                  <a:spcPct val="100000"/>
                </a:lnSpc>
                <a:spcBef>
                  <a:spcPts val="600"/>
                </a:spcBef>
                <a:spcAft>
                  <a:spcPts val="600"/>
                </a:spcAft>
                <a:buClrTx/>
                <a:buSzTx/>
                <a:buFontTx/>
                <a:buNone/>
                <a:tabLst/>
                <a:defRPr/>
              </a:pPr>
              <a:r>
                <a:rPr kumimoji="0" lang="en-US" sz="2400" b="1" i="0" u="none" strike="noStrike" kern="0" cap="none" spc="0" normalizeH="0" baseline="0" noProof="0" dirty="0">
                  <a:ln>
                    <a:noFill/>
                  </a:ln>
                  <a:solidFill>
                    <a:srgbClr val="33363E"/>
                  </a:solidFill>
                  <a:effectLst/>
                  <a:uLnTx/>
                  <a:uFillTx/>
                  <a:latin typeface="Calibri" panose="020F0502020204030204"/>
                  <a:ea typeface="+mn-ea"/>
                </a:rPr>
                <a:t>Upper airway collapse</a:t>
              </a:r>
              <a:r>
                <a:rPr kumimoji="0" lang="en-US" sz="2400" b="0" i="0" u="none" strike="noStrike" kern="0" cap="none" spc="0" normalizeH="0" baseline="0" noProof="0" dirty="0">
                  <a:ln>
                    <a:noFill/>
                  </a:ln>
                  <a:solidFill>
                    <a:srgbClr val="33363E"/>
                  </a:solidFill>
                  <a:effectLst/>
                  <a:uLnTx/>
                  <a:uFillTx/>
                  <a:latin typeface="Calibri" panose="020F0502020204030204"/>
                  <a:ea typeface="+mn-ea"/>
                </a:rPr>
                <a:t> during sleep</a:t>
              </a:r>
            </a:p>
            <a:p>
              <a:pPr marL="463550" marR="0" lvl="1" indent="-238125" defTabSz="914400" eaLnBrk="1" fontAlgn="auto" latinLnBrk="0" hangingPunct="1">
                <a:lnSpc>
                  <a:spcPct val="100000"/>
                </a:lnSpc>
                <a:spcBef>
                  <a:spcPts val="600"/>
                </a:spcBef>
                <a:spcAft>
                  <a:spcPts val="600"/>
                </a:spcAft>
                <a:buClrTx/>
                <a:buSzTx/>
                <a:buFont typeface="Arial" pitchFamily="34" charset="0"/>
                <a:buChar char="•"/>
                <a:tabLst/>
                <a:defRPr/>
              </a:pPr>
              <a:r>
                <a:rPr kumimoji="0" lang="en-US" sz="2400" b="0" i="0" u="none" strike="noStrike" kern="0" cap="none" spc="0" normalizeH="0" baseline="0" noProof="0" dirty="0">
                  <a:ln>
                    <a:noFill/>
                  </a:ln>
                  <a:solidFill>
                    <a:srgbClr val="33363E"/>
                  </a:solidFill>
                  <a:effectLst/>
                  <a:uLnTx/>
                  <a:uFillTx/>
                  <a:latin typeface="Calibri" panose="020F0502020204030204"/>
                  <a:ea typeface="+mn-ea"/>
                </a:rPr>
                <a:t>Diaphragm motion pushes against closed airway</a:t>
              </a:r>
            </a:p>
            <a:p>
              <a:pPr marL="463550" marR="0" lvl="1" indent="-238125" defTabSz="914400" eaLnBrk="1" fontAlgn="auto" latinLnBrk="0" hangingPunct="1">
                <a:lnSpc>
                  <a:spcPct val="100000"/>
                </a:lnSpc>
                <a:spcBef>
                  <a:spcPts val="600"/>
                </a:spcBef>
                <a:spcAft>
                  <a:spcPts val="600"/>
                </a:spcAft>
                <a:buClrTx/>
                <a:buSzTx/>
                <a:buFont typeface="Arial" pitchFamily="34" charset="0"/>
                <a:buChar char="•"/>
                <a:tabLst/>
                <a:defRPr/>
              </a:pPr>
              <a:r>
                <a:rPr kumimoji="0" lang="en-US" sz="2400" b="0" i="0" u="none" strike="noStrike" kern="0" cap="none" spc="0" normalizeH="0" baseline="0" noProof="0" dirty="0">
                  <a:ln>
                    <a:noFill/>
                  </a:ln>
                  <a:solidFill>
                    <a:srgbClr val="33363E"/>
                  </a:solidFill>
                  <a:effectLst/>
                  <a:uLnTx/>
                  <a:uFillTx/>
                  <a:latin typeface="Calibri" panose="020F0502020204030204"/>
                  <a:ea typeface="+mn-ea"/>
                </a:rPr>
                <a:t>Arousal during sleep to open airway</a:t>
              </a:r>
            </a:p>
          </p:txBody>
        </p:sp>
        <p:sp>
          <p:nvSpPr>
            <p:cNvPr id="11" name="TextBox 10">
              <a:extLst>
                <a:ext uri="{FF2B5EF4-FFF2-40B4-BE49-F238E27FC236}">
                  <a16:creationId xmlns:a16="http://schemas.microsoft.com/office/drawing/2014/main" id="{5E91D75D-0653-4AB1-89AD-9E244AD90C55}"/>
                </a:ext>
              </a:extLst>
            </p:cNvPr>
            <p:cNvSpPr txBox="1"/>
            <p:nvPr/>
          </p:nvSpPr>
          <p:spPr>
            <a:xfrm>
              <a:off x="4717775" y="3838767"/>
              <a:ext cx="3459722" cy="1607398"/>
            </a:xfrm>
            <a:prstGeom prst="rect">
              <a:avLst/>
            </a:prstGeom>
            <a:noFill/>
          </p:spPr>
          <p:txBody>
            <a:bodyPr wrap="square" rtlCol="0">
              <a:spAutoFit/>
            </a:bodyPr>
            <a:lstStyle/>
            <a:p>
              <a:pPr marL="0" marR="0" lvl="0" indent="0" defTabSz="914400" eaLnBrk="1" fontAlgn="auto" latinLnBrk="0" hangingPunct="1">
                <a:lnSpc>
                  <a:spcPct val="100000"/>
                </a:lnSpc>
                <a:spcBef>
                  <a:spcPts val="600"/>
                </a:spcBef>
                <a:spcAft>
                  <a:spcPts val="600"/>
                </a:spcAft>
                <a:buClrTx/>
                <a:buSzTx/>
                <a:buFontTx/>
                <a:buNone/>
                <a:tabLst/>
                <a:defRPr/>
              </a:pPr>
              <a:r>
                <a:rPr kumimoji="0" lang="en-US" sz="2400" b="1" i="0" u="none" strike="noStrike" kern="0" cap="none" spc="0" normalizeH="0" baseline="0" noProof="0" dirty="0">
                  <a:ln>
                    <a:noFill/>
                  </a:ln>
                  <a:solidFill>
                    <a:srgbClr val="33363E"/>
                  </a:solidFill>
                  <a:effectLst/>
                  <a:uLnTx/>
                  <a:uFillTx/>
                  <a:latin typeface="Calibri" panose="020F0502020204030204"/>
                  <a:ea typeface="+mn-ea"/>
                </a:rPr>
                <a:t>Failure in brain respiratory control center </a:t>
              </a:r>
              <a:r>
                <a:rPr kumimoji="0" lang="en-US" sz="2400" b="0" i="0" u="none" strike="noStrike" kern="0" cap="none" spc="0" normalizeH="0" baseline="0" noProof="0" dirty="0">
                  <a:ln>
                    <a:noFill/>
                  </a:ln>
                  <a:solidFill>
                    <a:srgbClr val="33363E"/>
                  </a:solidFill>
                  <a:effectLst/>
                  <a:uLnTx/>
                  <a:uFillTx/>
                  <a:latin typeface="Calibri" panose="020F0502020204030204"/>
                  <a:ea typeface="+mn-ea"/>
                </a:rPr>
                <a:t>during sleep</a:t>
              </a:r>
            </a:p>
            <a:p>
              <a:pPr marL="463550" marR="0" lvl="1" indent="-238125" defTabSz="914400" eaLnBrk="1" fontAlgn="auto" latinLnBrk="0" hangingPunct="1">
                <a:lnSpc>
                  <a:spcPct val="100000"/>
                </a:lnSpc>
                <a:spcBef>
                  <a:spcPts val="600"/>
                </a:spcBef>
                <a:spcAft>
                  <a:spcPts val="600"/>
                </a:spcAft>
                <a:buClrTx/>
                <a:buSzTx/>
                <a:buFont typeface="Arial" pitchFamily="34" charset="0"/>
                <a:buChar char="•"/>
                <a:tabLst/>
                <a:defRPr/>
              </a:pPr>
              <a:r>
                <a:rPr kumimoji="0" lang="en-US" sz="2400" b="0" i="0" u="none" strike="noStrike" kern="0" cap="none" spc="0" normalizeH="0" baseline="0" noProof="0" dirty="0">
                  <a:ln>
                    <a:noFill/>
                  </a:ln>
                  <a:solidFill>
                    <a:srgbClr val="33363E"/>
                  </a:solidFill>
                  <a:effectLst/>
                  <a:uLnTx/>
                  <a:uFillTx/>
                  <a:latin typeface="Calibri" panose="020F0502020204030204"/>
                  <a:ea typeface="+mn-ea"/>
                </a:rPr>
                <a:t>Absence of diaphragmatic  motion</a:t>
              </a:r>
            </a:p>
            <a:p>
              <a:pPr marL="463550" marR="0" lvl="1" indent="-238125" defTabSz="914400" eaLnBrk="1" fontAlgn="auto" latinLnBrk="0" hangingPunct="1">
                <a:lnSpc>
                  <a:spcPct val="100000"/>
                </a:lnSpc>
                <a:spcBef>
                  <a:spcPts val="600"/>
                </a:spcBef>
                <a:spcAft>
                  <a:spcPts val="600"/>
                </a:spcAft>
                <a:buClrTx/>
                <a:buSzTx/>
                <a:buFont typeface="Arial" pitchFamily="34" charset="0"/>
                <a:buChar char="•"/>
                <a:tabLst/>
                <a:defRPr/>
              </a:pPr>
              <a:r>
                <a:rPr kumimoji="0" lang="en-US" sz="2400" b="0" i="0" u="none" strike="noStrike" kern="0" cap="none" spc="0" normalizeH="0" baseline="0" noProof="0" dirty="0">
                  <a:ln>
                    <a:noFill/>
                  </a:ln>
                  <a:solidFill>
                    <a:srgbClr val="33363E"/>
                  </a:solidFill>
                  <a:effectLst/>
                  <a:uLnTx/>
                  <a:uFillTx/>
                  <a:latin typeface="Calibri" panose="020F0502020204030204"/>
                  <a:ea typeface="+mn-ea"/>
                </a:rPr>
                <a:t>Peak of hyperventilation disturbs sleep</a:t>
              </a:r>
            </a:p>
          </p:txBody>
        </p:sp>
      </p:grpSp>
      <p:sp>
        <p:nvSpPr>
          <p:cNvPr id="3" name="Footer Placeholder 5">
            <a:extLst>
              <a:ext uri="{FF2B5EF4-FFF2-40B4-BE49-F238E27FC236}">
                <a16:creationId xmlns:a16="http://schemas.microsoft.com/office/drawing/2014/main" id="{E7E12B3F-D298-BEAE-68C4-7EFDA0DB827C}"/>
              </a:ext>
            </a:extLst>
          </p:cNvPr>
          <p:cNvSpPr>
            <a:spLocks noGrp="1"/>
          </p:cNvSpPr>
          <p:nvPr>
            <p:ph type="ftr" sz="quarter" idx="11"/>
          </p:nvPr>
        </p:nvSpPr>
        <p:spPr>
          <a:xfrm>
            <a:off x="3684598" y="6459785"/>
            <a:ext cx="4822804" cy="365125"/>
          </a:xfrm>
        </p:spPr>
        <p:txBody>
          <a:bodyPr/>
          <a:lstStyle/>
          <a:p>
            <a:r>
              <a:rPr lang="en-US" dirty="0"/>
              <a:t>MAF1937 Rev E</a:t>
            </a:r>
          </a:p>
        </p:txBody>
      </p:sp>
    </p:spTree>
    <p:extLst>
      <p:ext uri="{BB962C8B-B14F-4D97-AF65-F5344CB8AC3E}">
        <p14:creationId xmlns:p14="http://schemas.microsoft.com/office/powerpoint/2010/main" val="248660375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Snip Diagonal Corner Rectangle 9"/>
          <p:cNvSpPr/>
          <p:nvPr/>
        </p:nvSpPr>
        <p:spPr>
          <a:xfrm>
            <a:off x="4518465" y="2733206"/>
            <a:ext cx="3019425" cy="639762"/>
          </a:xfrm>
          <a:prstGeom prst="snip2DiagRect">
            <a:avLst>
              <a:gd name="adj1" fmla="val 50000"/>
              <a:gd name="adj2" fmla="val 50000"/>
            </a:avLst>
          </a:prstGeom>
          <a:solidFill>
            <a:schemeClr val="accent2"/>
          </a:solidFill>
          <a:ln>
            <a:noFill/>
          </a:ln>
        </p:spPr>
        <p:style>
          <a:lnRef idx="1">
            <a:schemeClr val="accent6"/>
          </a:lnRef>
          <a:fillRef idx="3">
            <a:schemeClr val="accent6"/>
          </a:fillRef>
          <a:effectRef idx="2">
            <a:schemeClr val="accent6"/>
          </a:effectRef>
          <a:fontRef idx="minor">
            <a:schemeClr val="lt1"/>
          </a:fontRef>
        </p:style>
        <p:txBody>
          <a:bodyPr tIns="91440" bIns="91440" anchor="ctr"/>
          <a:lstStyle/>
          <a:p>
            <a:pPr algn="ctr">
              <a:defRPr/>
            </a:pPr>
            <a:r>
              <a:rPr lang="en-US" b="1" dirty="0">
                <a:solidFill>
                  <a:schemeClr val="bg1"/>
                </a:solidFill>
              </a:rPr>
              <a:t>Acclimation / Therapy Titration</a:t>
            </a:r>
          </a:p>
        </p:txBody>
      </p:sp>
      <p:sp>
        <p:nvSpPr>
          <p:cNvPr id="26" name="Snip Diagonal Corner Rectangle 25"/>
          <p:cNvSpPr/>
          <p:nvPr/>
        </p:nvSpPr>
        <p:spPr>
          <a:xfrm>
            <a:off x="1715713" y="2733206"/>
            <a:ext cx="1554163" cy="639762"/>
          </a:xfrm>
          <a:prstGeom prst="snip2DiagRect">
            <a:avLst>
              <a:gd name="adj1" fmla="val 50000"/>
              <a:gd name="adj2" fmla="val 50000"/>
            </a:avLst>
          </a:prstGeom>
          <a:solidFill>
            <a:schemeClr val="accent2"/>
          </a:solidFill>
          <a:ln>
            <a:noFill/>
          </a:ln>
        </p:spPr>
        <p:style>
          <a:lnRef idx="1">
            <a:schemeClr val="accent6"/>
          </a:lnRef>
          <a:fillRef idx="3">
            <a:schemeClr val="accent6"/>
          </a:fillRef>
          <a:effectRef idx="2">
            <a:schemeClr val="accent6"/>
          </a:effectRef>
          <a:fontRef idx="minor">
            <a:schemeClr val="lt1"/>
          </a:fontRef>
        </p:style>
        <p:txBody>
          <a:bodyPr anchor="ctr"/>
          <a:lstStyle/>
          <a:p>
            <a:pPr algn="ctr">
              <a:defRPr/>
            </a:pPr>
            <a:r>
              <a:rPr lang="en-US" b="1" dirty="0">
                <a:solidFill>
                  <a:schemeClr val="bg1"/>
                </a:solidFill>
              </a:rPr>
              <a:t>Therapy Initiation</a:t>
            </a:r>
          </a:p>
        </p:txBody>
      </p:sp>
      <p:sp>
        <p:nvSpPr>
          <p:cNvPr id="29" name="Snip Diagonal Corner Rectangle 28"/>
          <p:cNvSpPr/>
          <p:nvPr/>
        </p:nvSpPr>
        <p:spPr>
          <a:xfrm>
            <a:off x="8716773" y="2733206"/>
            <a:ext cx="1803400" cy="639762"/>
          </a:xfrm>
          <a:prstGeom prst="snip2DiagRect">
            <a:avLst>
              <a:gd name="adj1" fmla="val 50000"/>
              <a:gd name="adj2" fmla="val 50000"/>
            </a:avLst>
          </a:prstGeom>
          <a:solidFill>
            <a:schemeClr val="accent2"/>
          </a:solidFill>
          <a:ln>
            <a:noFill/>
          </a:ln>
        </p:spPr>
        <p:style>
          <a:lnRef idx="1">
            <a:schemeClr val="accent6"/>
          </a:lnRef>
          <a:fillRef idx="3">
            <a:schemeClr val="accent6"/>
          </a:fillRef>
          <a:effectRef idx="2">
            <a:schemeClr val="accent6"/>
          </a:effectRef>
          <a:fontRef idx="minor">
            <a:schemeClr val="lt1"/>
          </a:fontRef>
        </p:style>
        <p:txBody>
          <a:bodyPr tIns="91440" bIns="91440" anchor="ctr"/>
          <a:lstStyle/>
          <a:p>
            <a:pPr algn="ctr">
              <a:defRPr/>
            </a:pPr>
            <a:r>
              <a:rPr lang="en-US" b="1" dirty="0">
                <a:solidFill>
                  <a:schemeClr val="bg1"/>
                </a:solidFill>
              </a:rPr>
              <a:t>Long-Term Follow-Up</a:t>
            </a:r>
          </a:p>
        </p:txBody>
      </p:sp>
      <p:sp>
        <p:nvSpPr>
          <p:cNvPr id="21" name="Title 4"/>
          <p:cNvSpPr>
            <a:spLocks noGrp="1"/>
          </p:cNvSpPr>
          <p:nvPr>
            <p:ph type="title" idx="4294967295"/>
          </p:nvPr>
        </p:nvSpPr>
        <p:spPr>
          <a:xfrm>
            <a:off x="396496" y="189196"/>
            <a:ext cx="11618912" cy="642937"/>
          </a:xfrm>
        </p:spPr>
        <p:txBody>
          <a:bodyPr>
            <a:noAutofit/>
          </a:bodyPr>
          <a:lstStyle/>
          <a:p>
            <a:pPr>
              <a:defRPr/>
            </a:pPr>
            <a:r>
              <a:rPr lang="en-US" sz="3200" b="1" dirty="0">
                <a:solidFill>
                  <a:schemeClr val="accent2"/>
                </a:solidFill>
                <a:latin typeface="+mn-lt"/>
              </a:rPr>
              <a:t>rem</a:t>
            </a:r>
            <a:r>
              <a:rPr lang="en-US" sz="3200" dirty="0">
                <a:solidFill>
                  <a:schemeClr val="accent2"/>
                </a:solidFill>
                <a:latin typeface="+mn-lt"/>
              </a:rPr>
              <a:t>edē</a:t>
            </a:r>
            <a:r>
              <a:rPr lang="en-US" sz="3200" b="1" dirty="0">
                <a:solidFill>
                  <a:schemeClr val="accent2"/>
                </a:solidFill>
                <a:latin typeface="+mn-lt"/>
              </a:rPr>
              <a:t>® System Therapy Programming and Follow-up</a:t>
            </a:r>
          </a:p>
        </p:txBody>
      </p:sp>
      <p:sp>
        <p:nvSpPr>
          <p:cNvPr id="6" name="TextBox 5"/>
          <p:cNvSpPr txBox="1"/>
          <p:nvPr/>
        </p:nvSpPr>
        <p:spPr>
          <a:xfrm>
            <a:off x="1000341" y="3813328"/>
            <a:ext cx="2984906" cy="1015663"/>
          </a:xfrm>
          <a:prstGeom prst="rect">
            <a:avLst/>
          </a:prstGeom>
          <a:noFill/>
        </p:spPr>
        <p:txBody>
          <a:bodyPr wrap="square" rtlCol="0">
            <a:spAutoFit/>
          </a:bodyPr>
          <a:lstStyle/>
          <a:p>
            <a:r>
              <a:rPr lang="en-US" sz="2000" dirty="0"/>
              <a:t>Therapy is activated ~ 1 month post implant during a follow-up office visit</a:t>
            </a:r>
          </a:p>
        </p:txBody>
      </p:sp>
      <p:sp>
        <p:nvSpPr>
          <p:cNvPr id="24" name="TextBox 23"/>
          <p:cNvSpPr txBox="1"/>
          <p:nvPr/>
        </p:nvSpPr>
        <p:spPr>
          <a:xfrm>
            <a:off x="4460544" y="3813328"/>
            <a:ext cx="3171220" cy="1323439"/>
          </a:xfrm>
          <a:prstGeom prst="rect">
            <a:avLst/>
          </a:prstGeom>
          <a:noFill/>
        </p:spPr>
        <p:txBody>
          <a:bodyPr wrap="square" rtlCol="0">
            <a:spAutoFit/>
          </a:bodyPr>
          <a:lstStyle/>
          <a:p>
            <a:r>
              <a:rPr lang="en-US" sz="2000" dirty="0"/>
              <a:t>Patient acclimation period as therapy is customized to maximize efficacy while maintaining patient comfort</a:t>
            </a:r>
          </a:p>
        </p:txBody>
      </p:sp>
      <p:sp>
        <p:nvSpPr>
          <p:cNvPr id="25" name="Right Arrow 24"/>
          <p:cNvSpPr/>
          <p:nvPr/>
        </p:nvSpPr>
        <p:spPr>
          <a:xfrm>
            <a:off x="799405" y="1768523"/>
            <a:ext cx="10533412" cy="747485"/>
          </a:xfrm>
          <a:prstGeom prst="rightArrow">
            <a:avLst/>
          </a:prstGeom>
          <a:solidFill>
            <a:schemeClr val="accent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tx1"/>
              </a:solidFill>
            </a:endParaRPr>
          </a:p>
        </p:txBody>
      </p:sp>
      <p:sp>
        <p:nvSpPr>
          <p:cNvPr id="27" name="TextBox 26"/>
          <p:cNvSpPr txBox="1"/>
          <p:nvPr/>
        </p:nvSpPr>
        <p:spPr>
          <a:xfrm>
            <a:off x="1198329" y="1938395"/>
            <a:ext cx="3022433" cy="400110"/>
          </a:xfrm>
          <a:prstGeom prst="rect">
            <a:avLst/>
          </a:prstGeom>
          <a:noFill/>
        </p:spPr>
        <p:txBody>
          <a:bodyPr wrap="square" rtlCol="0">
            <a:spAutoFit/>
          </a:bodyPr>
          <a:lstStyle/>
          <a:p>
            <a:r>
              <a:rPr lang="en-US" sz="2000" b="1" dirty="0">
                <a:solidFill>
                  <a:schemeClr val="accent2"/>
                </a:solidFill>
              </a:rPr>
              <a:t>~1-month post-implant</a:t>
            </a:r>
          </a:p>
        </p:txBody>
      </p:sp>
      <p:sp>
        <p:nvSpPr>
          <p:cNvPr id="28" name="TextBox 27"/>
          <p:cNvSpPr txBox="1"/>
          <p:nvPr/>
        </p:nvSpPr>
        <p:spPr>
          <a:xfrm>
            <a:off x="5282858" y="1938395"/>
            <a:ext cx="1490638" cy="400110"/>
          </a:xfrm>
          <a:prstGeom prst="rect">
            <a:avLst/>
          </a:prstGeom>
          <a:noFill/>
        </p:spPr>
        <p:txBody>
          <a:bodyPr wrap="square" rtlCol="0">
            <a:spAutoFit/>
          </a:bodyPr>
          <a:lstStyle/>
          <a:p>
            <a:pPr algn="ctr"/>
            <a:r>
              <a:rPr lang="en-US" sz="2000" b="1" dirty="0">
                <a:solidFill>
                  <a:schemeClr val="accent2"/>
                </a:solidFill>
              </a:rPr>
              <a:t>1-3 months</a:t>
            </a:r>
          </a:p>
        </p:txBody>
      </p:sp>
      <p:sp>
        <p:nvSpPr>
          <p:cNvPr id="30" name="TextBox 29"/>
          <p:cNvSpPr txBox="1"/>
          <p:nvPr/>
        </p:nvSpPr>
        <p:spPr>
          <a:xfrm>
            <a:off x="8572607" y="1938395"/>
            <a:ext cx="2091732" cy="400110"/>
          </a:xfrm>
          <a:prstGeom prst="rect">
            <a:avLst/>
          </a:prstGeom>
          <a:noFill/>
        </p:spPr>
        <p:txBody>
          <a:bodyPr wrap="square" rtlCol="0">
            <a:spAutoFit/>
          </a:bodyPr>
          <a:lstStyle/>
          <a:p>
            <a:pPr algn="ctr"/>
            <a:r>
              <a:rPr lang="en-US" sz="2000" b="1" dirty="0">
                <a:solidFill>
                  <a:schemeClr val="accent2"/>
                </a:solidFill>
              </a:rPr>
              <a:t>Every 3-6 months</a:t>
            </a:r>
          </a:p>
        </p:txBody>
      </p:sp>
      <p:sp>
        <p:nvSpPr>
          <p:cNvPr id="31" name="TextBox 30"/>
          <p:cNvSpPr txBox="1"/>
          <p:nvPr/>
        </p:nvSpPr>
        <p:spPr>
          <a:xfrm>
            <a:off x="8107061" y="3813328"/>
            <a:ext cx="3314136" cy="1323439"/>
          </a:xfrm>
          <a:prstGeom prst="rect">
            <a:avLst/>
          </a:prstGeom>
          <a:noFill/>
        </p:spPr>
        <p:txBody>
          <a:bodyPr wrap="square" rtlCol="0">
            <a:spAutoFit/>
          </a:bodyPr>
          <a:lstStyle/>
          <a:p>
            <a:r>
              <a:rPr lang="en-US" sz="2000" dirty="0"/>
              <a:t>Programming checks every 3-6 months to optimize therapy. Physician may order a sleep study to help optimize.</a:t>
            </a:r>
          </a:p>
        </p:txBody>
      </p:sp>
      <p:sp>
        <p:nvSpPr>
          <p:cNvPr id="16" name="Rectangle 15">
            <a:extLst>
              <a:ext uri="{FF2B5EF4-FFF2-40B4-BE49-F238E27FC236}">
                <a16:creationId xmlns:a16="http://schemas.microsoft.com/office/drawing/2014/main" id="{8ABC90AF-A231-44E5-8D68-AF9B77DE8CEC}"/>
              </a:ext>
            </a:extLst>
          </p:cNvPr>
          <p:cNvSpPr/>
          <p:nvPr/>
        </p:nvSpPr>
        <p:spPr>
          <a:xfrm>
            <a:off x="119960" y="6003200"/>
            <a:ext cx="1487908" cy="246221"/>
          </a:xfrm>
          <a:prstGeom prst="rect">
            <a:avLst/>
          </a:prstGeom>
        </p:spPr>
        <p:txBody>
          <a:bodyPr wrap="none">
            <a:spAutoFit/>
          </a:bodyPr>
          <a:lstStyle/>
          <a:p>
            <a:r>
              <a:rPr lang="en-US" sz="1000" dirty="0"/>
              <a:t>Courtesy Respicardia, Inc</a:t>
            </a:r>
            <a:endParaRPr lang="en-US" dirty="0"/>
          </a:p>
        </p:txBody>
      </p:sp>
      <p:sp>
        <p:nvSpPr>
          <p:cNvPr id="3" name="Slide Number Placeholder 2">
            <a:extLst>
              <a:ext uri="{FF2B5EF4-FFF2-40B4-BE49-F238E27FC236}">
                <a16:creationId xmlns:a16="http://schemas.microsoft.com/office/drawing/2014/main" id="{30CCE716-9D0F-23DA-18CA-C1FB8BD40B2B}"/>
              </a:ext>
            </a:extLst>
          </p:cNvPr>
          <p:cNvSpPr>
            <a:spLocks noGrp="1"/>
          </p:cNvSpPr>
          <p:nvPr>
            <p:ph type="sldNum" sz="quarter" idx="12"/>
          </p:nvPr>
        </p:nvSpPr>
        <p:spPr/>
        <p:txBody>
          <a:bodyPr/>
          <a:lstStyle/>
          <a:p>
            <a:fld id="{21D51F98-DEF0-4E23-AE94-24E7CFC19B28}" type="slidenum">
              <a:rPr lang="en-US" smtClean="0"/>
              <a:t>30</a:t>
            </a:fld>
            <a:endParaRPr lang="en-US"/>
          </a:p>
        </p:txBody>
      </p:sp>
      <p:sp>
        <p:nvSpPr>
          <p:cNvPr id="5" name="Footer Placeholder 5">
            <a:extLst>
              <a:ext uri="{FF2B5EF4-FFF2-40B4-BE49-F238E27FC236}">
                <a16:creationId xmlns:a16="http://schemas.microsoft.com/office/drawing/2014/main" id="{CCF3B29E-4FE3-A9FD-CE3A-6B3112804FBC}"/>
              </a:ext>
            </a:extLst>
          </p:cNvPr>
          <p:cNvSpPr>
            <a:spLocks noGrp="1"/>
          </p:cNvSpPr>
          <p:nvPr>
            <p:ph type="ftr" sz="quarter" idx="11"/>
          </p:nvPr>
        </p:nvSpPr>
        <p:spPr>
          <a:xfrm>
            <a:off x="3684598" y="6459785"/>
            <a:ext cx="4822804" cy="365125"/>
          </a:xfrm>
        </p:spPr>
        <p:txBody>
          <a:bodyPr/>
          <a:lstStyle/>
          <a:p>
            <a:r>
              <a:rPr lang="en-US" dirty="0"/>
              <a:t>MAF1937 Rev E</a:t>
            </a:r>
          </a:p>
        </p:txBody>
      </p:sp>
    </p:spTree>
    <p:extLst>
      <p:ext uri="{BB962C8B-B14F-4D97-AF65-F5344CB8AC3E}">
        <p14:creationId xmlns:p14="http://schemas.microsoft.com/office/powerpoint/2010/main" val="219015423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4"/>
          <p:cNvSpPr>
            <a:spLocks noGrp="1"/>
          </p:cNvSpPr>
          <p:nvPr>
            <p:ph type="title" idx="4294967295"/>
          </p:nvPr>
        </p:nvSpPr>
        <p:spPr>
          <a:xfrm>
            <a:off x="311150" y="224492"/>
            <a:ext cx="11880850" cy="587375"/>
          </a:xfrm>
        </p:spPr>
        <p:txBody>
          <a:bodyPr>
            <a:noAutofit/>
          </a:bodyPr>
          <a:lstStyle/>
          <a:p>
            <a:pPr>
              <a:defRPr/>
            </a:pPr>
            <a:r>
              <a:rPr lang="en-US" sz="3200" b="1" dirty="0">
                <a:solidFill>
                  <a:schemeClr val="accent2"/>
                </a:solidFill>
                <a:latin typeface="+mn-lt"/>
              </a:rPr>
              <a:t>rem</a:t>
            </a:r>
            <a:r>
              <a:rPr lang="en-US" sz="3200" dirty="0">
                <a:solidFill>
                  <a:schemeClr val="accent2"/>
                </a:solidFill>
                <a:latin typeface="+mn-lt"/>
              </a:rPr>
              <a:t>edē</a:t>
            </a:r>
            <a:r>
              <a:rPr lang="en-US" sz="3200" b="1" dirty="0">
                <a:solidFill>
                  <a:schemeClr val="accent2"/>
                </a:solidFill>
                <a:latin typeface="+mn-lt"/>
              </a:rPr>
              <a:t>® System Reports Provide Programming Guidance </a:t>
            </a:r>
          </a:p>
        </p:txBody>
      </p:sp>
      <p:pic>
        <p:nvPicPr>
          <p:cNvPr id="17" name="Content Placeholder 3">
            <a:extLst>
              <a:ext uri="{FF2B5EF4-FFF2-40B4-BE49-F238E27FC236}">
                <a16:creationId xmlns:a16="http://schemas.microsoft.com/office/drawing/2014/main" id="{C742FECB-9A1D-46EC-B457-9CB0679B647D}"/>
              </a:ext>
            </a:extLst>
          </p:cNvPr>
          <p:cNvPicPr>
            <a:picLocks noChangeAspect="1"/>
          </p:cNvPicPr>
          <p:nvPr/>
        </p:nvPicPr>
        <p:blipFill>
          <a:blip r:embed="rId3"/>
          <a:stretch>
            <a:fillRect/>
          </a:stretch>
        </p:blipFill>
        <p:spPr>
          <a:xfrm>
            <a:off x="311150" y="1955274"/>
            <a:ext cx="3340273" cy="4304008"/>
          </a:xfrm>
          <a:prstGeom prst="rect">
            <a:avLst/>
          </a:prstGeom>
        </p:spPr>
      </p:pic>
      <p:pic>
        <p:nvPicPr>
          <p:cNvPr id="18" name="Picture 17">
            <a:extLst>
              <a:ext uri="{FF2B5EF4-FFF2-40B4-BE49-F238E27FC236}">
                <a16:creationId xmlns:a16="http://schemas.microsoft.com/office/drawing/2014/main" id="{EFDF99C3-6313-4383-B54B-4D908618642B}"/>
              </a:ext>
            </a:extLst>
          </p:cNvPr>
          <p:cNvPicPr>
            <a:picLocks noChangeAspect="1"/>
          </p:cNvPicPr>
          <p:nvPr/>
        </p:nvPicPr>
        <p:blipFill>
          <a:blip r:embed="rId4"/>
          <a:stretch>
            <a:fillRect/>
          </a:stretch>
        </p:blipFill>
        <p:spPr>
          <a:xfrm>
            <a:off x="4316271" y="1750253"/>
            <a:ext cx="3824552" cy="4488954"/>
          </a:xfrm>
          <a:prstGeom prst="rect">
            <a:avLst/>
          </a:prstGeom>
        </p:spPr>
      </p:pic>
      <p:pic>
        <p:nvPicPr>
          <p:cNvPr id="19" name="Picture 18">
            <a:extLst>
              <a:ext uri="{FF2B5EF4-FFF2-40B4-BE49-F238E27FC236}">
                <a16:creationId xmlns:a16="http://schemas.microsoft.com/office/drawing/2014/main" id="{28988313-36C8-4088-A481-EFBF555D4561}"/>
              </a:ext>
            </a:extLst>
          </p:cNvPr>
          <p:cNvPicPr>
            <a:picLocks noChangeAspect="1"/>
          </p:cNvPicPr>
          <p:nvPr/>
        </p:nvPicPr>
        <p:blipFill rotWithShape="1">
          <a:blip r:embed="rId5"/>
          <a:srcRect b="7410"/>
          <a:stretch/>
        </p:blipFill>
        <p:spPr>
          <a:xfrm>
            <a:off x="8508989" y="1722013"/>
            <a:ext cx="3535931" cy="4420283"/>
          </a:xfrm>
          <a:prstGeom prst="rect">
            <a:avLst/>
          </a:prstGeom>
        </p:spPr>
      </p:pic>
      <p:sp>
        <p:nvSpPr>
          <p:cNvPr id="20" name="TextBox 19">
            <a:extLst>
              <a:ext uri="{FF2B5EF4-FFF2-40B4-BE49-F238E27FC236}">
                <a16:creationId xmlns:a16="http://schemas.microsoft.com/office/drawing/2014/main" id="{6A519D35-DE03-4EA7-81A7-B7293108E918}"/>
              </a:ext>
            </a:extLst>
          </p:cNvPr>
          <p:cNvSpPr txBox="1"/>
          <p:nvPr/>
        </p:nvSpPr>
        <p:spPr>
          <a:xfrm>
            <a:off x="408598" y="942860"/>
            <a:ext cx="3306954" cy="923330"/>
          </a:xfrm>
          <a:prstGeom prst="rect">
            <a:avLst/>
          </a:prstGeom>
          <a:noFill/>
        </p:spPr>
        <p:txBody>
          <a:bodyPr wrap="square" rtlCol="0">
            <a:spAutoFit/>
          </a:bodyPr>
          <a:lstStyle/>
          <a:p>
            <a:pPr marL="285750" indent="-285750">
              <a:buFont typeface="Arial" panose="020B0604020202020204" pitchFamily="34" charset="0"/>
              <a:buChar char="•"/>
            </a:pPr>
            <a:r>
              <a:rPr lang="en-US" dirty="0"/>
              <a:t>Therapy timing and sleeping posture (horizontal position)</a:t>
            </a:r>
          </a:p>
          <a:p>
            <a:pPr marL="285750" indent="-285750">
              <a:buFont typeface="Arial" panose="020B0604020202020204" pitchFamily="34" charset="0"/>
              <a:buChar char="•"/>
            </a:pPr>
            <a:r>
              <a:rPr lang="en-US" dirty="0"/>
              <a:t>Activity trends</a:t>
            </a:r>
          </a:p>
        </p:txBody>
      </p:sp>
      <p:sp>
        <p:nvSpPr>
          <p:cNvPr id="22" name="TextBox 21">
            <a:extLst>
              <a:ext uri="{FF2B5EF4-FFF2-40B4-BE49-F238E27FC236}">
                <a16:creationId xmlns:a16="http://schemas.microsoft.com/office/drawing/2014/main" id="{697ACDF7-0034-49BE-8AB4-A9919293474C}"/>
              </a:ext>
            </a:extLst>
          </p:cNvPr>
          <p:cNvSpPr txBox="1"/>
          <p:nvPr/>
        </p:nvSpPr>
        <p:spPr>
          <a:xfrm>
            <a:off x="4368002" y="1023816"/>
            <a:ext cx="4098814" cy="646331"/>
          </a:xfrm>
          <a:prstGeom prst="rect">
            <a:avLst/>
          </a:prstGeom>
          <a:noFill/>
        </p:spPr>
        <p:txBody>
          <a:bodyPr wrap="square" rtlCol="0">
            <a:spAutoFit/>
          </a:bodyPr>
          <a:lstStyle/>
          <a:p>
            <a:pPr marL="285750" indent="-285750">
              <a:buFont typeface="Arial" panose="020B0604020202020204" pitchFamily="34" charset="0"/>
              <a:buChar char="•"/>
            </a:pPr>
            <a:r>
              <a:rPr lang="en-US" dirty="0"/>
              <a:t>Therapy Duration</a:t>
            </a:r>
          </a:p>
          <a:p>
            <a:pPr marL="285750" indent="-285750">
              <a:buFont typeface="Arial" panose="020B0604020202020204" pitchFamily="34" charset="0"/>
              <a:buChar char="•"/>
            </a:pPr>
            <a:r>
              <a:rPr lang="en-US" dirty="0"/>
              <a:t>Daily Activity (naps, afternoon activity)</a:t>
            </a:r>
          </a:p>
        </p:txBody>
      </p:sp>
      <p:sp>
        <p:nvSpPr>
          <p:cNvPr id="23" name="TextBox 22">
            <a:extLst>
              <a:ext uri="{FF2B5EF4-FFF2-40B4-BE49-F238E27FC236}">
                <a16:creationId xmlns:a16="http://schemas.microsoft.com/office/drawing/2014/main" id="{42E90553-282C-4237-94F6-2104F8DB7FC6}"/>
              </a:ext>
            </a:extLst>
          </p:cNvPr>
          <p:cNvSpPr txBox="1"/>
          <p:nvPr/>
        </p:nvSpPr>
        <p:spPr>
          <a:xfrm>
            <a:off x="8704311" y="1002246"/>
            <a:ext cx="3306954" cy="369332"/>
          </a:xfrm>
          <a:prstGeom prst="rect">
            <a:avLst/>
          </a:prstGeom>
          <a:noFill/>
        </p:spPr>
        <p:txBody>
          <a:bodyPr wrap="square" rtlCol="0">
            <a:spAutoFit/>
          </a:bodyPr>
          <a:lstStyle/>
          <a:p>
            <a:pPr marL="285750" indent="-285750">
              <a:buFont typeface="Arial" panose="020B0604020202020204" pitchFamily="34" charset="0"/>
              <a:buChar char="•"/>
            </a:pPr>
            <a:r>
              <a:rPr lang="en-US" dirty="0"/>
              <a:t>Capture Index by Position</a:t>
            </a:r>
          </a:p>
        </p:txBody>
      </p:sp>
      <p:sp>
        <p:nvSpPr>
          <p:cNvPr id="11" name="Rectangle 10">
            <a:extLst>
              <a:ext uri="{FF2B5EF4-FFF2-40B4-BE49-F238E27FC236}">
                <a16:creationId xmlns:a16="http://schemas.microsoft.com/office/drawing/2014/main" id="{DDA03EB0-727D-4E57-BC58-A6A44FE3AC48}"/>
              </a:ext>
            </a:extLst>
          </p:cNvPr>
          <p:cNvSpPr/>
          <p:nvPr/>
        </p:nvSpPr>
        <p:spPr>
          <a:xfrm>
            <a:off x="203147" y="6052224"/>
            <a:ext cx="1487908" cy="246221"/>
          </a:xfrm>
          <a:prstGeom prst="rect">
            <a:avLst/>
          </a:prstGeom>
        </p:spPr>
        <p:txBody>
          <a:bodyPr wrap="none">
            <a:spAutoFit/>
          </a:bodyPr>
          <a:lstStyle/>
          <a:p>
            <a:r>
              <a:rPr lang="en-US" sz="1000" dirty="0">
                <a:solidFill>
                  <a:srgbClr val="33363E"/>
                </a:solidFill>
              </a:rPr>
              <a:t>Courtesy Respicardia, Inc</a:t>
            </a:r>
            <a:endParaRPr lang="en-US" dirty="0"/>
          </a:p>
        </p:txBody>
      </p:sp>
      <p:sp>
        <p:nvSpPr>
          <p:cNvPr id="3" name="Slide Number Placeholder 2">
            <a:extLst>
              <a:ext uri="{FF2B5EF4-FFF2-40B4-BE49-F238E27FC236}">
                <a16:creationId xmlns:a16="http://schemas.microsoft.com/office/drawing/2014/main" id="{80E77054-59FE-6349-CF86-CA31AE4857E0}"/>
              </a:ext>
            </a:extLst>
          </p:cNvPr>
          <p:cNvSpPr>
            <a:spLocks noGrp="1"/>
          </p:cNvSpPr>
          <p:nvPr>
            <p:ph type="sldNum" sz="quarter" idx="12"/>
          </p:nvPr>
        </p:nvSpPr>
        <p:spPr/>
        <p:txBody>
          <a:bodyPr/>
          <a:lstStyle/>
          <a:p>
            <a:fld id="{21D51F98-DEF0-4E23-AE94-24E7CFC19B28}" type="slidenum">
              <a:rPr lang="en-US" smtClean="0"/>
              <a:t>31</a:t>
            </a:fld>
            <a:endParaRPr lang="en-US"/>
          </a:p>
        </p:txBody>
      </p:sp>
      <p:sp>
        <p:nvSpPr>
          <p:cNvPr id="5" name="Footer Placeholder 5">
            <a:extLst>
              <a:ext uri="{FF2B5EF4-FFF2-40B4-BE49-F238E27FC236}">
                <a16:creationId xmlns:a16="http://schemas.microsoft.com/office/drawing/2014/main" id="{D8586992-11C8-BEFF-B79A-81C00D8B33BE}"/>
              </a:ext>
            </a:extLst>
          </p:cNvPr>
          <p:cNvSpPr>
            <a:spLocks noGrp="1"/>
          </p:cNvSpPr>
          <p:nvPr>
            <p:ph type="ftr" sz="quarter" idx="11"/>
          </p:nvPr>
        </p:nvSpPr>
        <p:spPr>
          <a:xfrm>
            <a:off x="3684598" y="6459785"/>
            <a:ext cx="4822804" cy="365125"/>
          </a:xfrm>
        </p:spPr>
        <p:txBody>
          <a:bodyPr/>
          <a:lstStyle/>
          <a:p>
            <a:r>
              <a:rPr lang="en-US" dirty="0"/>
              <a:t>MAF1937 Rev E</a:t>
            </a:r>
          </a:p>
        </p:txBody>
      </p:sp>
    </p:spTree>
    <p:extLst>
      <p:ext uri="{BB962C8B-B14F-4D97-AF65-F5344CB8AC3E}">
        <p14:creationId xmlns:p14="http://schemas.microsoft.com/office/powerpoint/2010/main" val="206938737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idx="4294967295"/>
          </p:nvPr>
        </p:nvSpPr>
        <p:spPr>
          <a:xfrm>
            <a:off x="449263" y="387498"/>
            <a:ext cx="10808085" cy="616659"/>
          </a:xfrm>
        </p:spPr>
        <p:txBody>
          <a:bodyPr>
            <a:normAutofit/>
          </a:bodyPr>
          <a:lstStyle/>
          <a:p>
            <a:r>
              <a:rPr lang="en-US" sz="4000" b="1" dirty="0">
                <a:solidFill>
                  <a:schemeClr val="accent2"/>
                </a:solidFill>
                <a:latin typeface="+mn-lt"/>
              </a:rPr>
              <a:t>Agenda</a:t>
            </a:r>
          </a:p>
        </p:txBody>
      </p:sp>
      <p:sp>
        <p:nvSpPr>
          <p:cNvPr id="6" name="Content Placeholder 5"/>
          <p:cNvSpPr>
            <a:spLocks noGrp="1"/>
          </p:cNvSpPr>
          <p:nvPr>
            <p:ph sz="quarter" idx="4294967295"/>
          </p:nvPr>
        </p:nvSpPr>
        <p:spPr>
          <a:xfrm>
            <a:off x="573088" y="1822450"/>
            <a:ext cx="11618912" cy="3911600"/>
          </a:xfrm>
        </p:spPr>
        <p:txBody>
          <a:bodyPr/>
          <a:lstStyle/>
          <a:p>
            <a:pPr>
              <a:spcBef>
                <a:spcPts val="3600"/>
              </a:spcBef>
            </a:pPr>
            <a:r>
              <a:rPr lang="en-US" dirty="0"/>
              <a:t>Sleep Apnea and Cardiovascular Disease</a:t>
            </a:r>
          </a:p>
          <a:p>
            <a:pPr>
              <a:spcBef>
                <a:spcPts val="3600"/>
              </a:spcBef>
            </a:pPr>
            <a:r>
              <a:rPr lang="en-US" dirty="0"/>
              <a:t>Central Sleep Apnea Background</a:t>
            </a:r>
          </a:p>
          <a:p>
            <a:pPr>
              <a:spcBef>
                <a:spcPts val="3600"/>
              </a:spcBef>
            </a:pPr>
            <a:r>
              <a:rPr lang="en-US" dirty="0"/>
              <a:t>The </a:t>
            </a:r>
            <a:r>
              <a:rPr lang="en-US" b="1" dirty="0" err="1"/>
              <a:t>rem</a:t>
            </a:r>
            <a:r>
              <a:rPr lang="en-US" dirty="0" err="1"/>
              <a:t>edē</a:t>
            </a:r>
            <a:r>
              <a:rPr lang="en-US" dirty="0"/>
              <a:t>® System Therapy</a:t>
            </a:r>
          </a:p>
          <a:p>
            <a:pPr>
              <a:spcBef>
                <a:spcPts val="3600"/>
              </a:spcBef>
            </a:pPr>
            <a:r>
              <a:rPr lang="en-US" b="1" dirty="0"/>
              <a:t>Clinical Trial Results</a:t>
            </a:r>
          </a:p>
          <a:p>
            <a:pPr marL="0" indent="0">
              <a:spcBef>
                <a:spcPts val="3600"/>
              </a:spcBef>
              <a:buNone/>
            </a:pPr>
            <a:endParaRPr lang="en-US" dirty="0"/>
          </a:p>
        </p:txBody>
      </p:sp>
      <p:sp>
        <p:nvSpPr>
          <p:cNvPr id="8" name="Rounded Rectangle 7"/>
          <p:cNvSpPr/>
          <p:nvPr/>
        </p:nvSpPr>
        <p:spPr>
          <a:xfrm>
            <a:off x="449263" y="3893663"/>
            <a:ext cx="5212627" cy="731520"/>
          </a:xfrm>
          <a:prstGeom prst="roundRect">
            <a:avLst/>
          </a:prstGeom>
          <a:solidFill>
            <a:schemeClr val="tx2">
              <a:lumMod val="20000"/>
              <a:lumOff val="80000"/>
              <a:alpha val="3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3" name="Slide Number Placeholder 2">
            <a:extLst>
              <a:ext uri="{FF2B5EF4-FFF2-40B4-BE49-F238E27FC236}">
                <a16:creationId xmlns:a16="http://schemas.microsoft.com/office/drawing/2014/main" id="{A35B0735-3A21-38C4-02BE-E94DF501CD3A}"/>
              </a:ext>
            </a:extLst>
          </p:cNvPr>
          <p:cNvSpPr>
            <a:spLocks noGrp="1"/>
          </p:cNvSpPr>
          <p:nvPr>
            <p:ph type="sldNum" sz="quarter" idx="12"/>
          </p:nvPr>
        </p:nvSpPr>
        <p:spPr/>
        <p:txBody>
          <a:bodyPr/>
          <a:lstStyle/>
          <a:p>
            <a:fld id="{21D51F98-DEF0-4E23-AE94-24E7CFC19B28}" type="slidenum">
              <a:rPr lang="en-US" smtClean="0"/>
              <a:t>32</a:t>
            </a:fld>
            <a:endParaRPr lang="en-US"/>
          </a:p>
        </p:txBody>
      </p:sp>
      <p:sp>
        <p:nvSpPr>
          <p:cNvPr id="7" name="Footer Placeholder 5">
            <a:extLst>
              <a:ext uri="{FF2B5EF4-FFF2-40B4-BE49-F238E27FC236}">
                <a16:creationId xmlns:a16="http://schemas.microsoft.com/office/drawing/2014/main" id="{54E888D0-38DD-D2B1-02E6-84A999176ECA}"/>
              </a:ext>
            </a:extLst>
          </p:cNvPr>
          <p:cNvSpPr>
            <a:spLocks noGrp="1"/>
          </p:cNvSpPr>
          <p:nvPr>
            <p:ph type="ftr" sz="quarter" idx="11"/>
          </p:nvPr>
        </p:nvSpPr>
        <p:spPr>
          <a:xfrm>
            <a:off x="3684598" y="6459785"/>
            <a:ext cx="4822804" cy="365125"/>
          </a:xfrm>
        </p:spPr>
        <p:txBody>
          <a:bodyPr/>
          <a:lstStyle/>
          <a:p>
            <a:r>
              <a:rPr lang="en-US" dirty="0"/>
              <a:t>MAF1937 Rev E</a:t>
            </a:r>
          </a:p>
        </p:txBody>
      </p:sp>
    </p:spTree>
    <p:extLst>
      <p:ext uri="{BB962C8B-B14F-4D97-AF65-F5344CB8AC3E}">
        <p14:creationId xmlns:p14="http://schemas.microsoft.com/office/powerpoint/2010/main" val="348586829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573088" y="288925"/>
            <a:ext cx="11618912" cy="827088"/>
          </a:xfrm>
        </p:spPr>
        <p:txBody>
          <a:bodyPr vert="horz" lIns="91440" tIns="45720" rIns="91440" bIns="45720" rtlCol="0" anchor="ctr">
            <a:noAutofit/>
          </a:bodyPr>
          <a:lstStyle/>
          <a:p>
            <a:r>
              <a:rPr lang="en-US" sz="3200" b="1" dirty="0">
                <a:solidFill>
                  <a:schemeClr val="accent2"/>
                </a:solidFill>
                <a:latin typeface="+mn-lt"/>
                <a:cs typeface="Calibri" panose="020F0502020204030204" pitchFamily="34" charset="0"/>
              </a:rPr>
              <a:t>The remedē® System Pivotal Trial  </a:t>
            </a:r>
            <a:br>
              <a:rPr lang="en-US" sz="3200" b="1" dirty="0">
                <a:solidFill>
                  <a:schemeClr val="accent2"/>
                </a:solidFill>
                <a:latin typeface="+mj-lt"/>
                <a:cs typeface="Calibri" panose="020F0502020204030204" pitchFamily="34" charset="0"/>
              </a:rPr>
            </a:br>
            <a:r>
              <a:rPr lang="en-US" sz="2800" b="1" i="1" dirty="0">
                <a:solidFill>
                  <a:schemeClr val="accent2"/>
                </a:solidFill>
                <a:latin typeface="+mj-lt"/>
                <a:cs typeface="Calibri" panose="020F0502020204030204" pitchFamily="34" charset="0"/>
              </a:rPr>
              <a:t>Study design</a:t>
            </a:r>
          </a:p>
        </p:txBody>
      </p:sp>
      <p:graphicFrame>
        <p:nvGraphicFramePr>
          <p:cNvPr id="3" name="Content Placeholder 5"/>
          <p:cNvGraphicFramePr>
            <a:graphicFrameLocks/>
          </p:cNvGraphicFramePr>
          <p:nvPr>
            <p:extLst>
              <p:ext uri="{D42A27DB-BD31-4B8C-83A1-F6EECF244321}">
                <p14:modId xmlns:p14="http://schemas.microsoft.com/office/powerpoint/2010/main" val="1166221229"/>
              </p:ext>
            </p:extLst>
          </p:nvPr>
        </p:nvGraphicFramePr>
        <p:xfrm>
          <a:off x="817091" y="2651836"/>
          <a:ext cx="10306179" cy="3322320"/>
        </p:xfrm>
        <a:graphic>
          <a:graphicData uri="http://schemas.openxmlformats.org/drawingml/2006/table">
            <a:tbl>
              <a:tblPr firstRow="1" bandRow="1">
                <a:tableStyleId>{2D5ABB26-0587-4C30-8999-92F81FD0307C}</a:tableStyleId>
              </a:tblPr>
              <a:tblGrid>
                <a:gridCol w="2256965">
                  <a:extLst>
                    <a:ext uri="{9D8B030D-6E8A-4147-A177-3AD203B41FA5}">
                      <a16:colId xmlns:a16="http://schemas.microsoft.com/office/drawing/2014/main" val="20000"/>
                    </a:ext>
                  </a:extLst>
                </a:gridCol>
                <a:gridCol w="5886190">
                  <a:extLst>
                    <a:ext uri="{9D8B030D-6E8A-4147-A177-3AD203B41FA5}">
                      <a16:colId xmlns:a16="http://schemas.microsoft.com/office/drawing/2014/main" val="20001"/>
                    </a:ext>
                  </a:extLst>
                </a:gridCol>
                <a:gridCol w="2163024">
                  <a:extLst>
                    <a:ext uri="{9D8B030D-6E8A-4147-A177-3AD203B41FA5}">
                      <a16:colId xmlns:a16="http://schemas.microsoft.com/office/drawing/2014/main" val="20002"/>
                    </a:ext>
                  </a:extLst>
                </a:gridCol>
              </a:tblGrid>
              <a:tr h="278048">
                <a:tc>
                  <a:txBody>
                    <a:bodyPr/>
                    <a:lstStyle/>
                    <a:p>
                      <a:pPr algn="ctr"/>
                      <a:r>
                        <a:rPr lang="en-US" sz="1800" b="1" dirty="0">
                          <a:solidFill>
                            <a:schemeClr val="bg1"/>
                          </a:solidFill>
                          <a:latin typeface="+mn-lt"/>
                        </a:rPr>
                        <a:t>ENDPOINT</a:t>
                      </a:r>
                    </a:p>
                  </a:txBody>
                  <a:tcPr marL="177908" marR="177908" anchor="b">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a:r>
                        <a:rPr lang="en-US" sz="1800" b="1" dirty="0">
                          <a:solidFill>
                            <a:schemeClr val="bg1"/>
                          </a:solidFill>
                          <a:latin typeface="+mn-lt"/>
                        </a:rPr>
                        <a:t>DESCRIPTION</a:t>
                      </a:r>
                    </a:p>
                  </a:txBody>
                  <a:tcPr marL="177908" marR="177908" anchor="b">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a:r>
                        <a:rPr lang="en-US" sz="1800" b="1" dirty="0">
                          <a:solidFill>
                            <a:schemeClr val="bg1"/>
                          </a:solidFill>
                          <a:latin typeface="+mn-lt"/>
                        </a:rPr>
                        <a:t>POPULATION</a:t>
                      </a:r>
                    </a:p>
                  </a:txBody>
                  <a:tcPr marL="177908" marR="177908" anchor="b">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extLst>
                  <a:ext uri="{0D108BD9-81ED-4DB2-BD59-A6C34878D82A}">
                    <a16:rowId xmlns:a16="http://schemas.microsoft.com/office/drawing/2014/main" val="10000"/>
                  </a:ext>
                </a:extLst>
              </a:tr>
              <a:tr h="548640">
                <a:tc>
                  <a:txBody>
                    <a:bodyPr/>
                    <a:lstStyle/>
                    <a:p>
                      <a:pPr>
                        <a:spcBef>
                          <a:spcPts val="600"/>
                        </a:spcBef>
                      </a:pPr>
                      <a:r>
                        <a:rPr lang="en-US" sz="1600" b="1" dirty="0">
                          <a:latin typeface="+mn-lt"/>
                          <a:cs typeface="Arial" panose="020B0604020202020204" pitchFamily="34" charset="0"/>
                        </a:rPr>
                        <a:t>Primary Effectiveness </a:t>
                      </a:r>
                    </a:p>
                    <a:p>
                      <a:r>
                        <a:rPr lang="en-US" sz="1400" dirty="0">
                          <a:latin typeface="+mn-lt"/>
                          <a:cs typeface="Arial" panose="020B0604020202020204" pitchFamily="34" charset="0"/>
                        </a:rPr>
                        <a:t>(6 months)</a:t>
                      </a:r>
                      <a:endParaRPr lang="en-US" sz="1400" dirty="0">
                        <a:solidFill>
                          <a:srgbClr val="0E262C"/>
                        </a:solidFill>
                        <a:latin typeface="+mn-lt"/>
                        <a:cs typeface="Arial" panose="020B0604020202020204" pitchFamily="34" charset="0"/>
                      </a:endParaRPr>
                    </a:p>
                  </a:txBody>
                  <a:tcPr marL="177908" marR="177908">
                    <a:lnT w="12700" cap="flat" cmpd="sng" algn="ctr">
                      <a:solidFill>
                        <a:schemeClr val="tx1"/>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E4E4E4"/>
                    </a:solid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600" dirty="0">
                          <a:latin typeface="+mn-lt"/>
                          <a:cs typeface="Arial" panose="020B0604020202020204" pitchFamily="34" charset="0"/>
                        </a:rPr>
                        <a:t>Comparison of the proportion of subjects with ≥50% reduction in AHI between treatment and control  </a:t>
                      </a:r>
                      <a:endParaRPr lang="en-US" sz="1600" dirty="0">
                        <a:solidFill>
                          <a:srgbClr val="0E262C"/>
                        </a:solidFill>
                        <a:latin typeface="+mn-lt"/>
                        <a:cs typeface="Arial" panose="020B0604020202020204" pitchFamily="34" charset="0"/>
                      </a:endParaRPr>
                    </a:p>
                  </a:txBody>
                  <a:tcPr marL="177908" marR="177908">
                    <a:lnT w="12700" cap="flat" cmpd="sng" algn="ctr">
                      <a:solidFill>
                        <a:schemeClr val="tx1"/>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E4E4E4"/>
                    </a:solidFill>
                  </a:tcPr>
                </a:tc>
                <a:tc>
                  <a:txBody>
                    <a:bodyPr/>
                    <a:lstStyle/>
                    <a:p>
                      <a:pPr algn="ctr"/>
                      <a:r>
                        <a:rPr lang="en-US" sz="1600" dirty="0">
                          <a:latin typeface="+mn-lt"/>
                          <a:cs typeface="Arial" panose="020B0604020202020204" pitchFamily="34" charset="0"/>
                        </a:rPr>
                        <a:t>Intention</a:t>
                      </a:r>
                      <a:r>
                        <a:rPr lang="en-US" sz="1600" baseline="0" dirty="0">
                          <a:latin typeface="+mn-lt"/>
                          <a:cs typeface="Arial" panose="020B0604020202020204" pitchFamily="34" charset="0"/>
                        </a:rPr>
                        <a:t> to Treat (ITT)</a:t>
                      </a:r>
                      <a:endParaRPr lang="en-US" sz="1600" baseline="0" dirty="0">
                        <a:solidFill>
                          <a:srgbClr val="0E262C"/>
                        </a:solidFill>
                        <a:latin typeface="+mn-lt"/>
                        <a:cs typeface="Arial" panose="020B0604020202020204" pitchFamily="34" charset="0"/>
                      </a:endParaRPr>
                    </a:p>
                  </a:txBody>
                  <a:tcPr marL="177908" marR="177908">
                    <a:lnT w="12700" cap="flat" cmpd="sng" algn="ctr">
                      <a:solidFill>
                        <a:schemeClr val="tx1"/>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E4E4E4"/>
                    </a:solidFill>
                  </a:tcPr>
                </a:tc>
                <a:extLst>
                  <a:ext uri="{0D108BD9-81ED-4DB2-BD59-A6C34878D82A}">
                    <a16:rowId xmlns:a16="http://schemas.microsoft.com/office/drawing/2014/main" val="10001"/>
                  </a:ext>
                </a:extLst>
              </a:tr>
              <a:tr h="548640">
                <a:tc>
                  <a:txBody>
                    <a:bodyPr/>
                    <a:lstStyle/>
                    <a:p>
                      <a:r>
                        <a:rPr lang="en-US" sz="1600" b="1" dirty="0">
                          <a:latin typeface="+mn-lt"/>
                          <a:cs typeface="Arial" panose="020B0604020202020204" pitchFamily="34" charset="0"/>
                        </a:rPr>
                        <a:t>Primary Safety</a:t>
                      </a:r>
                    </a:p>
                    <a:p>
                      <a:r>
                        <a:rPr lang="en-US" sz="1400" dirty="0">
                          <a:latin typeface="+mn-lt"/>
                          <a:cs typeface="Arial" panose="020B0604020202020204" pitchFamily="34" charset="0"/>
                        </a:rPr>
                        <a:t>(12 months)</a:t>
                      </a:r>
                      <a:endParaRPr lang="en-US" sz="1400" dirty="0">
                        <a:solidFill>
                          <a:srgbClr val="0E262C"/>
                        </a:solidFill>
                        <a:latin typeface="+mn-lt"/>
                        <a:cs typeface="Arial" panose="020B0604020202020204" pitchFamily="34" charset="0"/>
                      </a:endParaRPr>
                    </a:p>
                  </a:txBody>
                  <a:tcPr marL="177908" marR="177908">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1600" dirty="0">
                          <a:latin typeface="+mn-lt"/>
                          <a:cs typeface="Arial" panose="020B0604020202020204" pitchFamily="34" charset="0"/>
                        </a:rPr>
                        <a:t>Freedom from serious adverse events associated with implant, the remedē system, or delivered therapy </a:t>
                      </a:r>
                      <a:endParaRPr lang="en-US" sz="1600" dirty="0">
                        <a:solidFill>
                          <a:srgbClr val="0E262C"/>
                        </a:solidFill>
                        <a:latin typeface="+mn-lt"/>
                        <a:cs typeface="Arial" panose="020B0604020202020204" pitchFamily="34" charset="0"/>
                      </a:endParaRPr>
                    </a:p>
                  </a:txBody>
                  <a:tcPr marL="177908" marR="177908">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a:r>
                        <a:rPr lang="en-US" sz="1600" dirty="0">
                          <a:latin typeface="+mn-lt"/>
                          <a:cs typeface="Arial" panose="020B0604020202020204" pitchFamily="34" charset="0"/>
                        </a:rPr>
                        <a:t>Intention</a:t>
                      </a:r>
                      <a:r>
                        <a:rPr lang="en-US" sz="1600" baseline="0" dirty="0">
                          <a:latin typeface="+mn-lt"/>
                          <a:cs typeface="Arial" panose="020B0604020202020204" pitchFamily="34" charset="0"/>
                        </a:rPr>
                        <a:t> to Treat</a:t>
                      </a:r>
                      <a:endParaRPr lang="en-US" sz="1600" baseline="0" dirty="0">
                        <a:solidFill>
                          <a:srgbClr val="0E262C"/>
                        </a:solidFill>
                        <a:latin typeface="+mn-lt"/>
                        <a:cs typeface="Arial" panose="020B0604020202020204" pitchFamily="34" charset="0"/>
                      </a:endParaRPr>
                    </a:p>
                  </a:txBody>
                  <a:tcPr marL="177908" marR="177908">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10002"/>
                  </a:ext>
                </a:extLst>
              </a:tr>
              <a:tr h="1418044">
                <a:tc>
                  <a:txBody>
                    <a:bodyPr/>
                    <a:lstStyle/>
                    <a:p>
                      <a:r>
                        <a:rPr lang="en-US" sz="1600" b="1" dirty="0">
                          <a:latin typeface="+mn-lt"/>
                          <a:cs typeface="Arial" panose="020B0604020202020204" pitchFamily="34" charset="0"/>
                        </a:rPr>
                        <a:t>Secondary</a:t>
                      </a:r>
                      <a:r>
                        <a:rPr lang="en-US" sz="1600" b="1" baseline="0" dirty="0">
                          <a:latin typeface="+mn-lt"/>
                          <a:cs typeface="Arial" panose="020B0604020202020204" pitchFamily="34" charset="0"/>
                        </a:rPr>
                        <a:t> </a:t>
                      </a:r>
                      <a:r>
                        <a:rPr lang="en-US" sz="1600" b="1" dirty="0">
                          <a:latin typeface="+mn-lt"/>
                          <a:cs typeface="Arial" panose="020B0604020202020204" pitchFamily="34" charset="0"/>
                        </a:rPr>
                        <a:t>Hierarchical   </a:t>
                      </a:r>
                    </a:p>
                    <a:p>
                      <a:r>
                        <a:rPr lang="en-US" sz="1400" dirty="0">
                          <a:latin typeface="+mn-lt"/>
                          <a:cs typeface="Arial" panose="020B0604020202020204" pitchFamily="34" charset="0"/>
                        </a:rPr>
                        <a:t>(6 months)</a:t>
                      </a:r>
                      <a:endParaRPr lang="en-US" sz="1400" dirty="0">
                        <a:solidFill>
                          <a:srgbClr val="0E262C"/>
                        </a:solidFill>
                        <a:latin typeface="+mn-lt"/>
                        <a:cs typeface="Arial" panose="020B0604020202020204" pitchFamily="34" charset="0"/>
                      </a:endParaRPr>
                    </a:p>
                  </a:txBody>
                  <a:tcPr marL="177908" marR="177908">
                    <a:lnT w="12700" cap="flat" cmpd="sng" algn="ctr">
                      <a:solidFill>
                        <a:schemeClr val="bg1">
                          <a:lumMod val="6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4E4E4"/>
                    </a:solidFill>
                  </a:tcPr>
                </a:tc>
                <a:tc>
                  <a:txBody>
                    <a:bodyPr/>
                    <a:lstStyle/>
                    <a:p>
                      <a:pPr marL="342900" marR="0" lvl="1" indent="-342900" algn="l" defTabSz="457200" rtl="0" eaLnBrk="1" fontAlgn="auto" latinLnBrk="0" hangingPunct="1">
                        <a:lnSpc>
                          <a:spcPct val="100000"/>
                        </a:lnSpc>
                        <a:spcBef>
                          <a:spcPts val="0"/>
                        </a:spcBef>
                        <a:spcAft>
                          <a:spcPts val="0"/>
                        </a:spcAft>
                        <a:buClrTx/>
                        <a:buSzTx/>
                        <a:buFontTx/>
                        <a:buAutoNum type="arabicPeriod"/>
                        <a:tabLst/>
                        <a:defRPr/>
                      </a:pPr>
                      <a:r>
                        <a:rPr lang="en-US" sz="1600" dirty="0">
                          <a:latin typeface="+mn-lt"/>
                          <a:cs typeface="Arial" panose="020B0604020202020204" pitchFamily="34" charset="0"/>
                        </a:rPr>
                        <a:t>Central Apnea</a:t>
                      </a:r>
                      <a:r>
                        <a:rPr lang="en-US" sz="1600" baseline="0" dirty="0">
                          <a:latin typeface="+mn-lt"/>
                          <a:cs typeface="Arial" panose="020B0604020202020204" pitchFamily="34" charset="0"/>
                        </a:rPr>
                        <a:t> Index (CAI)</a:t>
                      </a:r>
                    </a:p>
                    <a:p>
                      <a:pPr marL="342900" marR="0" lvl="1" indent="-342900" algn="l" defTabSz="457200" rtl="0" eaLnBrk="1" fontAlgn="auto" latinLnBrk="0" hangingPunct="1">
                        <a:lnSpc>
                          <a:spcPct val="100000"/>
                        </a:lnSpc>
                        <a:spcBef>
                          <a:spcPts val="0"/>
                        </a:spcBef>
                        <a:spcAft>
                          <a:spcPts val="0"/>
                        </a:spcAft>
                        <a:buClrTx/>
                        <a:buSzTx/>
                        <a:buFontTx/>
                        <a:buAutoNum type="arabicPeriod"/>
                        <a:tabLst/>
                        <a:defRPr/>
                      </a:pPr>
                      <a:r>
                        <a:rPr lang="en-US" sz="1600" baseline="0" dirty="0">
                          <a:latin typeface="+mn-lt"/>
                          <a:cs typeface="Arial" panose="020B0604020202020204" pitchFamily="34" charset="0"/>
                        </a:rPr>
                        <a:t>Apnea Hypopnea Index (</a:t>
                      </a:r>
                      <a:r>
                        <a:rPr lang="en-US" sz="1600" dirty="0">
                          <a:latin typeface="+mn-lt"/>
                          <a:cs typeface="Arial" panose="020B0604020202020204" pitchFamily="34" charset="0"/>
                        </a:rPr>
                        <a:t>AHI)</a:t>
                      </a:r>
                    </a:p>
                    <a:p>
                      <a:pPr marL="342900" marR="0" lvl="1" indent="-342900" algn="l" defTabSz="457200" rtl="0" eaLnBrk="1" fontAlgn="auto" latinLnBrk="0" hangingPunct="1">
                        <a:lnSpc>
                          <a:spcPct val="100000"/>
                        </a:lnSpc>
                        <a:spcBef>
                          <a:spcPts val="0"/>
                        </a:spcBef>
                        <a:spcAft>
                          <a:spcPts val="0"/>
                        </a:spcAft>
                        <a:buClrTx/>
                        <a:buSzTx/>
                        <a:buFontTx/>
                        <a:buAutoNum type="arabicPeriod"/>
                        <a:tabLst/>
                        <a:defRPr/>
                      </a:pPr>
                      <a:r>
                        <a:rPr lang="en-US" sz="1600" dirty="0">
                          <a:latin typeface="+mn-lt"/>
                          <a:cs typeface="Arial" panose="020B0604020202020204" pitchFamily="34" charset="0"/>
                        </a:rPr>
                        <a:t>Arousal Index (</a:t>
                      </a:r>
                      <a:r>
                        <a:rPr lang="en-US" sz="1600" dirty="0" err="1">
                          <a:latin typeface="+mn-lt"/>
                          <a:cs typeface="Arial" panose="020B0604020202020204" pitchFamily="34" charset="0"/>
                        </a:rPr>
                        <a:t>ArI</a:t>
                      </a:r>
                      <a:r>
                        <a:rPr lang="en-US" sz="1600" dirty="0">
                          <a:latin typeface="+mn-lt"/>
                          <a:cs typeface="Arial" panose="020B0604020202020204" pitchFamily="34" charset="0"/>
                        </a:rPr>
                        <a:t>)</a:t>
                      </a:r>
                    </a:p>
                    <a:p>
                      <a:pPr marL="342900" marR="0" lvl="1" indent="-342900" algn="l" defTabSz="457200" rtl="0" eaLnBrk="1" fontAlgn="auto" latinLnBrk="0" hangingPunct="1">
                        <a:lnSpc>
                          <a:spcPct val="100000"/>
                        </a:lnSpc>
                        <a:spcBef>
                          <a:spcPts val="0"/>
                        </a:spcBef>
                        <a:spcAft>
                          <a:spcPts val="0"/>
                        </a:spcAft>
                        <a:buClrTx/>
                        <a:buSzTx/>
                        <a:buFontTx/>
                        <a:buAutoNum type="arabicPeriod"/>
                        <a:tabLst/>
                        <a:defRPr/>
                      </a:pPr>
                      <a:r>
                        <a:rPr lang="en-US" sz="1600" dirty="0">
                          <a:latin typeface="+mn-lt"/>
                          <a:cs typeface="Arial" panose="020B0604020202020204" pitchFamily="34" charset="0"/>
                        </a:rPr>
                        <a:t>Rapid Eye Movement (REM)</a:t>
                      </a:r>
                    </a:p>
                    <a:p>
                      <a:pPr marL="342900" marR="0" lvl="1" indent="-342900" algn="l" defTabSz="457200" rtl="0" eaLnBrk="1" fontAlgn="auto" latinLnBrk="0" hangingPunct="1">
                        <a:lnSpc>
                          <a:spcPct val="100000"/>
                        </a:lnSpc>
                        <a:spcBef>
                          <a:spcPts val="0"/>
                        </a:spcBef>
                        <a:spcAft>
                          <a:spcPts val="0"/>
                        </a:spcAft>
                        <a:buClrTx/>
                        <a:buSzTx/>
                        <a:buFontTx/>
                        <a:buAutoNum type="arabicPeriod"/>
                        <a:tabLst/>
                        <a:defRPr/>
                      </a:pPr>
                      <a:r>
                        <a:rPr lang="en-US" sz="1600" dirty="0">
                          <a:latin typeface="+mn-lt"/>
                          <a:cs typeface="Arial" panose="020B0604020202020204" pitchFamily="34" charset="0"/>
                        </a:rPr>
                        <a:t>Patient Global Assessment (PGA)</a:t>
                      </a:r>
                    </a:p>
                    <a:p>
                      <a:pPr marL="342900" marR="0" lvl="1" indent="-342900" algn="l" defTabSz="457200" rtl="0" eaLnBrk="1" fontAlgn="auto" latinLnBrk="0" hangingPunct="1">
                        <a:lnSpc>
                          <a:spcPct val="100000"/>
                        </a:lnSpc>
                        <a:spcBef>
                          <a:spcPts val="0"/>
                        </a:spcBef>
                        <a:spcAft>
                          <a:spcPts val="0"/>
                        </a:spcAft>
                        <a:buClrTx/>
                        <a:buSzTx/>
                        <a:buFontTx/>
                        <a:buAutoNum type="arabicPeriod"/>
                        <a:tabLst/>
                        <a:defRPr/>
                      </a:pPr>
                      <a:r>
                        <a:rPr lang="en-US" sz="1600" dirty="0">
                          <a:latin typeface="+mn-lt"/>
                          <a:cs typeface="Arial" panose="020B0604020202020204" pitchFamily="34" charset="0"/>
                        </a:rPr>
                        <a:t>Oxygen Desaturation Index 4% (ODI4)</a:t>
                      </a:r>
                    </a:p>
                    <a:p>
                      <a:pPr marL="342900" marR="0" lvl="1" indent="-342900" algn="l" defTabSz="457200" rtl="0" eaLnBrk="1" fontAlgn="auto" latinLnBrk="0" hangingPunct="1">
                        <a:lnSpc>
                          <a:spcPct val="100000"/>
                        </a:lnSpc>
                        <a:spcBef>
                          <a:spcPts val="0"/>
                        </a:spcBef>
                        <a:spcAft>
                          <a:spcPts val="0"/>
                        </a:spcAft>
                        <a:buClrTx/>
                        <a:buSzTx/>
                        <a:buFontTx/>
                        <a:buAutoNum type="arabicPeriod"/>
                        <a:tabLst/>
                        <a:defRPr/>
                      </a:pPr>
                      <a:r>
                        <a:rPr lang="en-US" sz="1600" dirty="0">
                          <a:latin typeface="+mn-lt"/>
                          <a:cs typeface="Arial" panose="020B0604020202020204" pitchFamily="34" charset="0"/>
                        </a:rPr>
                        <a:t>Epworth Sleepiness Scale (ESS)</a:t>
                      </a:r>
                      <a:endParaRPr lang="en-US" sz="1600" dirty="0">
                        <a:solidFill>
                          <a:srgbClr val="0E262C"/>
                        </a:solidFill>
                        <a:latin typeface="+mn-lt"/>
                        <a:cs typeface="Arial" panose="020B0604020202020204" pitchFamily="34" charset="0"/>
                      </a:endParaRPr>
                    </a:p>
                  </a:txBody>
                  <a:tcPr marL="177908" marR="177908">
                    <a:lnT w="12700" cap="flat" cmpd="sng" algn="ctr">
                      <a:solidFill>
                        <a:schemeClr val="bg1">
                          <a:lumMod val="6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4E4E4"/>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600" dirty="0">
                          <a:latin typeface="+mn-lt"/>
                          <a:cs typeface="Arial" panose="020B0604020202020204" pitchFamily="34" charset="0"/>
                        </a:rPr>
                        <a:t>Per-p</a:t>
                      </a:r>
                      <a:r>
                        <a:rPr lang="en-US" sz="1600" baseline="0" dirty="0">
                          <a:latin typeface="+mn-lt"/>
                          <a:cs typeface="Arial" panose="020B0604020202020204" pitchFamily="34" charset="0"/>
                        </a:rPr>
                        <a:t>rotocol</a:t>
                      </a:r>
                      <a:endParaRPr lang="en-US" sz="1600" dirty="0">
                        <a:solidFill>
                          <a:srgbClr val="0E262C"/>
                        </a:solidFill>
                        <a:latin typeface="+mn-lt"/>
                        <a:cs typeface="Arial" panose="020B0604020202020204" pitchFamily="34" charset="0"/>
                      </a:endParaRPr>
                    </a:p>
                  </a:txBody>
                  <a:tcPr marL="177908" marR="177908">
                    <a:lnT w="12700" cap="flat" cmpd="sng" algn="ctr">
                      <a:solidFill>
                        <a:schemeClr val="bg1">
                          <a:lumMod val="6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4E4E4"/>
                    </a:solidFill>
                  </a:tcPr>
                </a:tc>
                <a:extLst>
                  <a:ext uri="{0D108BD9-81ED-4DB2-BD59-A6C34878D82A}">
                    <a16:rowId xmlns:a16="http://schemas.microsoft.com/office/drawing/2014/main" val="10003"/>
                  </a:ext>
                </a:extLst>
              </a:tr>
            </a:tbl>
          </a:graphicData>
        </a:graphic>
      </p:graphicFrame>
      <p:sp>
        <p:nvSpPr>
          <p:cNvPr id="6" name="TextBox 5"/>
          <p:cNvSpPr txBox="1"/>
          <p:nvPr/>
        </p:nvSpPr>
        <p:spPr>
          <a:xfrm>
            <a:off x="82029" y="6093856"/>
            <a:ext cx="8534400" cy="246221"/>
          </a:xfrm>
          <a:prstGeom prst="rect">
            <a:avLst/>
          </a:prstGeom>
          <a:noFill/>
        </p:spPr>
        <p:txBody>
          <a:bodyPr wrap="square" rtlCol="0">
            <a:spAutoFit/>
          </a:bodyPr>
          <a:lstStyle/>
          <a:p>
            <a:r>
              <a:rPr lang="en-US" sz="1000" dirty="0"/>
              <a:t>Costanzo MR, et al., J Card Fail. 2015;21:892-902.</a:t>
            </a:r>
          </a:p>
        </p:txBody>
      </p:sp>
      <p:sp>
        <p:nvSpPr>
          <p:cNvPr id="5" name="Rectangle 4"/>
          <p:cNvSpPr/>
          <p:nvPr/>
        </p:nvSpPr>
        <p:spPr>
          <a:xfrm>
            <a:off x="817091" y="1117738"/>
            <a:ext cx="10306180" cy="1461939"/>
          </a:xfrm>
          <a:prstGeom prst="rect">
            <a:avLst/>
          </a:prstGeom>
        </p:spPr>
        <p:txBody>
          <a:bodyPr wrap="square">
            <a:spAutoFit/>
          </a:bodyPr>
          <a:lstStyle/>
          <a:p>
            <a:pPr marL="342900" indent="-342900">
              <a:buFont typeface="Arial" panose="020B0604020202020204" pitchFamily="34" charset="0"/>
              <a:buChar char="•"/>
            </a:pPr>
            <a:r>
              <a:rPr lang="en-US" b="1" dirty="0"/>
              <a:t>Prospective, multi-center, randomized </a:t>
            </a:r>
            <a:r>
              <a:rPr lang="en-US" dirty="0"/>
              <a:t>controlled trial </a:t>
            </a:r>
          </a:p>
          <a:p>
            <a:pPr marL="342900" indent="-342900">
              <a:spcBef>
                <a:spcPts val="600"/>
              </a:spcBef>
              <a:buFont typeface="Arial" panose="020B0604020202020204" pitchFamily="34" charset="0"/>
              <a:buChar char="•"/>
            </a:pPr>
            <a:r>
              <a:rPr lang="en-US" b="1" dirty="0"/>
              <a:t>Baseline criteria for moderate to severe CSA </a:t>
            </a:r>
            <a:r>
              <a:rPr lang="en-US" dirty="0"/>
              <a:t>was based on PSGs </a:t>
            </a:r>
            <a:r>
              <a:rPr lang="en-US" b="1" dirty="0"/>
              <a:t>scored by a blinded core laboratory </a:t>
            </a:r>
          </a:p>
          <a:p>
            <a:pPr marL="801688" lvl="2" indent="-342900">
              <a:buFont typeface="Arial" panose="020B0604020202020204" pitchFamily="34" charset="0"/>
              <a:buChar char="•"/>
            </a:pPr>
            <a:r>
              <a:rPr lang="en-US" sz="1600" dirty="0"/>
              <a:t>AHI  ≥ 20</a:t>
            </a:r>
          </a:p>
          <a:p>
            <a:pPr marL="801688" lvl="2" indent="-342900">
              <a:buFont typeface="Arial" panose="020B0604020202020204" pitchFamily="34" charset="0"/>
              <a:buChar char="•"/>
            </a:pPr>
            <a:r>
              <a:rPr lang="en-US" sz="1600" dirty="0"/>
              <a:t>CAI at least 50% of all apneas with at least 30 central apnea events</a:t>
            </a:r>
          </a:p>
          <a:p>
            <a:pPr marL="801688" lvl="2" indent="-342900">
              <a:buFont typeface="Arial" panose="020B0604020202020204" pitchFamily="34" charset="0"/>
              <a:buChar char="•"/>
            </a:pPr>
            <a:r>
              <a:rPr lang="en-US" sz="1600" dirty="0"/>
              <a:t>Obstructive Apnea Index  ≤ 20% of the total AHI</a:t>
            </a:r>
          </a:p>
        </p:txBody>
      </p:sp>
      <p:sp>
        <p:nvSpPr>
          <p:cNvPr id="9" name="Slide Number Placeholder 6"/>
          <p:cNvSpPr txBox="1">
            <a:spLocks/>
          </p:cNvSpPr>
          <p:nvPr/>
        </p:nvSpPr>
        <p:spPr>
          <a:xfrm>
            <a:off x="9251183" y="6548656"/>
            <a:ext cx="2743200" cy="200106"/>
          </a:xfrm>
          <a:prstGeom prst="rect">
            <a:avLst/>
          </a:prstGeom>
        </p:spPr>
        <p:txBody>
          <a:bodyPr vert="horz" lIns="91440" tIns="45720" rIns="91440" bIns="45720" rtlCol="0" anchor="ctr"/>
          <a:lstStyle>
            <a:defPPr>
              <a:defRPr lang="en-US"/>
            </a:defPPr>
            <a:lvl1pPr marL="0" algn="ctr" defTabSz="914400" rtl="0" eaLnBrk="1" latinLnBrk="0" hangingPunct="1">
              <a:defRPr sz="1200" b="1"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AA1E0187-46F1-1547-A62C-EF06226854A1}" type="slidenum">
              <a:rPr lang="en-US" b="0" smtClean="0">
                <a:solidFill>
                  <a:schemeClr val="tx1">
                    <a:lumMod val="50000"/>
                    <a:lumOff val="50000"/>
                  </a:schemeClr>
                </a:solidFill>
              </a:rPr>
              <a:pPr algn="r"/>
              <a:t>33</a:t>
            </a:fld>
            <a:endParaRPr lang="en-US" b="0" dirty="0">
              <a:solidFill>
                <a:schemeClr val="tx1">
                  <a:lumMod val="50000"/>
                  <a:lumOff val="50000"/>
                </a:schemeClr>
              </a:solidFill>
            </a:endParaRPr>
          </a:p>
        </p:txBody>
      </p:sp>
      <p:sp>
        <p:nvSpPr>
          <p:cNvPr id="7" name="Slide Number Placeholder 6">
            <a:extLst>
              <a:ext uri="{FF2B5EF4-FFF2-40B4-BE49-F238E27FC236}">
                <a16:creationId xmlns:a16="http://schemas.microsoft.com/office/drawing/2014/main" id="{4B4B5972-6141-EAF8-ED2C-11D3424B227B}"/>
              </a:ext>
            </a:extLst>
          </p:cNvPr>
          <p:cNvSpPr>
            <a:spLocks noGrp="1"/>
          </p:cNvSpPr>
          <p:nvPr>
            <p:ph type="sldNum" sz="quarter" idx="12"/>
          </p:nvPr>
        </p:nvSpPr>
        <p:spPr/>
        <p:txBody>
          <a:bodyPr/>
          <a:lstStyle/>
          <a:p>
            <a:fld id="{21D51F98-DEF0-4E23-AE94-24E7CFC19B28}" type="slidenum">
              <a:rPr lang="en-US" smtClean="0"/>
              <a:t>33</a:t>
            </a:fld>
            <a:endParaRPr lang="en-US"/>
          </a:p>
        </p:txBody>
      </p:sp>
      <p:sp>
        <p:nvSpPr>
          <p:cNvPr id="10" name="Footer Placeholder 5">
            <a:extLst>
              <a:ext uri="{FF2B5EF4-FFF2-40B4-BE49-F238E27FC236}">
                <a16:creationId xmlns:a16="http://schemas.microsoft.com/office/drawing/2014/main" id="{9A0A9186-70F9-D979-15BA-DFC93249E3BF}"/>
              </a:ext>
            </a:extLst>
          </p:cNvPr>
          <p:cNvSpPr>
            <a:spLocks noGrp="1"/>
          </p:cNvSpPr>
          <p:nvPr>
            <p:ph type="ftr" sz="quarter" idx="11"/>
          </p:nvPr>
        </p:nvSpPr>
        <p:spPr>
          <a:xfrm>
            <a:off x="3684598" y="6459785"/>
            <a:ext cx="4822804" cy="365125"/>
          </a:xfrm>
        </p:spPr>
        <p:txBody>
          <a:bodyPr/>
          <a:lstStyle/>
          <a:p>
            <a:r>
              <a:rPr lang="en-US" dirty="0"/>
              <a:t>MAF1937 Rev E</a:t>
            </a:r>
          </a:p>
        </p:txBody>
      </p:sp>
    </p:spTree>
    <p:extLst>
      <p:ext uri="{BB962C8B-B14F-4D97-AF65-F5344CB8AC3E}">
        <p14:creationId xmlns:p14="http://schemas.microsoft.com/office/powerpoint/2010/main" val="156287689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6" imgH="396" progId="TCLayout.ActiveDocument.1">
                  <p:embed/>
                </p:oleObj>
              </mc:Choice>
              <mc:Fallback>
                <p:oleObj name="think-cell Slide" r:id="rId5" imgW="396" imgH="396" progId="TCLayout.ActiveDocument.1">
                  <p:embed/>
                  <p:pic>
                    <p:nvPicPr>
                      <p:cNvPr id="6" name="Object 5" hidden="1"/>
                      <p:cNvPicPr/>
                      <p:nvPr/>
                    </p:nvPicPr>
                    <p:blipFill>
                      <a:blip r:embed="rId6"/>
                      <a:stretch>
                        <a:fillRect/>
                      </a:stretch>
                    </p:blipFill>
                    <p:spPr>
                      <a:xfrm>
                        <a:off x="1525588"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152400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sz="2800" b="1" dirty="0">
              <a:latin typeface="Calibri Light" panose="020F0302020204030204" pitchFamily="34" charset="0"/>
              <a:ea typeface="+mj-ea"/>
              <a:cs typeface="+mj-cs"/>
              <a:sym typeface="Calibri Light" panose="020F0302020204030204" pitchFamily="34" charset="0"/>
            </a:endParaRPr>
          </a:p>
        </p:txBody>
      </p:sp>
      <p:sp>
        <p:nvSpPr>
          <p:cNvPr id="5" name="Title 4"/>
          <p:cNvSpPr>
            <a:spLocks noGrp="1"/>
          </p:cNvSpPr>
          <p:nvPr>
            <p:ph type="title" idx="4294967295"/>
          </p:nvPr>
        </p:nvSpPr>
        <p:spPr>
          <a:xfrm>
            <a:off x="287336" y="137190"/>
            <a:ext cx="11617325" cy="828675"/>
          </a:xfrm>
        </p:spPr>
        <p:txBody>
          <a:bodyPr>
            <a:noAutofit/>
          </a:bodyPr>
          <a:lstStyle/>
          <a:p>
            <a:pPr>
              <a:defRPr/>
            </a:pPr>
            <a:r>
              <a:rPr lang="en-US" sz="2400" b="1" dirty="0">
                <a:solidFill>
                  <a:schemeClr val="accent2"/>
                </a:solidFill>
                <a:latin typeface="+mn-lt"/>
              </a:rPr>
              <a:t>In the pivotal RCT, the rem</a:t>
            </a:r>
            <a:r>
              <a:rPr lang="en-US" sz="2400" dirty="0">
                <a:solidFill>
                  <a:schemeClr val="accent2"/>
                </a:solidFill>
                <a:latin typeface="+mn-lt"/>
              </a:rPr>
              <a:t>edē</a:t>
            </a:r>
            <a:r>
              <a:rPr lang="en-US" sz="2400" b="1" dirty="0">
                <a:solidFill>
                  <a:schemeClr val="accent2"/>
                </a:solidFill>
                <a:latin typeface="+mn-lt"/>
              </a:rPr>
              <a:t> System demonstrated clinically meaningful improvements in sleep, sleep apnea and quality of life</a:t>
            </a:r>
          </a:p>
        </p:txBody>
      </p:sp>
      <p:sp>
        <p:nvSpPr>
          <p:cNvPr id="3" name="Rectangle 2"/>
          <p:cNvSpPr/>
          <p:nvPr/>
        </p:nvSpPr>
        <p:spPr>
          <a:xfrm>
            <a:off x="7849606" y="5836845"/>
            <a:ext cx="4450702" cy="461665"/>
          </a:xfrm>
          <a:prstGeom prst="rect">
            <a:avLst/>
          </a:prstGeom>
        </p:spPr>
        <p:txBody>
          <a:bodyPr wrap="square">
            <a:spAutoFit/>
          </a:bodyPr>
          <a:lstStyle/>
          <a:p>
            <a:r>
              <a:rPr lang="en-US" sz="800" dirty="0"/>
              <a:t>Δ Fisher’s Exact Test. </a:t>
            </a:r>
          </a:p>
          <a:p>
            <a:r>
              <a:rPr lang="en-US" sz="800" dirty="0"/>
              <a:t>† Mann-Whitney test for difference in change from baseline between groups. </a:t>
            </a:r>
          </a:p>
          <a:p>
            <a:r>
              <a:rPr lang="en-US" sz="800" dirty="0"/>
              <a:t>‡ t-test for difference in change from baseline between groups.</a:t>
            </a:r>
          </a:p>
        </p:txBody>
      </p:sp>
      <p:grpSp>
        <p:nvGrpSpPr>
          <p:cNvPr id="7" name="Group 6"/>
          <p:cNvGrpSpPr/>
          <p:nvPr/>
        </p:nvGrpSpPr>
        <p:grpSpPr>
          <a:xfrm>
            <a:off x="394384" y="1005125"/>
            <a:ext cx="11530899" cy="4678180"/>
            <a:chOff x="984595" y="1265898"/>
            <a:chExt cx="10657302" cy="4270632"/>
          </a:xfrm>
        </p:grpSpPr>
        <p:sp>
          <p:nvSpPr>
            <p:cNvPr id="83" name="Rectangle 82"/>
            <p:cNvSpPr/>
            <p:nvPr/>
          </p:nvSpPr>
          <p:spPr>
            <a:xfrm>
              <a:off x="984595" y="1306422"/>
              <a:ext cx="10657302" cy="4230108"/>
            </a:xfrm>
            <a:prstGeom prst="rect">
              <a:avLst/>
            </a:prstGeom>
            <a:solidFill>
              <a:schemeClr val="bg1"/>
            </a:solidFill>
            <a:ln w="19050">
              <a:solidFill>
                <a:schemeClr val="accent6">
                  <a:lumMod val="50000"/>
                </a:schemeClr>
              </a:solid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dirty="0"/>
            </a:p>
          </p:txBody>
        </p:sp>
        <p:sp>
          <p:nvSpPr>
            <p:cNvPr id="15" name="Rectangle 14"/>
            <p:cNvSpPr/>
            <p:nvPr/>
          </p:nvSpPr>
          <p:spPr>
            <a:xfrm>
              <a:off x="4512852" y="1274925"/>
              <a:ext cx="2809397" cy="276458"/>
            </a:xfrm>
            <a:prstGeom prst="rect">
              <a:avLst/>
            </a:prstGeom>
          </p:spPr>
          <p:txBody>
            <a:bodyPr wrap="square">
              <a:spAutoFit/>
            </a:bodyPr>
            <a:lstStyle/>
            <a:p>
              <a:pPr>
                <a:lnSpc>
                  <a:spcPct val="105000"/>
                </a:lnSpc>
                <a:spcBef>
                  <a:spcPts val="1200"/>
                </a:spcBef>
                <a:buClr>
                  <a:srgbClr val="003F4C"/>
                </a:buClr>
              </a:pPr>
              <a:r>
                <a:rPr lang="en-US" sz="1400" b="1" dirty="0"/>
                <a:t>Change from baseline</a:t>
              </a:r>
              <a:endParaRPr lang="en-US" sz="1400" dirty="0">
                <a:solidFill>
                  <a:schemeClr val="bg1">
                    <a:lumMod val="50000"/>
                  </a:schemeClr>
                </a:solidFill>
              </a:endParaRPr>
            </a:p>
          </p:txBody>
        </p:sp>
        <p:cxnSp>
          <p:nvCxnSpPr>
            <p:cNvPr id="16" name="Straight Connector 15"/>
            <p:cNvCxnSpPr/>
            <p:nvPr/>
          </p:nvCxnSpPr>
          <p:spPr>
            <a:xfrm>
              <a:off x="4614122" y="1518604"/>
              <a:ext cx="2681228" cy="0"/>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sp>
          <p:nvSpPr>
            <p:cNvPr id="38" name="Rectangle 37"/>
            <p:cNvSpPr/>
            <p:nvPr/>
          </p:nvSpPr>
          <p:spPr>
            <a:xfrm>
              <a:off x="7461069" y="1265898"/>
              <a:ext cx="2809397" cy="276458"/>
            </a:xfrm>
            <a:prstGeom prst="rect">
              <a:avLst/>
            </a:prstGeom>
          </p:spPr>
          <p:txBody>
            <a:bodyPr wrap="square">
              <a:spAutoFit/>
            </a:bodyPr>
            <a:lstStyle/>
            <a:p>
              <a:pPr>
                <a:lnSpc>
                  <a:spcPct val="105000"/>
                </a:lnSpc>
                <a:spcBef>
                  <a:spcPts val="1200"/>
                </a:spcBef>
                <a:buClr>
                  <a:srgbClr val="003F4C"/>
                </a:buClr>
              </a:pPr>
              <a:r>
                <a:rPr lang="en-US" sz="1400" b="1" dirty="0"/>
                <a:t>Between group difference</a:t>
              </a:r>
              <a:endParaRPr lang="en-US" sz="1400" dirty="0">
                <a:solidFill>
                  <a:schemeClr val="bg1">
                    <a:lumMod val="50000"/>
                  </a:schemeClr>
                </a:solidFill>
              </a:endParaRPr>
            </a:p>
          </p:txBody>
        </p:sp>
        <p:cxnSp>
          <p:nvCxnSpPr>
            <p:cNvPr id="39" name="Straight Connector 38"/>
            <p:cNvCxnSpPr/>
            <p:nvPr/>
          </p:nvCxnSpPr>
          <p:spPr>
            <a:xfrm>
              <a:off x="7478596" y="1518603"/>
              <a:ext cx="2094336" cy="0"/>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sp>
          <p:nvSpPr>
            <p:cNvPr id="12" name="Rectangle 11"/>
            <p:cNvSpPr/>
            <p:nvPr/>
          </p:nvSpPr>
          <p:spPr>
            <a:xfrm>
              <a:off x="2322906" y="1518978"/>
              <a:ext cx="1918855" cy="276458"/>
            </a:xfrm>
            <a:prstGeom prst="rect">
              <a:avLst/>
            </a:prstGeom>
          </p:spPr>
          <p:txBody>
            <a:bodyPr wrap="square">
              <a:spAutoFit/>
            </a:bodyPr>
            <a:lstStyle/>
            <a:p>
              <a:pPr>
                <a:lnSpc>
                  <a:spcPct val="105000"/>
                </a:lnSpc>
                <a:spcBef>
                  <a:spcPts val="1200"/>
                </a:spcBef>
                <a:buClr>
                  <a:srgbClr val="003F4C"/>
                </a:buClr>
              </a:pPr>
              <a:r>
                <a:rPr lang="en-US" sz="1400" b="1" dirty="0"/>
                <a:t>Endpoint</a:t>
              </a:r>
              <a:endParaRPr lang="en-US" sz="1400" dirty="0">
                <a:solidFill>
                  <a:schemeClr val="bg1">
                    <a:lumMod val="50000"/>
                  </a:schemeClr>
                </a:solidFill>
              </a:endParaRPr>
            </a:p>
          </p:txBody>
        </p:sp>
        <p:cxnSp>
          <p:nvCxnSpPr>
            <p:cNvPr id="13" name="Straight Connector 12"/>
            <p:cNvCxnSpPr/>
            <p:nvPr/>
          </p:nvCxnSpPr>
          <p:spPr>
            <a:xfrm>
              <a:off x="2351386" y="1811263"/>
              <a:ext cx="1890375" cy="0"/>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sp>
          <p:nvSpPr>
            <p:cNvPr id="20" name="Rectangle 19"/>
            <p:cNvSpPr/>
            <p:nvPr/>
          </p:nvSpPr>
          <p:spPr>
            <a:xfrm>
              <a:off x="2322905" y="1854967"/>
              <a:ext cx="2165928" cy="276458"/>
            </a:xfrm>
            <a:prstGeom prst="rect">
              <a:avLst/>
            </a:prstGeom>
          </p:spPr>
          <p:txBody>
            <a:bodyPr wrap="square">
              <a:spAutoFit/>
            </a:bodyPr>
            <a:lstStyle/>
            <a:p>
              <a:pPr>
                <a:lnSpc>
                  <a:spcPct val="105000"/>
                </a:lnSpc>
                <a:spcBef>
                  <a:spcPts val="1200"/>
                </a:spcBef>
                <a:buClr>
                  <a:srgbClr val="003F4C"/>
                </a:buClr>
              </a:pPr>
              <a:r>
                <a:rPr lang="en-US" sz="1400" b="1" dirty="0"/>
                <a:t>&gt;50% reduction in AHI</a:t>
              </a:r>
              <a:r>
                <a:rPr lang="en-US" sz="1400" b="1" baseline="30000" dirty="0"/>
                <a:t>1</a:t>
              </a:r>
              <a:endParaRPr lang="en-US" sz="1400" b="1" dirty="0">
                <a:solidFill>
                  <a:schemeClr val="bg1">
                    <a:lumMod val="50000"/>
                  </a:schemeClr>
                </a:solidFill>
              </a:endParaRPr>
            </a:p>
          </p:txBody>
        </p:sp>
        <p:sp>
          <p:nvSpPr>
            <p:cNvPr id="21" name="Rectangle 20"/>
            <p:cNvSpPr/>
            <p:nvPr/>
          </p:nvSpPr>
          <p:spPr>
            <a:xfrm>
              <a:off x="2308494" y="2184062"/>
              <a:ext cx="1918855" cy="1030143"/>
            </a:xfrm>
            <a:prstGeom prst="rect">
              <a:avLst/>
            </a:prstGeom>
          </p:spPr>
          <p:txBody>
            <a:bodyPr wrap="square">
              <a:spAutoFit/>
            </a:bodyPr>
            <a:lstStyle/>
            <a:p>
              <a:pPr>
                <a:buClr>
                  <a:srgbClr val="003F4C"/>
                </a:buClr>
              </a:pPr>
              <a:r>
                <a:rPr lang="en-US" sz="1200" b="1" dirty="0"/>
                <a:t>CAI (events/</a:t>
              </a:r>
              <a:r>
                <a:rPr lang="en-US" sz="1200" b="1" dirty="0" err="1"/>
                <a:t>hr</a:t>
              </a:r>
              <a:r>
                <a:rPr lang="en-US" sz="1200" b="1" dirty="0"/>
                <a:t>)</a:t>
              </a:r>
            </a:p>
            <a:p>
              <a:pPr>
                <a:buClr>
                  <a:srgbClr val="003F4C"/>
                </a:buClr>
              </a:pPr>
              <a:r>
                <a:rPr lang="en-US" sz="1100" b="1" dirty="0">
                  <a:solidFill>
                    <a:schemeClr val="tx1">
                      <a:lumMod val="65000"/>
                      <a:lumOff val="35000"/>
                    </a:schemeClr>
                  </a:solidFill>
                </a:rPr>
                <a:t>Central Apnea Index</a:t>
              </a:r>
            </a:p>
            <a:p>
              <a:pPr>
                <a:lnSpc>
                  <a:spcPct val="105000"/>
                </a:lnSpc>
                <a:spcBef>
                  <a:spcPts val="1200"/>
                </a:spcBef>
                <a:buClr>
                  <a:srgbClr val="003F4C"/>
                </a:buClr>
              </a:pPr>
              <a:endParaRPr lang="en-US" sz="1200" b="1" dirty="0"/>
            </a:p>
            <a:p>
              <a:pPr>
                <a:lnSpc>
                  <a:spcPct val="105000"/>
                </a:lnSpc>
                <a:spcBef>
                  <a:spcPts val="1200"/>
                </a:spcBef>
                <a:buClr>
                  <a:srgbClr val="003F4C"/>
                </a:buClr>
              </a:pPr>
              <a:endParaRPr lang="en-US" sz="1200" b="1" dirty="0">
                <a:solidFill>
                  <a:schemeClr val="bg1">
                    <a:lumMod val="50000"/>
                  </a:schemeClr>
                </a:solidFill>
              </a:endParaRPr>
            </a:p>
          </p:txBody>
        </p:sp>
        <p:sp>
          <p:nvSpPr>
            <p:cNvPr id="22" name="Rectangle 21"/>
            <p:cNvSpPr/>
            <p:nvPr/>
          </p:nvSpPr>
          <p:spPr>
            <a:xfrm>
              <a:off x="2304672" y="2560797"/>
              <a:ext cx="1918855" cy="768145"/>
            </a:xfrm>
            <a:prstGeom prst="rect">
              <a:avLst/>
            </a:prstGeom>
          </p:spPr>
          <p:txBody>
            <a:bodyPr wrap="square">
              <a:spAutoFit/>
            </a:bodyPr>
            <a:lstStyle/>
            <a:p>
              <a:pPr>
                <a:buClr>
                  <a:srgbClr val="003F4C"/>
                </a:buClr>
              </a:pPr>
              <a:r>
                <a:rPr lang="en-US" sz="1400" b="1" dirty="0"/>
                <a:t>AHI (events/</a:t>
              </a:r>
              <a:r>
                <a:rPr lang="en-US" sz="1400" b="1" dirty="0" err="1"/>
                <a:t>hr</a:t>
              </a:r>
              <a:r>
                <a:rPr lang="en-US" sz="1400" b="1" dirty="0"/>
                <a:t>)</a:t>
              </a:r>
            </a:p>
            <a:p>
              <a:pPr>
                <a:buClr>
                  <a:srgbClr val="003F4C"/>
                </a:buClr>
              </a:pPr>
              <a:r>
                <a:rPr lang="en-US" sz="1100" b="1" dirty="0">
                  <a:solidFill>
                    <a:schemeClr val="tx1">
                      <a:lumMod val="65000"/>
                      <a:lumOff val="35000"/>
                    </a:schemeClr>
                  </a:solidFill>
                </a:rPr>
                <a:t>Apnea Hypopnea Index</a:t>
              </a:r>
            </a:p>
            <a:p>
              <a:pPr>
                <a:lnSpc>
                  <a:spcPct val="105000"/>
                </a:lnSpc>
                <a:spcBef>
                  <a:spcPts val="1200"/>
                </a:spcBef>
                <a:buClr>
                  <a:srgbClr val="003F4C"/>
                </a:buClr>
              </a:pPr>
              <a:endParaRPr lang="en-US" sz="1400" b="1" dirty="0">
                <a:solidFill>
                  <a:schemeClr val="bg1">
                    <a:lumMod val="50000"/>
                  </a:schemeClr>
                </a:solidFill>
              </a:endParaRPr>
            </a:p>
          </p:txBody>
        </p:sp>
        <p:sp>
          <p:nvSpPr>
            <p:cNvPr id="23" name="Rectangle 22"/>
            <p:cNvSpPr/>
            <p:nvPr/>
          </p:nvSpPr>
          <p:spPr>
            <a:xfrm>
              <a:off x="2313789" y="2943838"/>
              <a:ext cx="1918855" cy="449543"/>
            </a:xfrm>
            <a:prstGeom prst="rect">
              <a:avLst/>
            </a:prstGeom>
          </p:spPr>
          <p:txBody>
            <a:bodyPr wrap="square">
              <a:spAutoFit/>
            </a:bodyPr>
            <a:lstStyle/>
            <a:p>
              <a:pPr>
                <a:buClr>
                  <a:srgbClr val="003F4C"/>
                </a:buClr>
              </a:pPr>
              <a:r>
                <a:rPr lang="en-US" sz="1400" b="1" dirty="0" err="1"/>
                <a:t>ArI</a:t>
              </a:r>
              <a:r>
                <a:rPr lang="en-US" sz="1400" b="1" dirty="0"/>
                <a:t> (events/</a:t>
              </a:r>
              <a:r>
                <a:rPr lang="en-US" sz="1400" b="1" dirty="0" err="1"/>
                <a:t>hr</a:t>
              </a:r>
              <a:r>
                <a:rPr lang="en-US" sz="1400" b="1" dirty="0"/>
                <a:t>)</a:t>
              </a:r>
            </a:p>
            <a:p>
              <a:pPr>
                <a:buClr>
                  <a:srgbClr val="003F4C"/>
                </a:buClr>
              </a:pPr>
              <a:r>
                <a:rPr lang="en-US" sz="1100" b="1" dirty="0">
                  <a:solidFill>
                    <a:schemeClr val="tx1">
                      <a:lumMod val="65000"/>
                      <a:lumOff val="35000"/>
                    </a:schemeClr>
                  </a:solidFill>
                </a:rPr>
                <a:t>Arousals</a:t>
              </a:r>
              <a:endParaRPr lang="en-US" sz="1400" b="1" dirty="0">
                <a:solidFill>
                  <a:schemeClr val="tx1">
                    <a:lumMod val="65000"/>
                    <a:lumOff val="35000"/>
                  </a:schemeClr>
                </a:solidFill>
              </a:endParaRPr>
            </a:p>
          </p:txBody>
        </p:sp>
        <p:sp>
          <p:nvSpPr>
            <p:cNvPr id="24" name="Rectangle 23"/>
            <p:cNvSpPr/>
            <p:nvPr/>
          </p:nvSpPr>
          <p:spPr>
            <a:xfrm>
              <a:off x="2322906" y="3369595"/>
              <a:ext cx="1918855" cy="276458"/>
            </a:xfrm>
            <a:prstGeom prst="rect">
              <a:avLst/>
            </a:prstGeom>
          </p:spPr>
          <p:txBody>
            <a:bodyPr wrap="square">
              <a:spAutoFit/>
            </a:bodyPr>
            <a:lstStyle/>
            <a:p>
              <a:pPr>
                <a:lnSpc>
                  <a:spcPct val="105000"/>
                </a:lnSpc>
                <a:spcBef>
                  <a:spcPts val="1200"/>
                </a:spcBef>
                <a:buClr>
                  <a:srgbClr val="003F4C"/>
                </a:buClr>
              </a:pPr>
              <a:r>
                <a:rPr lang="en-US" sz="1400" b="1" dirty="0"/>
                <a:t>% of sleep in REM</a:t>
              </a:r>
              <a:endParaRPr lang="en-US" sz="1400" b="1" dirty="0">
                <a:solidFill>
                  <a:schemeClr val="bg1">
                    <a:lumMod val="50000"/>
                  </a:schemeClr>
                </a:solidFill>
              </a:endParaRPr>
            </a:p>
          </p:txBody>
        </p:sp>
        <p:sp>
          <p:nvSpPr>
            <p:cNvPr id="27" name="Rectangle 26"/>
            <p:cNvSpPr/>
            <p:nvPr/>
          </p:nvSpPr>
          <p:spPr>
            <a:xfrm>
              <a:off x="2322906" y="4664839"/>
              <a:ext cx="1918855" cy="455572"/>
            </a:xfrm>
            <a:prstGeom prst="rect">
              <a:avLst/>
            </a:prstGeom>
          </p:spPr>
          <p:txBody>
            <a:bodyPr wrap="square">
              <a:spAutoFit/>
            </a:bodyPr>
            <a:lstStyle/>
            <a:p>
              <a:pPr>
                <a:lnSpc>
                  <a:spcPct val="105000"/>
                </a:lnSpc>
                <a:buClr>
                  <a:srgbClr val="003F4C"/>
                </a:buClr>
              </a:pPr>
              <a:r>
                <a:rPr lang="en-US" sz="1400" b="1" dirty="0"/>
                <a:t>QOL – ESS</a:t>
              </a:r>
              <a:r>
                <a:rPr lang="en-US" sz="1400" b="1" baseline="30000" dirty="0"/>
                <a:t>3</a:t>
              </a:r>
            </a:p>
            <a:p>
              <a:pPr>
                <a:lnSpc>
                  <a:spcPct val="105000"/>
                </a:lnSpc>
                <a:buClr>
                  <a:srgbClr val="003F4C"/>
                </a:buClr>
              </a:pPr>
              <a:r>
                <a:rPr lang="en-US" sz="1100" b="1" dirty="0">
                  <a:solidFill>
                    <a:schemeClr val="bg2">
                      <a:lumMod val="25000"/>
                    </a:schemeClr>
                  </a:solidFill>
                </a:rPr>
                <a:t>Epworth Sleepiness Score</a:t>
              </a:r>
              <a:endParaRPr lang="en-US" sz="1100" b="1" baseline="30000" dirty="0">
                <a:solidFill>
                  <a:schemeClr val="bg2">
                    <a:lumMod val="25000"/>
                  </a:schemeClr>
                </a:solidFill>
              </a:endParaRPr>
            </a:p>
          </p:txBody>
        </p:sp>
        <p:sp>
          <p:nvSpPr>
            <p:cNvPr id="30" name="Rectangle 29"/>
            <p:cNvSpPr/>
            <p:nvPr/>
          </p:nvSpPr>
          <p:spPr>
            <a:xfrm>
              <a:off x="4518919" y="1519957"/>
              <a:ext cx="1482319" cy="276458"/>
            </a:xfrm>
            <a:prstGeom prst="rect">
              <a:avLst/>
            </a:prstGeom>
          </p:spPr>
          <p:txBody>
            <a:bodyPr wrap="square">
              <a:spAutoFit/>
            </a:bodyPr>
            <a:lstStyle/>
            <a:p>
              <a:pPr>
                <a:lnSpc>
                  <a:spcPct val="105000"/>
                </a:lnSpc>
                <a:buClr>
                  <a:srgbClr val="003F4C"/>
                </a:buClr>
              </a:pPr>
              <a:r>
                <a:rPr lang="en-US" sz="1400" b="1" dirty="0"/>
                <a:t>Treatment</a:t>
              </a:r>
              <a:endParaRPr lang="en-US" sz="1400" dirty="0">
                <a:solidFill>
                  <a:schemeClr val="bg1">
                    <a:lumMod val="50000"/>
                  </a:schemeClr>
                </a:solidFill>
              </a:endParaRPr>
            </a:p>
          </p:txBody>
        </p:sp>
        <p:cxnSp>
          <p:nvCxnSpPr>
            <p:cNvPr id="31" name="Straight Connector 30"/>
            <p:cNvCxnSpPr/>
            <p:nvPr/>
          </p:nvCxnSpPr>
          <p:spPr>
            <a:xfrm>
              <a:off x="4560617" y="1811262"/>
              <a:ext cx="1294113" cy="0"/>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sp>
          <p:nvSpPr>
            <p:cNvPr id="35" name="Rectangle 34"/>
            <p:cNvSpPr/>
            <p:nvPr/>
          </p:nvSpPr>
          <p:spPr>
            <a:xfrm>
              <a:off x="5894957" y="1520029"/>
              <a:ext cx="1669476" cy="276458"/>
            </a:xfrm>
            <a:prstGeom prst="rect">
              <a:avLst/>
            </a:prstGeom>
          </p:spPr>
          <p:txBody>
            <a:bodyPr wrap="square">
              <a:spAutoFit/>
            </a:bodyPr>
            <a:lstStyle/>
            <a:p>
              <a:pPr>
                <a:lnSpc>
                  <a:spcPct val="105000"/>
                </a:lnSpc>
                <a:buClr>
                  <a:srgbClr val="003F4C"/>
                </a:buClr>
              </a:pPr>
              <a:r>
                <a:rPr lang="en-US" sz="1400" b="1" dirty="0"/>
                <a:t>Control</a:t>
              </a:r>
              <a:endParaRPr lang="en-US" sz="1400" dirty="0">
                <a:solidFill>
                  <a:schemeClr val="bg1">
                    <a:lumMod val="50000"/>
                  </a:schemeClr>
                </a:solidFill>
              </a:endParaRPr>
            </a:p>
          </p:txBody>
        </p:sp>
        <p:cxnSp>
          <p:nvCxnSpPr>
            <p:cNvPr id="36" name="Straight Connector 35"/>
            <p:cNvCxnSpPr/>
            <p:nvPr/>
          </p:nvCxnSpPr>
          <p:spPr>
            <a:xfrm>
              <a:off x="5989061" y="1811262"/>
              <a:ext cx="1294113" cy="0"/>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sp>
          <p:nvSpPr>
            <p:cNvPr id="40" name="Rectangle 39"/>
            <p:cNvSpPr/>
            <p:nvPr/>
          </p:nvSpPr>
          <p:spPr>
            <a:xfrm>
              <a:off x="7484598" y="1536346"/>
              <a:ext cx="1335810" cy="276458"/>
            </a:xfrm>
            <a:prstGeom prst="rect">
              <a:avLst/>
            </a:prstGeom>
          </p:spPr>
          <p:txBody>
            <a:bodyPr wrap="square">
              <a:spAutoFit/>
            </a:bodyPr>
            <a:lstStyle/>
            <a:p>
              <a:pPr>
                <a:lnSpc>
                  <a:spcPct val="105000"/>
                </a:lnSpc>
                <a:buClr>
                  <a:srgbClr val="003F4C"/>
                </a:buClr>
              </a:pPr>
              <a:r>
                <a:rPr lang="en-US" sz="1400" b="1" dirty="0"/>
                <a:t>Difference</a:t>
              </a:r>
              <a:endParaRPr lang="en-US" sz="1400" dirty="0">
                <a:solidFill>
                  <a:schemeClr val="bg1">
                    <a:lumMod val="50000"/>
                  </a:schemeClr>
                </a:solidFill>
              </a:endParaRPr>
            </a:p>
          </p:txBody>
        </p:sp>
        <p:cxnSp>
          <p:nvCxnSpPr>
            <p:cNvPr id="41" name="Straight Connector 40"/>
            <p:cNvCxnSpPr/>
            <p:nvPr/>
          </p:nvCxnSpPr>
          <p:spPr>
            <a:xfrm>
              <a:off x="7526296" y="1811262"/>
              <a:ext cx="1294113" cy="0"/>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sp>
          <p:nvSpPr>
            <p:cNvPr id="42" name="Rectangle 41"/>
            <p:cNvSpPr/>
            <p:nvPr/>
          </p:nvSpPr>
          <p:spPr>
            <a:xfrm>
              <a:off x="8872812" y="1529198"/>
              <a:ext cx="1335810" cy="276458"/>
            </a:xfrm>
            <a:prstGeom prst="rect">
              <a:avLst/>
            </a:prstGeom>
          </p:spPr>
          <p:txBody>
            <a:bodyPr wrap="square">
              <a:spAutoFit/>
            </a:bodyPr>
            <a:lstStyle/>
            <a:p>
              <a:pPr>
                <a:lnSpc>
                  <a:spcPct val="105000"/>
                </a:lnSpc>
                <a:buClr>
                  <a:srgbClr val="003F4C"/>
                </a:buClr>
              </a:pPr>
              <a:r>
                <a:rPr lang="en-US" sz="1400" b="1" dirty="0"/>
                <a:t>p-value</a:t>
              </a:r>
              <a:endParaRPr lang="en-US" sz="1400" dirty="0">
                <a:solidFill>
                  <a:schemeClr val="bg1">
                    <a:lumMod val="50000"/>
                  </a:schemeClr>
                </a:solidFill>
              </a:endParaRPr>
            </a:p>
          </p:txBody>
        </p:sp>
        <p:cxnSp>
          <p:nvCxnSpPr>
            <p:cNvPr id="43" name="Straight Connector 42"/>
            <p:cNvCxnSpPr/>
            <p:nvPr/>
          </p:nvCxnSpPr>
          <p:spPr>
            <a:xfrm>
              <a:off x="8966917" y="1811263"/>
              <a:ext cx="707221" cy="0"/>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sp>
          <p:nvSpPr>
            <p:cNvPr id="45" name="Rectangle 44"/>
            <p:cNvSpPr/>
            <p:nvPr/>
          </p:nvSpPr>
          <p:spPr>
            <a:xfrm>
              <a:off x="4586174" y="2233623"/>
              <a:ext cx="1188720" cy="274701"/>
            </a:xfrm>
            <a:prstGeom prst="rect">
              <a:avLst/>
            </a:prstGeom>
          </p:spPr>
          <p:txBody>
            <a:bodyPr wrap="square">
              <a:spAutoFit/>
            </a:bodyPr>
            <a:lstStyle/>
            <a:p>
              <a:pPr>
                <a:lnSpc>
                  <a:spcPct val="105000"/>
                </a:lnSpc>
                <a:spcBef>
                  <a:spcPts val="1200"/>
                </a:spcBef>
                <a:buClr>
                  <a:srgbClr val="003F4C"/>
                </a:buClr>
              </a:pPr>
              <a:r>
                <a:rPr lang="en-US" sz="1400" dirty="0"/>
                <a:t>-25.7 ± 18.0</a:t>
              </a:r>
              <a:endParaRPr lang="en-US" sz="1400" dirty="0">
                <a:solidFill>
                  <a:schemeClr val="bg1">
                    <a:lumMod val="50000"/>
                  </a:schemeClr>
                </a:solidFill>
              </a:endParaRPr>
            </a:p>
          </p:txBody>
        </p:sp>
        <p:sp>
          <p:nvSpPr>
            <p:cNvPr id="46" name="Rectangle 45"/>
            <p:cNvSpPr/>
            <p:nvPr/>
          </p:nvSpPr>
          <p:spPr>
            <a:xfrm>
              <a:off x="4586174" y="2612281"/>
              <a:ext cx="1188720" cy="274701"/>
            </a:xfrm>
            <a:prstGeom prst="rect">
              <a:avLst/>
            </a:prstGeom>
          </p:spPr>
          <p:txBody>
            <a:bodyPr wrap="square">
              <a:spAutoFit/>
            </a:bodyPr>
            <a:lstStyle/>
            <a:p>
              <a:pPr>
                <a:lnSpc>
                  <a:spcPct val="105000"/>
                </a:lnSpc>
                <a:spcBef>
                  <a:spcPts val="1200"/>
                </a:spcBef>
                <a:buClr>
                  <a:srgbClr val="003F4C"/>
                </a:buClr>
              </a:pPr>
              <a:r>
                <a:rPr lang="en-US" sz="1400" dirty="0"/>
                <a:t>-23.9 ± 18.6</a:t>
              </a:r>
              <a:endParaRPr lang="en-US" sz="1400" dirty="0">
                <a:solidFill>
                  <a:schemeClr val="bg1">
                    <a:lumMod val="50000"/>
                  </a:schemeClr>
                </a:solidFill>
              </a:endParaRPr>
            </a:p>
          </p:txBody>
        </p:sp>
        <p:sp>
          <p:nvSpPr>
            <p:cNvPr id="47" name="Rectangle 46"/>
            <p:cNvSpPr/>
            <p:nvPr/>
          </p:nvSpPr>
          <p:spPr>
            <a:xfrm>
              <a:off x="4586174" y="2990938"/>
              <a:ext cx="1188720" cy="274701"/>
            </a:xfrm>
            <a:prstGeom prst="rect">
              <a:avLst/>
            </a:prstGeom>
          </p:spPr>
          <p:txBody>
            <a:bodyPr wrap="square">
              <a:spAutoFit/>
            </a:bodyPr>
            <a:lstStyle/>
            <a:p>
              <a:pPr>
                <a:lnSpc>
                  <a:spcPct val="105000"/>
                </a:lnSpc>
                <a:spcBef>
                  <a:spcPts val="1200"/>
                </a:spcBef>
                <a:buClr>
                  <a:srgbClr val="003F4C"/>
                </a:buClr>
              </a:pPr>
              <a:r>
                <a:rPr lang="en-US" sz="1400" dirty="0"/>
                <a:t>-20.2 ± 18.9</a:t>
              </a:r>
              <a:endParaRPr lang="en-US" sz="1400" dirty="0">
                <a:solidFill>
                  <a:schemeClr val="bg1">
                    <a:lumMod val="50000"/>
                  </a:schemeClr>
                </a:solidFill>
              </a:endParaRPr>
            </a:p>
          </p:txBody>
        </p:sp>
        <p:sp>
          <p:nvSpPr>
            <p:cNvPr id="48" name="Rectangle 47"/>
            <p:cNvSpPr/>
            <p:nvPr/>
          </p:nvSpPr>
          <p:spPr>
            <a:xfrm>
              <a:off x="4586174" y="3369595"/>
              <a:ext cx="1188720" cy="274701"/>
            </a:xfrm>
            <a:prstGeom prst="rect">
              <a:avLst/>
            </a:prstGeom>
          </p:spPr>
          <p:txBody>
            <a:bodyPr wrap="square">
              <a:spAutoFit/>
            </a:bodyPr>
            <a:lstStyle/>
            <a:p>
              <a:pPr>
                <a:lnSpc>
                  <a:spcPct val="105000"/>
                </a:lnSpc>
                <a:spcBef>
                  <a:spcPts val="1200"/>
                </a:spcBef>
                <a:buClr>
                  <a:srgbClr val="003F4C"/>
                </a:buClr>
              </a:pPr>
              <a:r>
                <a:rPr lang="en-US" sz="1400" dirty="0"/>
                <a:t>1.8 ± 8.2</a:t>
              </a:r>
              <a:endParaRPr lang="en-US" sz="1400" dirty="0">
                <a:solidFill>
                  <a:schemeClr val="bg1">
                    <a:lumMod val="50000"/>
                  </a:schemeClr>
                </a:solidFill>
              </a:endParaRPr>
            </a:p>
          </p:txBody>
        </p:sp>
        <p:sp>
          <p:nvSpPr>
            <p:cNvPr id="51" name="Rectangle 50"/>
            <p:cNvSpPr/>
            <p:nvPr/>
          </p:nvSpPr>
          <p:spPr>
            <a:xfrm>
              <a:off x="4586174" y="4664840"/>
              <a:ext cx="1188720" cy="274701"/>
            </a:xfrm>
            <a:prstGeom prst="rect">
              <a:avLst/>
            </a:prstGeom>
          </p:spPr>
          <p:txBody>
            <a:bodyPr wrap="square">
              <a:spAutoFit/>
            </a:bodyPr>
            <a:lstStyle/>
            <a:p>
              <a:pPr>
                <a:lnSpc>
                  <a:spcPct val="105000"/>
                </a:lnSpc>
                <a:spcBef>
                  <a:spcPts val="1200"/>
                </a:spcBef>
                <a:buClr>
                  <a:srgbClr val="003F4C"/>
                </a:buClr>
              </a:pPr>
              <a:r>
                <a:rPr lang="en-US" sz="1400" dirty="0"/>
                <a:t>-3.6 ± 5.6</a:t>
              </a:r>
              <a:endParaRPr lang="en-US" sz="1400" dirty="0">
                <a:solidFill>
                  <a:schemeClr val="bg1">
                    <a:lumMod val="50000"/>
                  </a:schemeClr>
                </a:solidFill>
              </a:endParaRPr>
            </a:p>
          </p:txBody>
        </p:sp>
        <p:sp>
          <p:nvSpPr>
            <p:cNvPr id="52" name="Rectangle 51"/>
            <p:cNvSpPr/>
            <p:nvPr/>
          </p:nvSpPr>
          <p:spPr>
            <a:xfrm>
              <a:off x="4586174" y="1854967"/>
              <a:ext cx="1188720" cy="276458"/>
            </a:xfrm>
            <a:prstGeom prst="rect">
              <a:avLst/>
            </a:prstGeom>
          </p:spPr>
          <p:txBody>
            <a:bodyPr wrap="square">
              <a:spAutoFit/>
            </a:bodyPr>
            <a:lstStyle/>
            <a:p>
              <a:pPr>
                <a:lnSpc>
                  <a:spcPct val="105000"/>
                </a:lnSpc>
                <a:spcBef>
                  <a:spcPts val="1200"/>
                </a:spcBef>
                <a:buClr>
                  <a:srgbClr val="003F4C"/>
                </a:buClr>
              </a:pPr>
              <a:r>
                <a:rPr lang="en-US" sz="1400" dirty="0"/>
                <a:t>51%</a:t>
              </a:r>
              <a:endParaRPr lang="en-US" sz="1400" dirty="0">
                <a:solidFill>
                  <a:schemeClr val="bg1">
                    <a:lumMod val="50000"/>
                  </a:schemeClr>
                </a:solidFill>
              </a:endParaRPr>
            </a:p>
          </p:txBody>
        </p:sp>
        <p:sp>
          <p:nvSpPr>
            <p:cNvPr id="54" name="Rectangle 53"/>
            <p:cNvSpPr/>
            <p:nvPr/>
          </p:nvSpPr>
          <p:spPr>
            <a:xfrm>
              <a:off x="5987692" y="2233623"/>
              <a:ext cx="1188720" cy="274701"/>
            </a:xfrm>
            <a:prstGeom prst="rect">
              <a:avLst/>
            </a:prstGeom>
          </p:spPr>
          <p:txBody>
            <a:bodyPr wrap="square">
              <a:spAutoFit/>
            </a:bodyPr>
            <a:lstStyle/>
            <a:p>
              <a:pPr>
                <a:lnSpc>
                  <a:spcPct val="105000"/>
                </a:lnSpc>
                <a:spcBef>
                  <a:spcPts val="1200"/>
                </a:spcBef>
                <a:buClr>
                  <a:srgbClr val="003F4C"/>
                </a:buClr>
              </a:pPr>
              <a:r>
                <a:rPr lang="en-US" sz="1400" dirty="0"/>
                <a:t>-2.9 ± 17.7</a:t>
              </a:r>
              <a:endParaRPr lang="en-US" sz="1400" dirty="0">
                <a:solidFill>
                  <a:schemeClr val="bg1">
                    <a:lumMod val="50000"/>
                  </a:schemeClr>
                </a:solidFill>
              </a:endParaRPr>
            </a:p>
          </p:txBody>
        </p:sp>
        <p:sp>
          <p:nvSpPr>
            <p:cNvPr id="55" name="Rectangle 54"/>
            <p:cNvSpPr/>
            <p:nvPr/>
          </p:nvSpPr>
          <p:spPr>
            <a:xfrm>
              <a:off x="5987692" y="2612281"/>
              <a:ext cx="1188720" cy="274701"/>
            </a:xfrm>
            <a:prstGeom prst="rect">
              <a:avLst/>
            </a:prstGeom>
          </p:spPr>
          <p:txBody>
            <a:bodyPr wrap="square">
              <a:spAutoFit/>
            </a:bodyPr>
            <a:lstStyle/>
            <a:p>
              <a:pPr>
                <a:lnSpc>
                  <a:spcPct val="105000"/>
                </a:lnSpc>
                <a:spcBef>
                  <a:spcPts val="1200"/>
                </a:spcBef>
                <a:buClr>
                  <a:srgbClr val="003F4C"/>
                </a:buClr>
              </a:pPr>
              <a:r>
                <a:rPr lang="en-US" sz="1400" dirty="0"/>
                <a:t>1.1 ± 17.6</a:t>
              </a:r>
              <a:endParaRPr lang="en-US" sz="1400" dirty="0">
                <a:solidFill>
                  <a:schemeClr val="bg1">
                    <a:lumMod val="50000"/>
                  </a:schemeClr>
                </a:solidFill>
              </a:endParaRPr>
            </a:p>
          </p:txBody>
        </p:sp>
        <p:sp>
          <p:nvSpPr>
            <p:cNvPr id="56" name="Rectangle 55"/>
            <p:cNvSpPr/>
            <p:nvPr/>
          </p:nvSpPr>
          <p:spPr>
            <a:xfrm>
              <a:off x="5987692" y="2990938"/>
              <a:ext cx="1188720" cy="274701"/>
            </a:xfrm>
            <a:prstGeom prst="rect">
              <a:avLst/>
            </a:prstGeom>
          </p:spPr>
          <p:txBody>
            <a:bodyPr wrap="square">
              <a:spAutoFit/>
            </a:bodyPr>
            <a:lstStyle/>
            <a:p>
              <a:pPr>
                <a:lnSpc>
                  <a:spcPct val="105000"/>
                </a:lnSpc>
                <a:spcBef>
                  <a:spcPts val="1200"/>
                </a:spcBef>
                <a:buClr>
                  <a:srgbClr val="003F4C"/>
                </a:buClr>
              </a:pPr>
              <a:r>
                <a:rPr lang="en-US" sz="1400" dirty="0"/>
                <a:t>-5.0 ± 18.1</a:t>
              </a:r>
              <a:endParaRPr lang="en-US" sz="1400" dirty="0">
                <a:solidFill>
                  <a:schemeClr val="bg1">
                    <a:lumMod val="50000"/>
                  </a:schemeClr>
                </a:solidFill>
              </a:endParaRPr>
            </a:p>
          </p:txBody>
        </p:sp>
        <p:sp>
          <p:nvSpPr>
            <p:cNvPr id="57" name="Rectangle 56"/>
            <p:cNvSpPr/>
            <p:nvPr/>
          </p:nvSpPr>
          <p:spPr>
            <a:xfrm>
              <a:off x="5987692" y="3369595"/>
              <a:ext cx="1188720" cy="274701"/>
            </a:xfrm>
            <a:prstGeom prst="rect">
              <a:avLst/>
            </a:prstGeom>
          </p:spPr>
          <p:txBody>
            <a:bodyPr wrap="square">
              <a:spAutoFit/>
            </a:bodyPr>
            <a:lstStyle/>
            <a:p>
              <a:pPr>
                <a:lnSpc>
                  <a:spcPct val="105000"/>
                </a:lnSpc>
                <a:spcBef>
                  <a:spcPts val="1200"/>
                </a:spcBef>
                <a:buClr>
                  <a:srgbClr val="003F4C"/>
                </a:buClr>
              </a:pPr>
              <a:r>
                <a:rPr lang="en-US" sz="1400" dirty="0"/>
                <a:t>-0.6 ± 7.8</a:t>
              </a:r>
              <a:endParaRPr lang="en-US" sz="1400" dirty="0">
                <a:solidFill>
                  <a:schemeClr val="bg1">
                    <a:lumMod val="50000"/>
                  </a:schemeClr>
                </a:solidFill>
              </a:endParaRPr>
            </a:p>
          </p:txBody>
        </p:sp>
        <p:sp>
          <p:nvSpPr>
            <p:cNvPr id="60" name="Rectangle 59"/>
            <p:cNvSpPr/>
            <p:nvPr/>
          </p:nvSpPr>
          <p:spPr>
            <a:xfrm>
              <a:off x="5987692" y="4664840"/>
              <a:ext cx="1188720" cy="274701"/>
            </a:xfrm>
            <a:prstGeom prst="rect">
              <a:avLst/>
            </a:prstGeom>
          </p:spPr>
          <p:txBody>
            <a:bodyPr wrap="square">
              <a:spAutoFit/>
            </a:bodyPr>
            <a:lstStyle/>
            <a:p>
              <a:pPr>
                <a:lnSpc>
                  <a:spcPct val="105000"/>
                </a:lnSpc>
                <a:spcBef>
                  <a:spcPts val="1200"/>
                </a:spcBef>
                <a:buClr>
                  <a:srgbClr val="003F4C"/>
                </a:buClr>
              </a:pPr>
              <a:r>
                <a:rPr lang="en-US" sz="1400" dirty="0"/>
                <a:t>+0.1± 4.5</a:t>
              </a:r>
              <a:endParaRPr lang="en-US" sz="1400" dirty="0">
                <a:solidFill>
                  <a:schemeClr val="bg1">
                    <a:lumMod val="50000"/>
                  </a:schemeClr>
                </a:solidFill>
              </a:endParaRPr>
            </a:p>
          </p:txBody>
        </p:sp>
        <p:sp>
          <p:nvSpPr>
            <p:cNvPr id="61" name="Rectangle 60"/>
            <p:cNvSpPr/>
            <p:nvPr/>
          </p:nvSpPr>
          <p:spPr>
            <a:xfrm>
              <a:off x="5987692" y="1854967"/>
              <a:ext cx="1188720" cy="276458"/>
            </a:xfrm>
            <a:prstGeom prst="rect">
              <a:avLst/>
            </a:prstGeom>
          </p:spPr>
          <p:txBody>
            <a:bodyPr wrap="square">
              <a:spAutoFit/>
            </a:bodyPr>
            <a:lstStyle/>
            <a:p>
              <a:pPr>
                <a:lnSpc>
                  <a:spcPct val="105000"/>
                </a:lnSpc>
                <a:spcBef>
                  <a:spcPts val="1200"/>
                </a:spcBef>
                <a:buClr>
                  <a:srgbClr val="003F4C"/>
                </a:buClr>
              </a:pPr>
              <a:r>
                <a:rPr lang="en-US" sz="1400" dirty="0"/>
                <a:t>11%</a:t>
              </a:r>
              <a:endParaRPr lang="en-US" sz="1400" dirty="0">
                <a:solidFill>
                  <a:schemeClr val="bg1">
                    <a:lumMod val="50000"/>
                  </a:schemeClr>
                </a:solidFill>
              </a:endParaRPr>
            </a:p>
          </p:txBody>
        </p:sp>
        <p:sp>
          <p:nvSpPr>
            <p:cNvPr id="63" name="Rectangle 62"/>
            <p:cNvSpPr/>
            <p:nvPr/>
          </p:nvSpPr>
          <p:spPr>
            <a:xfrm>
              <a:off x="7539058" y="2233623"/>
              <a:ext cx="1188720" cy="274701"/>
            </a:xfrm>
            <a:prstGeom prst="rect">
              <a:avLst/>
            </a:prstGeom>
          </p:spPr>
          <p:txBody>
            <a:bodyPr wrap="square">
              <a:spAutoFit/>
            </a:bodyPr>
            <a:lstStyle/>
            <a:p>
              <a:pPr>
                <a:lnSpc>
                  <a:spcPct val="105000"/>
                </a:lnSpc>
                <a:spcBef>
                  <a:spcPts val="1200"/>
                </a:spcBef>
                <a:buClr>
                  <a:srgbClr val="003F4C"/>
                </a:buClr>
              </a:pPr>
              <a:r>
                <a:rPr lang="en-US" sz="1400" dirty="0"/>
                <a:t>-22.8 ± 17.8</a:t>
              </a:r>
              <a:endParaRPr lang="en-US" sz="1400" dirty="0">
                <a:solidFill>
                  <a:schemeClr val="bg1">
                    <a:lumMod val="50000"/>
                  </a:schemeClr>
                </a:solidFill>
              </a:endParaRPr>
            </a:p>
          </p:txBody>
        </p:sp>
        <p:sp>
          <p:nvSpPr>
            <p:cNvPr id="64" name="Rectangle 63"/>
            <p:cNvSpPr/>
            <p:nvPr/>
          </p:nvSpPr>
          <p:spPr>
            <a:xfrm>
              <a:off x="7539058" y="2612281"/>
              <a:ext cx="1188720" cy="274701"/>
            </a:xfrm>
            <a:prstGeom prst="rect">
              <a:avLst/>
            </a:prstGeom>
          </p:spPr>
          <p:txBody>
            <a:bodyPr wrap="square">
              <a:spAutoFit/>
            </a:bodyPr>
            <a:lstStyle/>
            <a:p>
              <a:pPr>
                <a:lnSpc>
                  <a:spcPct val="105000"/>
                </a:lnSpc>
                <a:spcBef>
                  <a:spcPts val="1200"/>
                </a:spcBef>
                <a:buClr>
                  <a:srgbClr val="003F4C"/>
                </a:buClr>
              </a:pPr>
              <a:r>
                <a:rPr lang="en-US" sz="1400" dirty="0"/>
                <a:t>-25.0 ± 18.1</a:t>
              </a:r>
              <a:endParaRPr lang="en-US" sz="1400" dirty="0">
                <a:solidFill>
                  <a:schemeClr val="bg1">
                    <a:lumMod val="50000"/>
                  </a:schemeClr>
                </a:solidFill>
              </a:endParaRPr>
            </a:p>
          </p:txBody>
        </p:sp>
        <p:sp>
          <p:nvSpPr>
            <p:cNvPr id="65" name="Rectangle 64"/>
            <p:cNvSpPr/>
            <p:nvPr/>
          </p:nvSpPr>
          <p:spPr>
            <a:xfrm>
              <a:off x="7539058" y="2990938"/>
              <a:ext cx="1188720" cy="274701"/>
            </a:xfrm>
            <a:prstGeom prst="rect">
              <a:avLst/>
            </a:prstGeom>
          </p:spPr>
          <p:txBody>
            <a:bodyPr wrap="square">
              <a:spAutoFit/>
            </a:bodyPr>
            <a:lstStyle/>
            <a:p>
              <a:pPr>
                <a:lnSpc>
                  <a:spcPct val="105000"/>
                </a:lnSpc>
                <a:spcBef>
                  <a:spcPts val="1200"/>
                </a:spcBef>
                <a:buClr>
                  <a:srgbClr val="003F4C"/>
                </a:buClr>
              </a:pPr>
              <a:r>
                <a:rPr lang="en-US" sz="1400" dirty="0"/>
                <a:t>-15.2 ± 18.5</a:t>
              </a:r>
              <a:endParaRPr lang="en-US" sz="1400" dirty="0">
                <a:solidFill>
                  <a:schemeClr val="bg1">
                    <a:lumMod val="50000"/>
                  </a:schemeClr>
                </a:solidFill>
              </a:endParaRPr>
            </a:p>
          </p:txBody>
        </p:sp>
        <p:sp>
          <p:nvSpPr>
            <p:cNvPr id="66" name="Rectangle 65"/>
            <p:cNvSpPr/>
            <p:nvPr/>
          </p:nvSpPr>
          <p:spPr>
            <a:xfrm>
              <a:off x="7539058" y="3369595"/>
              <a:ext cx="1188720" cy="274701"/>
            </a:xfrm>
            <a:prstGeom prst="rect">
              <a:avLst/>
            </a:prstGeom>
          </p:spPr>
          <p:txBody>
            <a:bodyPr wrap="square">
              <a:spAutoFit/>
            </a:bodyPr>
            <a:lstStyle/>
            <a:p>
              <a:pPr>
                <a:lnSpc>
                  <a:spcPct val="105000"/>
                </a:lnSpc>
                <a:spcBef>
                  <a:spcPts val="1200"/>
                </a:spcBef>
                <a:buClr>
                  <a:srgbClr val="003F4C"/>
                </a:buClr>
              </a:pPr>
              <a:r>
                <a:rPr lang="en-US" sz="1400" dirty="0"/>
                <a:t>2.4 ± 7.9</a:t>
              </a:r>
              <a:endParaRPr lang="en-US" sz="1400" dirty="0">
                <a:solidFill>
                  <a:schemeClr val="bg1">
                    <a:lumMod val="50000"/>
                  </a:schemeClr>
                </a:solidFill>
              </a:endParaRPr>
            </a:p>
          </p:txBody>
        </p:sp>
        <p:sp>
          <p:nvSpPr>
            <p:cNvPr id="69" name="Rectangle 68"/>
            <p:cNvSpPr/>
            <p:nvPr/>
          </p:nvSpPr>
          <p:spPr>
            <a:xfrm>
              <a:off x="7539058" y="4664840"/>
              <a:ext cx="1188720" cy="274701"/>
            </a:xfrm>
            <a:prstGeom prst="rect">
              <a:avLst/>
            </a:prstGeom>
          </p:spPr>
          <p:txBody>
            <a:bodyPr wrap="square">
              <a:spAutoFit/>
            </a:bodyPr>
            <a:lstStyle/>
            <a:p>
              <a:pPr>
                <a:lnSpc>
                  <a:spcPct val="105000"/>
                </a:lnSpc>
                <a:spcBef>
                  <a:spcPts val="1200"/>
                </a:spcBef>
                <a:buClr>
                  <a:srgbClr val="003F4C"/>
                </a:buClr>
              </a:pPr>
              <a:r>
                <a:rPr lang="en-US" sz="1400" dirty="0"/>
                <a:t>-3.7 ± 5.0</a:t>
              </a:r>
              <a:endParaRPr lang="en-US" sz="1400" dirty="0">
                <a:solidFill>
                  <a:schemeClr val="bg1">
                    <a:lumMod val="50000"/>
                  </a:schemeClr>
                </a:solidFill>
              </a:endParaRPr>
            </a:p>
          </p:txBody>
        </p:sp>
        <p:sp>
          <p:nvSpPr>
            <p:cNvPr id="70" name="Rectangle 69"/>
            <p:cNvSpPr/>
            <p:nvPr/>
          </p:nvSpPr>
          <p:spPr>
            <a:xfrm>
              <a:off x="7539058" y="1854967"/>
              <a:ext cx="1188720" cy="276458"/>
            </a:xfrm>
            <a:prstGeom prst="rect">
              <a:avLst/>
            </a:prstGeom>
          </p:spPr>
          <p:txBody>
            <a:bodyPr wrap="square">
              <a:spAutoFit/>
            </a:bodyPr>
            <a:lstStyle/>
            <a:p>
              <a:pPr>
                <a:lnSpc>
                  <a:spcPct val="105000"/>
                </a:lnSpc>
                <a:spcBef>
                  <a:spcPts val="1200"/>
                </a:spcBef>
                <a:buClr>
                  <a:srgbClr val="003F4C"/>
                </a:buClr>
              </a:pPr>
              <a:r>
                <a:rPr lang="en-US" sz="1400" dirty="0"/>
                <a:t>41%</a:t>
              </a:r>
              <a:endParaRPr lang="en-US" sz="1400" dirty="0">
                <a:solidFill>
                  <a:schemeClr val="bg1">
                    <a:lumMod val="50000"/>
                  </a:schemeClr>
                </a:solidFill>
              </a:endParaRPr>
            </a:p>
          </p:txBody>
        </p:sp>
        <p:sp>
          <p:nvSpPr>
            <p:cNvPr id="25" name="Rectangle 24"/>
            <p:cNvSpPr/>
            <p:nvPr/>
          </p:nvSpPr>
          <p:spPr>
            <a:xfrm>
              <a:off x="2313789" y="4292365"/>
              <a:ext cx="2380776" cy="393349"/>
            </a:xfrm>
            <a:prstGeom prst="rect">
              <a:avLst/>
            </a:prstGeom>
          </p:spPr>
          <p:txBody>
            <a:bodyPr wrap="square">
              <a:spAutoFit/>
            </a:bodyPr>
            <a:lstStyle/>
            <a:p>
              <a:pPr>
                <a:buClr>
                  <a:srgbClr val="003F4C"/>
                </a:buClr>
              </a:pPr>
              <a:r>
                <a:rPr lang="en-US" sz="1100" b="1" dirty="0"/>
                <a:t>ODI4 (events/hour)</a:t>
              </a:r>
            </a:p>
            <a:p>
              <a:pPr>
                <a:buClr>
                  <a:srgbClr val="003F4C"/>
                </a:buClr>
              </a:pPr>
              <a:r>
                <a:rPr lang="en-US" sz="1100" b="1" dirty="0">
                  <a:solidFill>
                    <a:schemeClr val="tx1">
                      <a:lumMod val="65000"/>
                      <a:lumOff val="35000"/>
                    </a:schemeClr>
                  </a:solidFill>
                </a:rPr>
                <a:t>O2 Desaturation 4% below baseline</a:t>
              </a:r>
            </a:p>
          </p:txBody>
        </p:sp>
        <p:sp>
          <p:nvSpPr>
            <p:cNvPr id="49" name="Rectangle 48"/>
            <p:cNvSpPr/>
            <p:nvPr/>
          </p:nvSpPr>
          <p:spPr>
            <a:xfrm>
              <a:off x="4586174" y="4297886"/>
              <a:ext cx="1188720" cy="274701"/>
            </a:xfrm>
            <a:prstGeom prst="rect">
              <a:avLst/>
            </a:prstGeom>
          </p:spPr>
          <p:txBody>
            <a:bodyPr wrap="square">
              <a:spAutoFit/>
            </a:bodyPr>
            <a:lstStyle/>
            <a:p>
              <a:pPr>
                <a:lnSpc>
                  <a:spcPct val="105000"/>
                </a:lnSpc>
                <a:spcBef>
                  <a:spcPts val="1200"/>
                </a:spcBef>
                <a:buClr>
                  <a:srgbClr val="003F4C"/>
                </a:buClr>
              </a:pPr>
              <a:r>
                <a:rPr lang="en-US" sz="1400" dirty="0"/>
                <a:t>-19.1 ± 18.4</a:t>
              </a:r>
              <a:endParaRPr lang="en-US" sz="1400" dirty="0">
                <a:solidFill>
                  <a:schemeClr val="bg1">
                    <a:lumMod val="50000"/>
                  </a:schemeClr>
                </a:solidFill>
              </a:endParaRPr>
            </a:p>
          </p:txBody>
        </p:sp>
        <p:sp>
          <p:nvSpPr>
            <p:cNvPr id="58" name="Rectangle 57"/>
            <p:cNvSpPr/>
            <p:nvPr/>
          </p:nvSpPr>
          <p:spPr>
            <a:xfrm>
              <a:off x="5987692" y="4297886"/>
              <a:ext cx="1188720" cy="274701"/>
            </a:xfrm>
            <a:prstGeom prst="rect">
              <a:avLst/>
            </a:prstGeom>
          </p:spPr>
          <p:txBody>
            <a:bodyPr wrap="square">
              <a:spAutoFit/>
            </a:bodyPr>
            <a:lstStyle/>
            <a:p>
              <a:pPr>
                <a:lnSpc>
                  <a:spcPct val="105000"/>
                </a:lnSpc>
                <a:spcBef>
                  <a:spcPts val="1200"/>
                </a:spcBef>
                <a:buClr>
                  <a:srgbClr val="003F4C"/>
                </a:buClr>
              </a:pPr>
              <a:r>
                <a:rPr lang="en-US" sz="1400" dirty="0"/>
                <a:t>3.6 ± 17.3</a:t>
              </a:r>
              <a:endParaRPr lang="en-US" sz="1400" dirty="0">
                <a:solidFill>
                  <a:schemeClr val="bg1">
                    <a:lumMod val="50000"/>
                  </a:schemeClr>
                </a:solidFill>
              </a:endParaRPr>
            </a:p>
          </p:txBody>
        </p:sp>
        <p:sp>
          <p:nvSpPr>
            <p:cNvPr id="67" name="Rectangle 66"/>
            <p:cNvSpPr/>
            <p:nvPr/>
          </p:nvSpPr>
          <p:spPr>
            <a:xfrm>
              <a:off x="7539058" y="4297886"/>
              <a:ext cx="1188720" cy="274701"/>
            </a:xfrm>
            <a:prstGeom prst="rect">
              <a:avLst/>
            </a:prstGeom>
          </p:spPr>
          <p:txBody>
            <a:bodyPr wrap="square">
              <a:spAutoFit/>
            </a:bodyPr>
            <a:lstStyle/>
            <a:p>
              <a:pPr>
                <a:lnSpc>
                  <a:spcPct val="105000"/>
                </a:lnSpc>
                <a:spcBef>
                  <a:spcPts val="1200"/>
                </a:spcBef>
                <a:buClr>
                  <a:srgbClr val="003F4C"/>
                </a:buClr>
              </a:pPr>
              <a:r>
                <a:rPr lang="en-US" sz="1400" dirty="0"/>
                <a:t>-22.7 ± 17.8</a:t>
              </a:r>
              <a:endParaRPr lang="en-US" sz="1400" dirty="0">
                <a:solidFill>
                  <a:schemeClr val="bg1">
                    <a:lumMod val="50000"/>
                  </a:schemeClr>
                </a:solidFill>
              </a:endParaRPr>
            </a:p>
          </p:txBody>
        </p:sp>
        <p:sp>
          <p:nvSpPr>
            <p:cNvPr id="26" name="Rectangle 25"/>
            <p:cNvSpPr/>
            <p:nvPr/>
          </p:nvSpPr>
          <p:spPr>
            <a:xfrm>
              <a:off x="2322906" y="3649204"/>
              <a:ext cx="1918855" cy="604073"/>
            </a:xfrm>
            <a:prstGeom prst="rect">
              <a:avLst/>
            </a:prstGeom>
          </p:spPr>
          <p:txBody>
            <a:bodyPr wrap="square">
              <a:spAutoFit/>
            </a:bodyPr>
            <a:lstStyle/>
            <a:p>
              <a:pPr>
                <a:lnSpc>
                  <a:spcPct val="105000"/>
                </a:lnSpc>
                <a:buClr>
                  <a:srgbClr val="003F4C"/>
                </a:buClr>
              </a:pPr>
              <a:r>
                <a:rPr lang="en-US" sz="1400" b="1" dirty="0"/>
                <a:t>QOL – PGA</a:t>
              </a:r>
              <a:r>
                <a:rPr lang="en-US" sz="1400" b="1" baseline="30000" dirty="0"/>
                <a:t>2</a:t>
              </a:r>
            </a:p>
            <a:p>
              <a:pPr>
                <a:lnSpc>
                  <a:spcPct val="105000"/>
                </a:lnSpc>
                <a:buClr>
                  <a:srgbClr val="003F4C"/>
                </a:buClr>
              </a:pPr>
              <a:r>
                <a:rPr lang="en-US" sz="1100" b="1" dirty="0">
                  <a:solidFill>
                    <a:schemeClr val="tx1">
                      <a:lumMod val="65000"/>
                      <a:lumOff val="35000"/>
                    </a:schemeClr>
                  </a:solidFill>
                </a:rPr>
                <a:t>% patients w/ marked or moderate improvement</a:t>
              </a:r>
              <a:endParaRPr lang="en-US" sz="1100" b="1" baseline="30000" dirty="0">
                <a:solidFill>
                  <a:schemeClr val="tx1">
                    <a:lumMod val="65000"/>
                    <a:lumOff val="35000"/>
                  </a:schemeClr>
                </a:solidFill>
              </a:endParaRPr>
            </a:p>
          </p:txBody>
        </p:sp>
        <p:sp>
          <p:nvSpPr>
            <p:cNvPr id="50" name="Rectangle 49"/>
            <p:cNvSpPr/>
            <p:nvPr/>
          </p:nvSpPr>
          <p:spPr>
            <a:xfrm>
              <a:off x="4586174" y="3706954"/>
              <a:ext cx="1188720" cy="276458"/>
            </a:xfrm>
            <a:prstGeom prst="rect">
              <a:avLst/>
            </a:prstGeom>
          </p:spPr>
          <p:txBody>
            <a:bodyPr wrap="square">
              <a:spAutoFit/>
            </a:bodyPr>
            <a:lstStyle/>
            <a:p>
              <a:pPr>
                <a:lnSpc>
                  <a:spcPct val="105000"/>
                </a:lnSpc>
                <a:spcBef>
                  <a:spcPts val="1200"/>
                </a:spcBef>
                <a:buClr>
                  <a:srgbClr val="003F4C"/>
                </a:buClr>
              </a:pPr>
              <a:r>
                <a:rPr lang="en-US" sz="1400" dirty="0"/>
                <a:t>60%</a:t>
              </a:r>
              <a:endParaRPr lang="en-US" sz="1400" baseline="30000" dirty="0">
                <a:solidFill>
                  <a:schemeClr val="bg1">
                    <a:lumMod val="50000"/>
                  </a:schemeClr>
                </a:solidFill>
              </a:endParaRPr>
            </a:p>
          </p:txBody>
        </p:sp>
        <p:sp>
          <p:nvSpPr>
            <p:cNvPr id="59" name="Rectangle 58"/>
            <p:cNvSpPr/>
            <p:nvPr/>
          </p:nvSpPr>
          <p:spPr>
            <a:xfrm>
              <a:off x="5987692" y="3706954"/>
              <a:ext cx="1188720" cy="276458"/>
            </a:xfrm>
            <a:prstGeom prst="rect">
              <a:avLst/>
            </a:prstGeom>
          </p:spPr>
          <p:txBody>
            <a:bodyPr wrap="square">
              <a:spAutoFit/>
            </a:bodyPr>
            <a:lstStyle/>
            <a:p>
              <a:pPr>
                <a:lnSpc>
                  <a:spcPct val="105000"/>
                </a:lnSpc>
                <a:spcBef>
                  <a:spcPts val="1200"/>
                </a:spcBef>
                <a:buClr>
                  <a:srgbClr val="003F4C"/>
                </a:buClr>
              </a:pPr>
              <a:r>
                <a:rPr lang="en-US" sz="1400" dirty="0"/>
                <a:t>6%</a:t>
              </a:r>
              <a:endParaRPr lang="en-US" sz="1400" baseline="30000" dirty="0">
                <a:solidFill>
                  <a:schemeClr val="bg1">
                    <a:lumMod val="50000"/>
                  </a:schemeClr>
                </a:solidFill>
              </a:endParaRPr>
            </a:p>
          </p:txBody>
        </p:sp>
        <p:sp>
          <p:nvSpPr>
            <p:cNvPr id="68" name="Rectangle 67"/>
            <p:cNvSpPr/>
            <p:nvPr/>
          </p:nvSpPr>
          <p:spPr>
            <a:xfrm>
              <a:off x="7539058" y="3706954"/>
              <a:ext cx="1188720" cy="276458"/>
            </a:xfrm>
            <a:prstGeom prst="rect">
              <a:avLst/>
            </a:prstGeom>
          </p:spPr>
          <p:txBody>
            <a:bodyPr wrap="square">
              <a:spAutoFit/>
            </a:bodyPr>
            <a:lstStyle/>
            <a:p>
              <a:pPr>
                <a:lnSpc>
                  <a:spcPct val="105000"/>
                </a:lnSpc>
                <a:spcBef>
                  <a:spcPts val="1200"/>
                </a:spcBef>
                <a:buClr>
                  <a:srgbClr val="003F4C"/>
                </a:buClr>
              </a:pPr>
              <a:r>
                <a:rPr lang="en-US" sz="1400" dirty="0"/>
                <a:t>55%</a:t>
              </a:r>
              <a:endParaRPr lang="en-US" sz="1400" baseline="30000" dirty="0">
                <a:solidFill>
                  <a:schemeClr val="bg1">
                    <a:lumMod val="50000"/>
                  </a:schemeClr>
                </a:solidFill>
              </a:endParaRPr>
            </a:p>
          </p:txBody>
        </p:sp>
        <p:cxnSp>
          <p:nvCxnSpPr>
            <p:cNvPr id="107" name="Straight Connector 106"/>
            <p:cNvCxnSpPr/>
            <p:nvPr/>
          </p:nvCxnSpPr>
          <p:spPr>
            <a:xfrm>
              <a:off x="2351385" y="2572673"/>
              <a:ext cx="7141146" cy="0"/>
            </a:xfrm>
            <a:prstGeom prst="line">
              <a:avLst/>
            </a:prstGeom>
            <a:ln>
              <a:solidFill>
                <a:srgbClr val="000000"/>
              </a:solidFill>
              <a:prstDash val="dash"/>
            </a:ln>
          </p:spPr>
          <p:style>
            <a:lnRef idx="1">
              <a:schemeClr val="accent1"/>
            </a:lnRef>
            <a:fillRef idx="0">
              <a:schemeClr val="accent1"/>
            </a:fillRef>
            <a:effectRef idx="0">
              <a:schemeClr val="accent1"/>
            </a:effectRef>
            <a:fontRef idx="minor">
              <a:schemeClr val="tx1"/>
            </a:fontRef>
          </p:style>
        </p:cxnSp>
        <p:cxnSp>
          <p:nvCxnSpPr>
            <p:cNvPr id="109" name="Straight Connector 108"/>
            <p:cNvCxnSpPr/>
            <p:nvPr/>
          </p:nvCxnSpPr>
          <p:spPr>
            <a:xfrm>
              <a:off x="2351385" y="2976981"/>
              <a:ext cx="7141146" cy="0"/>
            </a:xfrm>
            <a:prstGeom prst="line">
              <a:avLst/>
            </a:prstGeom>
            <a:ln>
              <a:solidFill>
                <a:srgbClr val="000000"/>
              </a:solidFill>
              <a:prstDash val="dash"/>
            </a:ln>
          </p:spPr>
          <p:style>
            <a:lnRef idx="1">
              <a:schemeClr val="accent1"/>
            </a:lnRef>
            <a:fillRef idx="0">
              <a:schemeClr val="accent1"/>
            </a:fillRef>
            <a:effectRef idx="0">
              <a:schemeClr val="accent1"/>
            </a:effectRef>
            <a:fontRef idx="minor">
              <a:schemeClr val="tx1"/>
            </a:fontRef>
          </p:style>
        </p:cxnSp>
        <p:cxnSp>
          <p:nvCxnSpPr>
            <p:cNvPr id="110" name="Straight Connector 109"/>
            <p:cNvCxnSpPr/>
            <p:nvPr/>
          </p:nvCxnSpPr>
          <p:spPr>
            <a:xfrm>
              <a:off x="2351385" y="3369594"/>
              <a:ext cx="7141146" cy="0"/>
            </a:xfrm>
            <a:prstGeom prst="line">
              <a:avLst/>
            </a:prstGeom>
            <a:ln>
              <a:solidFill>
                <a:srgbClr val="000000"/>
              </a:solidFill>
              <a:prstDash val="dash"/>
            </a:ln>
          </p:spPr>
          <p:style>
            <a:lnRef idx="1">
              <a:schemeClr val="accent1"/>
            </a:lnRef>
            <a:fillRef idx="0">
              <a:schemeClr val="accent1"/>
            </a:fillRef>
            <a:effectRef idx="0">
              <a:schemeClr val="accent1"/>
            </a:effectRef>
            <a:fontRef idx="minor">
              <a:schemeClr val="tx1"/>
            </a:fontRef>
          </p:style>
        </p:cxnSp>
        <p:cxnSp>
          <p:nvCxnSpPr>
            <p:cNvPr id="111" name="Straight Connector 110"/>
            <p:cNvCxnSpPr/>
            <p:nvPr/>
          </p:nvCxnSpPr>
          <p:spPr>
            <a:xfrm>
              <a:off x="2324384" y="3655342"/>
              <a:ext cx="7141146" cy="0"/>
            </a:xfrm>
            <a:prstGeom prst="line">
              <a:avLst/>
            </a:prstGeom>
            <a:ln>
              <a:solidFill>
                <a:srgbClr val="000000"/>
              </a:solidFill>
              <a:prstDash val="dash"/>
            </a:ln>
          </p:spPr>
          <p:style>
            <a:lnRef idx="1">
              <a:schemeClr val="accent1"/>
            </a:lnRef>
            <a:fillRef idx="0">
              <a:schemeClr val="accent1"/>
            </a:fillRef>
            <a:effectRef idx="0">
              <a:schemeClr val="accent1"/>
            </a:effectRef>
            <a:fontRef idx="minor">
              <a:schemeClr val="tx1"/>
            </a:fontRef>
          </p:style>
        </p:cxnSp>
        <p:cxnSp>
          <p:nvCxnSpPr>
            <p:cNvPr id="112" name="Straight Connector 111"/>
            <p:cNvCxnSpPr/>
            <p:nvPr/>
          </p:nvCxnSpPr>
          <p:spPr>
            <a:xfrm>
              <a:off x="2351385" y="4292365"/>
              <a:ext cx="7141146" cy="0"/>
            </a:xfrm>
            <a:prstGeom prst="line">
              <a:avLst/>
            </a:prstGeom>
            <a:ln>
              <a:solidFill>
                <a:srgbClr val="000000"/>
              </a:solidFill>
              <a:prstDash val="dash"/>
            </a:ln>
          </p:spPr>
          <p:style>
            <a:lnRef idx="1">
              <a:schemeClr val="accent1"/>
            </a:lnRef>
            <a:fillRef idx="0">
              <a:schemeClr val="accent1"/>
            </a:fillRef>
            <a:effectRef idx="0">
              <a:schemeClr val="accent1"/>
            </a:effectRef>
            <a:fontRef idx="minor">
              <a:schemeClr val="tx1"/>
            </a:fontRef>
          </p:style>
        </p:cxnSp>
        <p:cxnSp>
          <p:nvCxnSpPr>
            <p:cNvPr id="113" name="Straight Connector 112"/>
            <p:cNvCxnSpPr/>
            <p:nvPr/>
          </p:nvCxnSpPr>
          <p:spPr>
            <a:xfrm>
              <a:off x="2351385" y="4664839"/>
              <a:ext cx="7141146" cy="0"/>
            </a:xfrm>
            <a:prstGeom prst="line">
              <a:avLst/>
            </a:prstGeom>
            <a:ln>
              <a:solidFill>
                <a:srgbClr val="000000"/>
              </a:solidFill>
              <a:prstDash val="dash"/>
            </a:ln>
          </p:spPr>
          <p:style>
            <a:lnRef idx="1">
              <a:schemeClr val="accent1"/>
            </a:lnRef>
            <a:fillRef idx="0">
              <a:schemeClr val="accent1"/>
            </a:fillRef>
            <a:effectRef idx="0">
              <a:schemeClr val="accent1"/>
            </a:effectRef>
            <a:fontRef idx="minor">
              <a:schemeClr val="tx1"/>
            </a:fontRef>
          </p:style>
        </p:cxnSp>
        <p:sp>
          <p:nvSpPr>
            <p:cNvPr id="2" name="Right Brace 1"/>
            <p:cNvSpPr/>
            <p:nvPr/>
          </p:nvSpPr>
          <p:spPr>
            <a:xfrm rot="10800000">
              <a:off x="2108204" y="1813757"/>
              <a:ext cx="115614" cy="378657"/>
            </a:xfrm>
            <a:prstGeom prst="rightBrace">
              <a:avLst>
                <a:gd name="adj1" fmla="val 52272"/>
                <a:gd name="adj2" fmla="val 50000"/>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79" name="Right Brace 78"/>
            <p:cNvSpPr/>
            <p:nvPr/>
          </p:nvSpPr>
          <p:spPr>
            <a:xfrm rot="10800000">
              <a:off x="2092891" y="2192414"/>
              <a:ext cx="115614" cy="2816794"/>
            </a:xfrm>
            <a:prstGeom prst="rightBrace">
              <a:avLst>
                <a:gd name="adj1" fmla="val 52272"/>
                <a:gd name="adj2" fmla="val 50000"/>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82" name="Straight Connector 81"/>
            <p:cNvCxnSpPr/>
            <p:nvPr/>
          </p:nvCxnSpPr>
          <p:spPr>
            <a:xfrm>
              <a:off x="2351385" y="2218124"/>
              <a:ext cx="7141146" cy="0"/>
            </a:xfrm>
            <a:prstGeom prst="line">
              <a:avLst/>
            </a:prstGeom>
            <a:ln>
              <a:solidFill>
                <a:srgbClr val="000000"/>
              </a:solidFill>
              <a:prstDash val="dash"/>
            </a:ln>
          </p:spPr>
          <p:style>
            <a:lnRef idx="1">
              <a:schemeClr val="accent1"/>
            </a:lnRef>
            <a:fillRef idx="0">
              <a:schemeClr val="accent1"/>
            </a:fillRef>
            <a:effectRef idx="0">
              <a:schemeClr val="accent1"/>
            </a:effectRef>
            <a:fontRef idx="minor">
              <a:schemeClr val="tx1"/>
            </a:fontRef>
          </p:style>
        </p:cxnSp>
        <p:sp>
          <p:nvSpPr>
            <p:cNvPr id="94" name="Rectangle 93"/>
            <p:cNvSpPr/>
            <p:nvPr/>
          </p:nvSpPr>
          <p:spPr>
            <a:xfrm>
              <a:off x="8952753" y="2233623"/>
              <a:ext cx="1188720" cy="276458"/>
            </a:xfrm>
            <a:prstGeom prst="rect">
              <a:avLst/>
            </a:prstGeom>
          </p:spPr>
          <p:txBody>
            <a:bodyPr wrap="square">
              <a:spAutoFit/>
            </a:bodyPr>
            <a:lstStyle/>
            <a:p>
              <a:pPr>
                <a:lnSpc>
                  <a:spcPct val="105000"/>
                </a:lnSpc>
                <a:spcBef>
                  <a:spcPts val="1200"/>
                </a:spcBef>
                <a:buClr>
                  <a:srgbClr val="003F4C"/>
                </a:buClr>
              </a:pPr>
              <a:r>
                <a:rPr lang="en-US" sz="1400" dirty="0"/>
                <a:t>&lt;.0001</a:t>
              </a:r>
              <a:r>
                <a:rPr lang="en-US" sz="1400" baseline="30000" dirty="0"/>
                <a:t>†</a:t>
              </a:r>
              <a:endParaRPr lang="en-US" sz="1400" dirty="0">
                <a:solidFill>
                  <a:schemeClr val="bg1">
                    <a:lumMod val="50000"/>
                  </a:schemeClr>
                </a:solidFill>
              </a:endParaRPr>
            </a:p>
          </p:txBody>
        </p:sp>
        <p:sp>
          <p:nvSpPr>
            <p:cNvPr id="95" name="Rectangle 94"/>
            <p:cNvSpPr/>
            <p:nvPr/>
          </p:nvSpPr>
          <p:spPr>
            <a:xfrm>
              <a:off x="8952753" y="2612281"/>
              <a:ext cx="1188720" cy="623448"/>
            </a:xfrm>
            <a:prstGeom prst="rect">
              <a:avLst/>
            </a:prstGeom>
          </p:spPr>
          <p:txBody>
            <a:bodyPr wrap="square">
              <a:spAutoFit/>
            </a:bodyPr>
            <a:lstStyle/>
            <a:p>
              <a:pPr>
                <a:lnSpc>
                  <a:spcPct val="105000"/>
                </a:lnSpc>
                <a:spcBef>
                  <a:spcPts val="1200"/>
                </a:spcBef>
                <a:buClr>
                  <a:srgbClr val="003F4C"/>
                </a:buClr>
              </a:pPr>
              <a:r>
                <a:rPr lang="en-US" sz="1400" dirty="0"/>
                <a:t>&lt;.0001</a:t>
              </a:r>
              <a:r>
                <a:rPr lang="en-US" sz="1400" baseline="30000" dirty="0"/>
                <a:t>‡</a:t>
              </a:r>
              <a:endParaRPr lang="en-US" sz="1400" dirty="0">
                <a:solidFill>
                  <a:schemeClr val="bg1">
                    <a:lumMod val="50000"/>
                  </a:schemeClr>
                </a:solidFill>
              </a:endParaRPr>
            </a:p>
            <a:p>
              <a:pPr>
                <a:lnSpc>
                  <a:spcPct val="105000"/>
                </a:lnSpc>
                <a:spcBef>
                  <a:spcPts val="1200"/>
                </a:spcBef>
                <a:buClr>
                  <a:srgbClr val="003F4C"/>
                </a:buClr>
              </a:pPr>
              <a:endParaRPr lang="en-US" sz="1400" dirty="0">
                <a:solidFill>
                  <a:schemeClr val="bg1">
                    <a:lumMod val="50000"/>
                  </a:schemeClr>
                </a:solidFill>
              </a:endParaRPr>
            </a:p>
          </p:txBody>
        </p:sp>
        <p:sp>
          <p:nvSpPr>
            <p:cNvPr id="96" name="Rectangle 95"/>
            <p:cNvSpPr/>
            <p:nvPr/>
          </p:nvSpPr>
          <p:spPr>
            <a:xfrm>
              <a:off x="8952753" y="2990938"/>
              <a:ext cx="1188720" cy="623448"/>
            </a:xfrm>
            <a:prstGeom prst="rect">
              <a:avLst/>
            </a:prstGeom>
          </p:spPr>
          <p:txBody>
            <a:bodyPr wrap="square">
              <a:spAutoFit/>
            </a:bodyPr>
            <a:lstStyle/>
            <a:p>
              <a:pPr>
                <a:lnSpc>
                  <a:spcPct val="105000"/>
                </a:lnSpc>
                <a:spcBef>
                  <a:spcPts val="1200"/>
                </a:spcBef>
                <a:buClr>
                  <a:srgbClr val="003F4C"/>
                </a:buClr>
              </a:pPr>
              <a:r>
                <a:rPr lang="en-US" sz="1400" dirty="0"/>
                <a:t>&lt;.0001</a:t>
              </a:r>
              <a:r>
                <a:rPr lang="en-US" sz="1400" baseline="30000" dirty="0"/>
                <a:t>‡</a:t>
              </a:r>
              <a:endParaRPr lang="en-US" sz="1400" dirty="0">
                <a:solidFill>
                  <a:schemeClr val="bg1">
                    <a:lumMod val="50000"/>
                  </a:schemeClr>
                </a:solidFill>
              </a:endParaRPr>
            </a:p>
            <a:p>
              <a:pPr>
                <a:lnSpc>
                  <a:spcPct val="105000"/>
                </a:lnSpc>
                <a:spcBef>
                  <a:spcPts val="1200"/>
                </a:spcBef>
                <a:buClr>
                  <a:srgbClr val="003F4C"/>
                </a:buClr>
              </a:pPr>
              <a:endParaRPr lang="en-US" sz="1400" dirty="0">
                <a:solidFill>
                  <a:schemeClr val="bg1">
                    <a:lumMod val="50000"/>
                  </a:schemeClr>
                </a:solidFill>
              </a:endParaRPr>
            </a:p>
          </p:txBody>
        </p:sp>
        <p:sp>
          <p:nvSpPr>
            <p:cNvPr id="98" name="Rectangle 97"/>
            <p:cNvSpPr/>
            <p:nvPr/>
          </p:nvSpPr>
          <p:spPr>
            <a:xfrm>
              <a:off x="8952753" y="3369595"/>
              <a:ext cx="1188720" cy="623448"/>
            </a:xfrm>
            <a:prstGeom prst="rect">
              <a:avLst/>
            </a:prstGeom>
          </p:spPr>
          <p:txBody>
            <a:bodyPr wrap="square">
              <a:spAutoFit/>
            </a:bodyPr>
            <a:lstStyle/>
            <a:p>
              <a:pPr>
                <a:lnSpc>
                  <a:spcPct val="105000"/>
                </a:lnSpc>
                <a:spcBef>
                  <a:spcPts val="1200"/>
                </a:spcBef>
                <a:buClr>
                  <a:srgbClr val="003F4C"/>
                </a:buClr>
              </a:pPr>
              <a:r>
                <a:rPr lang="en-US" sz="1400" dirty="0"/>
                <a:t>.0244</a:t>
              </a:r>
              <a:r>
                <a:rPr lang="en-US" sz="1400" baseline="30000" dirty="0"/>
                <a:t>†</a:t>
              </a:r>
              <a:endParaRPr lang="en-US" sz="1400" dirty="0">
                <a:solidFill>
                  <a:schemeClr val="bg1">
                    <a:lumMod val="50000"/>
                  </a:schemeClr>
                </a:solidFill>
              </a:endParaRPr>
            </a:p>
            <a:p>
              <a:pPr>
                <a:lnSpc>
                  <a:spcPct val="105000"/>
                </a:lnSpc>
                <a:spcBef>
                  <a:spcPts val="1200"/>
                </a:spcBef>
                <a:buClr>
                  <a:srgbClr val="003F4C"/>
                </a:buClr>
              </a:pPr>
              <a:endParaRPr lang="en-US" sz="1400" dirty="0">
                <a:solidFill>
                  <a:schemeClr val="bg1">
                    <a:lumMod val="50000"/>
                  </a:schemeClr>
                </a:solidFill>
              </a:endParaRPr>
            </a:p>
          </p:txBody>
        </p:sp>
        <p:sp>
          <p:nvSpPr>
            <p:cNvPr id="100" name="Rectangle 99"/>
            <p:cNvSpPr/>
            <p:nvPr/>
          </p:nvSpPr>
          <p:spPr>
            <a:xfrm>
              <a:off x="8952753" y="4297886"/>
              <a:ext cx="1188720" cy="276458"/>
            </a:xfrm>
            <a:prstGeom prst="rect">
              <a:avLst/>
            </a:prstGeom>
          </p:spPr>
          <p:txBody>
            <a:bodyPr wrap="square">
              <a:spAutoFit/>
            </a:bodyPr>
            <a:lstStyle/>
            <a:p>
              <a:pPr>
                <a:lnSpc>
                  <a:spcPct val="105000"/>
                </a:lnSpc>
                <a:spcBef>
                  <a:spcPts val="1200"/>
                </a:spcBef>
                <a:buClr>
                  <a:srgbClr val="003F4C"/>
                </a:buClr>
              </a:pPr>
              <a:r>
                <a:rPr lang="en-US" sz="1400" dirty="0"/>
                <a:t>&lt;.0001</a:t>
              </a:r>
              <a:r>
                <a:rPr lang="en-US" sz="1400" baseline="30000" dirty="0"/>
                <a:t>†</a:t>
              </a:r>
              <a:endParaRPr lang="en-US" sz="1400" dirty="0">
                <a:solidFill>
                  <a:schemeClr val="bg1">
                    <a:lumMod val="50000"/>
                  </a:schemeClr>
                </a:solidFill>
              </a:endParaRPr>
            </a:p>
          </p:txBody>
        </p:sp>
        <p:sp>
          <p:nvSpPr>
            <p:cNvPr id="101" name="Rectangle 100"/>
            <p:cNvSpPr/>
            <p:nvPr/>
          </p:nvSpPr>
          <p:spPr>
            <a:xfrm>
              <a:off x="8952753" y="3706954"/>
              <a:ext cx="1188720" cy="276458"/>
            </a:xfrm>
            <a:prstGeom prst="rect">
              <a:avLst/>
            </a:prstGeom>
          </p:spPr>
          <p:txBody>
            <a:bodyPr wrap="square">
              <a:spAutoFit/>
            </a:bodyPr>
            <a:lstStyle/>
            <a:p>
              <a:pPr>
                <a:lnSpc>
                  <a:spcPct val="105000"/>
                </a:lnSpc>
                <a:spcBef>
                  <a:spcPts val="1200"/>
                </a:spcBef>
                <a:buClr>
                  <a:srgbClr val="003F4C"/>
                </a:buClr>
              </a:pPr>
              <a:r>
                <a:rPr lang="en-US" sz="1400" dirty="0"/>
                <a:t>&lt;.0001</a:t>
              </a:r>
              <a:r>
                <a:rPr lang="en-US" sz="1400" baseline="30000" dirty="0"/>
                <a:t>Δ</a:t>
              </a:r>
              <a:endParaRPr lang="en-US" sz="1400" dirty="0">
                <a:solidFill>
                  <a:schemeClr val="bg1">
                    <a:lumMod val="50000"/>
                  </a:schemeClr>
                </a:solidFill>
              </a:endParaRPr>
            </a:p>
          </p:txBody>
        </p:sp>
        <p:sp>
          <p:nvSpPr>
            <p:cNvPr id="102" name="Rectangle 101"/>
            <p:cNvSpPr/>
            <p:nvPr/>
          </p:nvSpPr>
          <p:spPr>
            <a:xfrm>
              <a:off x="8952753" y="4664840"/>
              <a:ext cx="1188720" cy="623448"/>
            </a:xfrm>
            <a:prstGeom prst="rect">
              <a:avLst/>
            </a:prstGeom>
          </p:spPr>
          <p:txBody>
            <a:bodyPr wrap="square">
              <a:spAutoFit/>
            </a:bodyPr>
            <a:lstStyle/>
            <a:p>
              <a:pPr>
                <a:lnSpc>
                  <a:spcPct val="105000"/>
                </a:lnSpc>
                <a:spcBef>
                  <a:spcPts val="1200"/>
                </a:spcBef>
                <a:buClr>
                  <a:srgbClr val="003F4C"/>
                </a:buClr>
              </a:pPr>
              <a:r>
                <a:rPr lang="en-US" sz="1400" dirty="0"/>
                <a:t>&lt;.0001</a:t>
              </a:r>
              <a:r>
                <a:rPr lang="en-US" sz="1400" baseline="30000" dirty="0"/>
                <a:t>†</a:t>
              </a:r>
              <a:endParaRPr lang="en-US" sz="1400" dirty="0">
                <a:solidFill>
                  <a:schemeClr val="bg1">
                    <a:lumMod val="50000"/>
                  </a:schemeClr>
                </a:solidFill>
              </a:endParaRPr>
            </a:p>
            <a:p>
              <a:pPr>
                <a:lnSpc>
                  <a:spcPct val="105000"/>
                </a:lnSpc>
                <a:spcBef>
                  <a:spcPts val="1200"/>
                </a:spcBef>
                <a:buClr>
                  <a:srgbClr val="003F4C"/>
                </a:buClr>
              </a:pPr>
              <a:endParaRPr lang="en-US" sz="1400" dirty="0">
                <a:solidFill>
                  <a:schemeClr val="bg1">
                    <a:lumMod val="50000"/>
                  </a:schemeClr>
                </a:solidFill>
              </a:endParaRPr>
            </a:p>
          </p:txBody>
        </p:sp>
        <p:sp>
          <p:nvSpPr>
            <p:cNvPr id="103" name="Rectangle 102"/>
            <p:cNvSpPr/>
            <p:nvPr/>
          </p:nvSpPr>
          <p:spPr>
            <a:xfrm>
              <a:off x="8952753" y="1854967"/>
              <a:ext cx="1188719" cy="276458"/>
            </a:xfrm>
            <a:prstGeom prst="rect">
              <a:avLst/>
            </a:prstGeom>
          </p:spPr>
          <p:txBody>
            <a:bodyPr wrap="square">
              <a:spAutoFit/>
            </a:bodyPr>
            <a:lstStyle/>
            <a:p>
              <a:pPr>
                <a:lnSpc>
                  <a:spcPct val="105000"/>
                </a:lnSpc>
                <a:spcBef>
                  <a:spcPts val="1200"/>
                </a:spcBef>
                <a:buClr>
                  <a:srgbClr val="003F4C"/>
                </a:buClr>
              </a:pPr>
              <a:r>
                <a:rPr lang="en-US" sz="1400" dirty="0"/>
                <a:t>&lt;.0001</a:t>
              </a:r>
              <a:r>
                <a:rPr lang="en-US" sz="1400" baseline="30000" dirty="0"/>
                <a:t>Δ</a:t>
              </a:r>
              <a:endParaRPr lang="en-US" sz="1400" dirty="0">
                <a:solidFill>
                  <a:schemeClr val="bg1">
                    <a:lumMod val="50000"/>
                  </a:schemeClr>
                </a:solidFill>
              </a:endParaRPr>
            </a:p>
          </p:txBody>
        </p:sp>
        <p:sp>
          <p:nvSpPr>
            <p:cNvPr id="105" name="Rectangle 104"/>
            <p:cNvSpPr/>
            <p:nvPr/>
          </p:nvSpPr>
          <p:spPr>
            <a:xfrm>
              <a:off x="1146719" y="1694372"/>
              <a:ext cx="1150728" cy="782719"/>
            </a:xfrm>
            <a:prstGeom prst="rect">
              <a:avLst/>
            </a:prstGeom>
          </p:spPr>
          <p:txBody>
            <a:bodyPr wrap="square">
              <a:spAutoFit/>
            </a:bodyPr>
            <a:lstStyle/>
            <a:p>
              <a:pPr>
                <a:lnSpc>
                  <a:spcPct val="105000"/>
                </a:lnSpc>
                <a:spcBef>
                  <a:spcPts val="1200"/>
                </a:spcBef>
                <a:buClr>
                  <a:srgbClr val="003F4C"/>
                </a:buClr>
              </a:pPr>
              <a:r>
                <a:rPr lang="en-US" sz="1600" b="1" dirty="0"/>
                <a:t>Primary endpoint</a:t>
              </a:r>
            </a:p>
            <a:p>
              <a:pPr>
                <a:lnSpc>
                  <a:spcPct val="105000"/>
                </a:lnSpc>
                <a:buClr>
                  <a:srgbClr val="003F4C"/>
                </a:buClr>
              </a:pPr>
              <a:r>
                <a:rPr lang="en-US" sz="1600" dirty="0"/>
                <a:t>(n= 141</a:t>
              </a:r>
              <a:r>
                <a:rPr lang="en-US" sz="1600" baseline="30000" dirty="0"/>
                <a:t>5</a:t>
              </a:r>
              <a:r>
                <a:rPr lang="en-US" sz="1600" dirty="0"/>
                <a:t>)</a:t>
              </a:r>
            </a:p>
          </p:txBody>
        </p:sp>
        <p:sp>
          <p:nvSpPr>
            <p:cNvPr id="106" name="Rectangle 105"/>
            <p:cNvSpPr/>
            <p:nvPr/>
          </p:nvSpPr>
          <p:spPr>
            <a:xfrm>
              <a:off x="1124727" y="3173260"/>
              <a:ext cx="1150728" cy="782719"/>
            </a:xfrm>
            <a:prstGeom prst="rect">
              <a:avLst/>
            </a:prstGeom>
          </p:spPr>
          <p:txBody>
            <a:bodyPr wrap="square">
              <a:spAutoFit/>
            </a:bodyPr>
            <a:lstStyle/>
            <a:p>
              <a:pPr>
                <a:lnSpc>
                  <a:spcPct val="105000"/>
                </a:lnSpc>
                <a:spcBef>
                  <a:spcPts val="1200"/>
                </a:spcBef>
                <a:buClr>
                  <a:srgbClr val="003F4C"/>
                </a:buClr>
              </a:pPr>
              <a:r>
                <a:rPr lang="en-US" sz="1600" b="1" dirty="0"/>
                <a:t>Secondary endpoints</a:t>
              </a:r>
            </a:p>
            <a:p>
              <a:pPr>
                <a:lnSpc>
                  <a:spcPct val="105000"/>
                </a:lnSpc>
                <a:buClr>
                  <a:srgbClr val="003F4C"/>
                </a:buClr>
              </a:pPr>
              <a:r>
                <a:rPr lang="en-US" sz="1600" dirty="0"/>
                <a:t>(n= 131</a:t>
              </a:r>
              <a:r>
                <a:rPr lang="en-US" sz="1600" baseline="30000" dirty="0"/>
                <a:t>5</a:t>
              </a:r>
              <a:r>
                <a:rPr lang="en-US" sz="1600" dirty="0"/>
                <a:t>)</a:t>
              </a:r>
            </a:p>
          </p:txBody>
        </p:sp>
      </p:grpSp>
      <p:sp>
        <p:nvSpPr>
          <p:cNvPr id="77" name="Rectangle 76"/>
          <p:cNvSpPr/>
          <p:nvPr/>
        </p:nvSpPr>
        <p:spPr>
          <a:xfrm>
            <a:off x="9962234" y="1080476"/>
            <a:ext cx="1747928" cy="332912"/>
          </a:xfrm>
          <a:prstGeom prst="rect">
            <a:avLst/>
          </a:prstGeom>
        </p:spPr>
        <p:txBody>
          <a:bodyPr wrap="square">
            <a:spAutoFit/>
          </a:bodyPr>
          <a:lstStyle/>
          <a:p>
            <a:pPr>
              <a:lnSpc>
                <a:spcPct val="105000"/>
              </a:lnSpc>
              <a:spcBef>
                <a:spcPts val="900"/>
              </a:spcBef>
              <a:buClr>
                <a:srgbClr val="003F4C"/>
              </a:buClr>
            </a:pPr>
            <a:r>
              <a:rPr lang="en-US" sz="1600" b="1" dirty="0"/>
              <a:t>Endpoint Met?</a:t>
            </a:r>
            <a:endParaRPr lang="en-US" sz="1600" dirty="0">
              <a:solidFill>
                <a:schemeClr val="bg1">
                  <a:lumMod val="50000"/>
                </a:schemeClr>
              </a:solidFill>
            </a:endParaRPr>
          </a:p>
        </p:txBody>
      </p:sp>
      <p:sp>
        <p:nvSpPr>
          <p:cNvPr id="78" name="Rectangle 77"/>
          <p:cNvSpPr/>
          <p:nvPr/>
        </p:nvSpPr>
        <p:spPr>
          <a:xfrm>
            <a:off x="10349638" y="1603194"/>
            <a:ext cx="649744" cy="363048"/>
          </a:xfrm>
          <a:prstGeom prst="rect">
            <a:avLst/>
          </a:prstGeom>
        </p:spPr>
        <p:txBody>
          <a:bodyPr wrap="square">
            <a:spAutoFit/>
          </a:bodyPr>
          <a:lstStyle/>
          <a:p>
            <a:pPr>
              <a:lnSpc>
                <a:spcPct val="105000"/>
              </a:lnSpc>
              <a:spcBef>
                <a:spcPts val="900"/>
              </a:spcBef>
              <a:buClr>
                <a:srgbClr val="003F4C"/>
              </a:buClr>
            </a:pPr>
            <a:r>
              <a:rPr lang="en-US" b="1" dirty="0">
                <a:solidFill>
                  <a:srgbClr val="007E39"/>
                </a:solidFill>
              </a:rPr>
              <a:t>Yes</a:t>
            </a:r>
            <a:endParaRPr lang="en-US" dirty="0">
              <a:solidFill>
                <a:srgbClr val="007E39"/>
              </a:solidFill>
            </a:endParaRPr>
          </a:p>
        </p:txBody>
      </p:sp>
      <p:sp>
        <p:nvSpPr>
          <p:cNvPr id="8" name="Rectangle 7"/>
          <p:cNvSpPr/>
          <p:nvPr/>
        </p:nvSpPr>
        <p:spPr>
          <a:xfrm>
            <a:off x="1791058" y="5227463"/>
            <a:ext cx="10509250" cy="523220"/>
          </a:xfrm>
          <a:prstGeom prst="rect">
            <a:avLst/>
          </a:prstGeom>
        </p:spPr>
        <p:txBody>
          <a:bodyPr wrap="square">
            <a:spAutoFit/>
          </a:bodyPr>
          <a:lstStyle/>
          <a:p>
            <a:r>
              <a:rPr lang="en-US" sz="1400" dirty="0">
                <a:solidFill>
                  <a:schemeClr val="bg2">
                    <a:lumMod val="25000"/>
                  </a:schemeClr>
                </a:solidFill>
                <a:cs typeface="Arial" panose="020B0604020202020204" pitchFamily="34" charset="0"/>
              </a:rPr>
              <a:t>91% (CI: 86%,95%) freedom from serious adverse events associated with the implant procedure, device, </a:t>
            </a:r>
          </a:p>
          <a:p>
            <a:r>
              <a:rPr lang="en-US" sz="1400" dirty="0">
                <a:solidFill>
                  <a:schemeClr val="bg2">
                    <a:lumMod val="25000"/>
                  </a:schemeClr>
                </a:solidFill>
                <a:cs typeface="Arial" panose="020B0604020202020204" pitchFamily="34" charset="0"/>
              </a:rPr>
              <a:t>or the delivered therapy at 12 months </a:t>
            </a:r>
          </a:p>
        </p:txBody>
      </p:sp>
      <p:sp>
        <p:nvSpPr>
          <p:cNvPr id="91" name="Rectangle 90"/>
          <p:cNvSpPr/>
          <p:nvPr/>
        </p:nvSpPr>
        <p:spPr>
          <a:xfrm>
            <a:off x="581855" y="5220267"/>
            <a:ext cx="1260543" cy="340350"/>
          </a:xfrm>
          <a:prstGeom prst="rect">
            <a:avLst/>
          </a:prstGeom>
        </p:spPr>
        <p:txBody>
          <a:bodyPr wrap="square">
            <a:spAutoFit/>
          </a:bodyPr>
          <a:lstStyle/>
          <a:p>
            <a:pPr>
              <a:lnSpc>
                <a:spcPct val="105000"/>
              </a:lnSpc>
              <a:spcBef>
                <a:spcPts val="1200"/>
              </a:spcBef>
              <a:buClr>
                <a:srgbClr val="003F4C"/>
              </a:buClr>
            </a:pPr>
            <a:r>
              <a:rPr lang="en-US" sz="1600" b="1" dirty="0"/>
              <a:t>Safety</a:t>
            </a:r>
            <a:endParaRPr lang="en-US" sz="1600" dirty="0"/>
          </a:p>
        </p:txBody>
      </p:sp>
      <p:sp>
        <p:nvSpPr>
          <p:cNvPr id="92" name="Right Brace 91"/>
          <p:cNvSpPr/>
          <p:nvPr/>
        </p:nvSpPr>
        <p:spPr>
          <a:xfrm rot="10800000">
            <a:off x="1609318" y="5172315"/>
            <a:ext cx="126647" cy="414792"/>
          </a:xfrm>
          <a:prstGeom prst="rightBrace">
            <a:avLst>
              <a:gd name="adj1" fmla="val 52272"/>
              <a:gd name="adj2" fmla="val 50000"/>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2000"/>
          </a:p>
        </p:txBody>
      </p:sp>
      <p:sp>
        <p:nvSpPr>
          <p:cNvPr id="97" name="Rectangle 96">
            <a:extLst>
              <a:ext uri="{FF2B5EF4-FFF2-40B4-BE49-F238E27FC236}">
                <a16:creationId xmlns:a16="http://schemas.microsoft.com/office/drawing/2014/main" id="{14A48082-9437-4FEA-97DE-3FB7473F2059}"/>
              </a:ext>
            </a:extLst>
          </p:cNvPr>
          <p:cNvSpPr/>
          <p:nvPr/>
        </p:nvSpPr>
        <p:spPr>
          <a:xfrm>
            <a:off x="266717" y="5681653"/>
            <a:ext cx="6753818" cy="729687"/>
          </a:xfrm>
          <a:prstGeom prst="rect">
            <a:avLst/>
          </a:prstGeom>
        </p:spPr>
        <p:txBody>
          <a:bodyPr wrap="square">
            <a:spAutoFit/>
          </a:bodyPr>
          <a:lstStyle/>
          <a:p>
            <a:pPr marL="228600" indent="-228600">
              <a:lnSpc>
                <a:spcPct val="105000"/>
              </a:lnSpc>
              <a:buClr>
                <a:srgbClr val="003F4C"/>
              </a:buClr>
              <a:buAutoNum type="arabicPeriod"/>
            </a:pPr>
            <a:r>
              <a:rPr lang="en-US" sz="800" dirty="0"/>
              <a:t>Primary endpoint is the proportion of subjects achieving ≥50% reduction in AHI</a:t>
            </a:r>
          </a:p>
          <a:p>
            <a:pPr marL="228600" indent="-228600">
              <a:lnSpc>
                <a:spcPct val="105000"/>
              </a:lnSpc>
              <a:buClr>
                <a:srgbClr val="003F4C"/>
              </a:buClr>
              <a:buAutoNum type="arabicPeriod"/>
            </a:pPr>
            <a:r>
              <a:rPr lang="en-US" sz="800" dirty="0"/>
              <a:t>PGA = Patient global assessment</a:t>
            </a:r>
          </a:p>
          <a:p>
            <a:pPr marL="228600" indent="-228600">
              <a:lnSpc>
                <a:spcPct val="105000"/>
              </a:lnSpc>
              <a:buClr>
                <a:srgbClr val="003F4C"/>
              </a:buClr>
              <a:buAutoNum type="arabicPeriod"/>
            </a:pPr>
            <a:r>
              <a:rPr lang="en-US" sz="800" dirty="0"/>
              <a:t>ESS = Epworth Sleepiness Scale, an 8-question assessment used to assess sleepiness</a:t>
            </a:r>
          </a:p>
          <a:p>
            <a:pPr marL="228600" indent="-228600">
              <a:lnSpc>
                <a:spcPct val="105000"/>
              </a:lnSpc>
              <a:buClr>
                <a:srgbClr val="003F4C"/>
              </a:buClr>
              <a:buAutoNum type="arabicPeriod"/>
            </a:pPr>
            <a:r>
              <a:rPr lang="en-US" sz="800" dirty="0"/>
              <a:t>For primary endpoint, n=68 for treatment and n=73 for control; for secondary endpoints, n=58 for treatment and n=73 for control </a:t>
            </a:r>
          </a:p>
          <a:p>
            <a:pPr>
              <a:lnSpc>
                <a:spcPct val="105000"/>
              </a:lnSpc>
              <a:buClr>
                <a:srgbClr val="003F4C"/>
              </a:buClr>
            </a:pPr>
            <a:r>
              <a:rPr lang="en-US" sz="800" dirty="0"/>
              <a:t>         Costanzo et al.  Lancet 2016;388:974-82;  Goldberg L et al.  J Cardiac Fail 2017;23:S15.</a:t>
            </a:r>
          </a:p>
        </p:txBody>
      </p:sp>
      <p:sp>
        <p:nvSpPr>
          <p:cNvPr id="10" name="Slide Number Placeholder 9">
            <a:extLst>
              <a:ext uri="{FF2B5EF4-FFF2-40B4-BE49-F238E27FC236}">
                <a16:creationId xmlns:a16="http://schemas.microsoft.com/office/drawing/2014/main" id="{D891D250-A414-4971-365B-0D8E346C0435}"/>
              </a:ext>
            </a:extLst>
          </p:cNvPr>
          <p:cNvSpPr>
            <a:spLocks noGrp="1"/>
          </p:cNvSpPr>
          <p:nvPr>
            <p:ph type="sldNum" sz="quarter" idx="12"/>
          </p:nvPr>
        </p:nvSpPr>
        <p:spPr/>
        <p:txBody>
          <a:bodyPr/>
          <a:lstStyle/>
          <a:p>
            <a:fld id="{21D51F98-DEF0-4E23-AE94-24E7CFC19B28}" type="slidenum">
              <a:rPr lang="en-US" smtClean="0"/>
              <a:t>34</a:t>
            </a:fld>
            <a:endParaRPr lang="en-US"/>
          </a:p>
        </p:txBody>
      </p:sp>
      <p:sp>
        <p:nvSpPr>
          <p:cNvPr id="17" name="Rectangle 16">
            <a:extLst>
              <a:ext uri="{FF2B5EF4-FFF2-40B4-BE49-F238E27FC236}">
                <a16:creationId xmlns:a16="http://schemas.microsoft.com/office/drawing/2014/main" id="{7DF9CEA2-42B2-E430-E40E-0748DC5D4857}"/>
              </a:ext>
            </a:extLst>
          </p:cNvPr>
          <p:cNvSpPr/>
          <p:nvPr/>
        </p:nvSpPr>
        <p:spPr>
          <a:xfrm>
            <a:off x="10349638" y="2794121"/>
            <a:ext cx="649744" cy="363048"/>
          </a:xfrm>
          <a:prstGeom prst="rect">
            <a:avLst/>
          </a:prstGeom>
        </p:spPr>
        <p:txBody>
          <a:bodyPr wrap="square">
            <a:spAutoFit/>
          </a:bodyPr>
          <a:lstStyle/>
          <a:p>
            <a:pPr>
              <a:lnSpc>
                <a:spcPct val="105000"/>
              </a:lnSpc>
              <a:spcBef>
                <a:spcPts val="900"/>
              </a:spcBef>
              <a:buClr>
                <a:srgbClr val="003F4C"/>
              </a:buClr>
            </a:pPr>
            <a:r>
              <a:rPr lang="en-US" b="1" dirty="0">
                <a:solidFill>
                  <a:srgbClr val="007E39"/>
                </a:solidFill>
              </a:rPr>
              <a:t>Yes</a:t>
            </a:r>
            <a:endParaRPr lang="en-US" dirty="0">
              <a:solidFill>
                <a:srgbClr val="007E39"/>
              </a:solidFill>
            </a:endParaRPr>
          </a:p>
        </p:txBody>
      </p:sp>
      <p:sp>
        <p:nvSpPr>
          <p:cNvPr id="18" name="Rectangle 17">
            <a:extLst>
              <a:ext uri="{FF2B5EF4-FFF2-40B4-BE49-F238E27FC236}">
                <a16:creationId xmlns:a16="http://schemas.microsoft.com/office/drawing/2014/main" id="{83F9873B-0131-8079-E8E9-53684E1904F5}"/>
              </a:ext>
            </a:extLst>
          </p:cNvPr>
          <p:cNvSpPr/>
          <p:nvPr/>
        </p:nvSpPr>
        <p:spPr>
          <a:xfrm>
            <a:off x="10349638" y="3249216"/>
            <a:ext cx="649744" cy="363048"/>
          </a:xfrm>
          <a:prstGeom prst="rect">
            <a:avLst/>
          </a:prstGeom>
        </p:spPr>
        <p:txBody>
          <a:bodyPr wrap="square">
            <a:spAutoFit/>
          </a:bodyPr>
          <a:lstStyle/>
          <a:p>
            <a:pPr>
              <a:lnSpc>
                <a:spcPct val="105000"/>
              </a:lnSpc>
              <a:spcBef>
                <a:spcPts val="900"/>
              </a:spcBef>
              <a:buClr>
                <a:srgbClr val="003F4C"/>
              </a:buClr>
            </a:pPr>
            <a:r>
              <a:rPr lang="en-US" b="1" dirty="0">
                <a:solidFill>
                  <a:srgbClr val="007E39"/>
                </a:solidFill>
              </a:rPr>
              <a:t>Yes</a:t>
            </a:r>
            <a:endParaRPr lang="en-US" dirty="0">
              <a:solidFill>
                <a:srgbClr val="007E39"/>
              </a:solidFill>
            </a:endParaRPr>
          </a:p>
        </p:txBody>
      </p:sp>
      <p:sp>
        <p:nvSpPr>
          <p:cNvPr id="19" name="Rectangle 18">
            <a:extLst>
              <a:ext uri="{FF2B5EF4-FFF2-40B4-BE49-F238E27FC236}">
                <a16:creationId xmlns:a16="http://schemas.microsoft.com/office/drawing/2014/main" id="{A5074585-0248-8B3D-5AEE-09C0CB0DEF7C}"/>
              </a:ext>
            </a:extLst>
          </p:cNvPr>
          <p:cNvSpPr/>
          <p:nvPr/>
        </p:nvSpPr>
        <p:spPr>
          <a:xfrm>
            <a:off x="10349638" y="3738015"/>
            <a:ext cx="649744" cy="363048"/>
          </a:xfrm>
          <a:prstGeom prst="rect">
            <a:avLst/>
          </a:prstGeom>
        </p:spPr>
        <p:txBody>
          <a:bodyPr wrap="square">
            <a:spAutoFit/>
          </a:bodyPr>
          <a:lstStyle/>
          <a:p>
            <a:pPr>
              <a:lnSpc>
                <a:spcPct val="105000"/>
              </a:lnSpc>
              <a:spcBef>
                <a:spcPts val="900"/>
              </a:spcBef>
              <a:buClr>
                <a:srgbClr val="003F4C"/>
              </a:buClr>
            </a:pPr>
            <a:r>
              <a:rPr lang="en-US" b="1" dirty="0">
                <a:solidFill>
                  <a:srgbClr val="007E39"/>
                </a:solidFill>
              </a:rPr>
              <a:t>Yes</a:t>
            </a:r>
            <a:endParaRPr lang="en-US" dirty="0">
              <a:solidFill>
                <a:srgbClr val="007E39"/>
              </a:solidFill>
            </a:endParaRPr>
          </a:p>
        </p:txBody>
      </p:sp>
      <p:sp>
        <p:nvSpPr>
          <p:cNvPr id="28" name="Rectangle 27">
            <a:extLst>
              <a:ext uri="{FF2B5EF4-FFF2-40B4-BE49-F238E27FC236}">
                <a16:creationId xmlns:a16="http://schemas.microsoft.com/office/drawing/2014/main" id="{2613755C-F17E-02D1-1984-680D820D5508}"/>
              </a:ext>
            </a:extLst>
          </p:cNvPr>
          <p:cNvSpPr/>
          <p:nvPr/>
        </p:nvSpPr>
        <p:spPr>
          <a:xfrm>
            <a:off x="10349638" y="4378812"/>
            <a:ext cx="649744" cy="363048"/>
          </a:xfrm>
          <a:prstGeom prst="rect">
            <a:avLst/>
          </a:prstGeom>
        </p:spPr>
        <p:txBody>
          <a:bodyPr wrap="square">
            <a:spAutoFit/>
          </a:bodyPr>
          <a:lstStyle/>
          <a:p>
            <a:pPr>
              <a:lnSpc>
                <a:spcPct val="105000"/>
              </a:lnSpc>
              <a:spcBef>
                <a:spcPts val="900"/>
              </a:spcBef>
              <a:buClr>
                <a:srgbClr val="003F4C"/>
              </a:buClr>
            </a:pPr>
            <a:r>
              <a:rPr lang="en-US" b="1" dirty="0">
                <a:solidFill>
                  <a:srgbClr val="007E39"/>
                </a:solidFill>
              </a:rPr>
              <a:t>Yes</a:t>
            </a:r>
            <a:endParaRPr lang="en-US" dirty="0">
              <a:solidFill>
                <a:srgbClr val="007E39"/>
              </a:solidFill>
            </a:endParaRPr>
          </a:p>
        </p:txBody>
      </p:sp>
      <p:sp>
        <p:nvSpPr>
          <p:cNvPr id="29" name="Rectangle 28">
            <a:extLst>
              <a:ext uri="{FF2B5EF4-FFF2-40B4-BE49-F238E27FC236}">
                <a16:creationId xmlns:a16="http://schemas.microsoft.com/office/drawing/2014/main" id="{38FE4F65-C242-ACCA-0ECD-D6185A7DCDE7}"/>
              </a:ext>
            </a:extLst>
          </p:cNvPr>
          <p:cNvSpPr/>
          <p:nvPr/>
        </p:nvSpPr>
        <p:spPr>
          <a:xfrm>
            <a:off x="10349638" y="4742976"/>
            <a:ext cx="649744" cy="363048"/>
          </a:xfrm>
          <a:prstGeom prst="rect">
            <a:avLst/>
          </a:prstGeom>
        </p:spPr>
        <p:txBody>
          <a:bodyPr wrap="square">
            <a:spAutoFit/>
          </a:bodyPr>
          <a:lstStyle/>
          <a:p>
            <a:pPr>
              <a:lnSpc>
                <a:spcPct val="105000"/>
              </a:lnSpc>
              <a:spcBef>
                <a:spcPts val="900"/>
              </a:spcBef>
              <a:buClr>
                <a:srgbClr val="003F4C"/>
              </a:buClr>
            </a:pPr>
            <a:r>
              <a:rPr lang="en-US" b="1" dirty="0">
                <a:solidFill>
                  <a:srgbClr val="007E39"/>
                </a:solidFill>
              </a:rPr>
              <a:t>Yes</a:t>
            </a:r>
            <a:endParaRPr lang="en-US" dirty="0">
              <a:solidFill>
                <a:srgbClr val="007E39"/>
              </a:solidFill>
            </a:endParaRPr>
          </a:p>
        </p:txBody>
      </p:sp>
      <p:sp>
        <p:nvSpPr>
          <p:cNvPr id="32" name="Rectangle 31">
            <a:extLst>
              <a:ext uri="{FF2B5EF4-FFF2-40B4-BE49-F238E27FC236}">
                <a16:creationId xmlns:a16="http://schemas.microsoft.com/office/drawing/2014/main" id="{D8524B98-EE7C-4B89-665A-EC2494BFA737}"/>
              </a:ext>
            </a:extLst>
          </p:cNvPr>
          <p:cNvSpPr/>
          <p:nvPr/>
        </p:nvSpPr>
        <p:spPr>
          <a:xfrm>
            <a:off x="10349638" y="1959478"/>
            <a:ext cx="649744" cy="363048"/>
          </a:xfrm>
          <a:prstGeom prst="rect">
            <a:avLst/>
          </a:prstGeom>
        </p:spPr>
        <p:txBody>
          <a:bodyPr wrap="square">
            <a:spAutoFit/>
          </a:bodyPr>
          <a:lstStyle/>
          <a:p>
            <a:pPr>
              <a:lnSpc>
                <a:spcPct val="105000"/>
              </a:lnSpc>
              <a:spcBef>
                <a:spcPts val="900"/>
              </a:spcBef>
              <a:buClr>
                <a:srgbClr val="003F4C"/>
              </a:buClr>
            </a:pPr>
            <a:r>
              <a:rPr lang="en-US" b="1" dirty="0">
                <a:solidFill>
                  <a:srgbClr val="007E39"/>
                </a:solidFill>
              </a:rPr>
              <a:t>Yes</a:t>
            </a:r>
            <a:endParaRPr lang="en-US" dirty="0">
              <a:solidFill>
                <a:srgbClr val="007E39"/>
              </a:solidFill>
            </a:endParaRPr>
          </a:p>
        </p:txBody>
      </p:sp>
      <p:sp>
        <p:nvSpPr>
          <p:cNvPr id="33" name="Rectangle 32">
            <a:extLst>
              <a:ext uri="{FF2B5EF4-FFF2-40B4-BE49-F238E27FC236}">
                <a16:creationId xmlns:a16="http://schemas.microsoft.com/office/drawing/2014/main" id="{25731098-7784-070D-1BFD-1D81A166350B}"/>
              </a:ext>
            </a:extLst>
          </p:cNvPr>
          <p:cNvSpPr/>
          <p:nvPr/>
        </p:nvSpPr>
        <p:spPr>
          <a:xfrm>
            <a:off x="10349638" y="2378455"/>
            <a:ext cx="649744" cy="363048"/>
          </a:xfrm>
          <a:prstGeom prst="rect">
            <a:avLst/>
          </a:prstGeom>
        </p:spPr>
        <p:txBody>
          <a:bodyPr wrap="square">
            <a:spAutoFit/>
          </a:bodyPr>
          <a:lstStyle/>
          <a:p>
            <a:pPr>
              <a:lnSpc>
                <a:spcPct val="105000"/>
              </a:lnSpc>
              <a:spcBef>
                <a:spcPts val="900"/>
              </a:spcBef>
              <a:buClr>
                <a:srgbClr val="003F4C"/>
              </a:buClr>
            </a:pPr>
            <a:r>
              <a:rPr lang="en-US" b="1" dirty="0">
                <a:solidFill>
                  <a:srgbClr val="007E39"/>
                </a:solidFill>
              </a:rPr>
              <a:t>Yes</a:t>
            </a:r>
            <a:endParaRPr lang="en-US" dirty="0">
              <a:solidFill>
                <a:srgbClr val="007E39"/>
              </a:solidFill>
            </a:endParaRPr>
          </a:p>
        </p:txBody>
      </p:sp>
      <p:sp>
        <p:nvSpPr>
          <p:cNvPr id="14" name="Footer Placeholder 5">
            <a:extLst>
              <a:ext uri="{FF2B5EF4-FFF2-40B4-BE49-F238E27FC236}">
                <a16:creationId xmlns:a16="http://schemas.microsoft.com/office/drawing/2014/main" id="{1B4EAD3E-6BEC-ED12-4FE8-B95F91CD403B}"/>
              </a:ext>
            </a:extLst>
          </p:cNvPr>
          <p:cNvSpPr>
            <a:spLocks noGrp="1"/>
          </p:cNvSpPr>
          <p:nvPr>
            <p:ph type="ftr" sz="quarter" idx="11"/>
          </p:nvPr>
        </p:nvSpPr>
        <p:spPr>
          <a:xfrm>
            <a:off x="3684598" y="6459785"/>
            <a:ext cx="4822804" cy="365125"/>
          </a:xfrm>
        </p:spPr>
        <p:txBody>
          <a:bodyPr/>
          <a:lstStyle/>
          <a:p>
            <a:r>
              <a:rPr lang="en-US" dirty="0"/>
              <a:t>MAF1937 Rev E</a:t>
            </a:r>
          </a:p>
        </p:txBody>
      </p:sp>
    </p:spTree>
    <p:extLst>
      <p:ext uri="{BB962C8B-B14F-4D97-AF65-F5344CB8AC3E}">
        <p14:creationId xmlns:p14="http://schemas.microsoft.com/office/powerpoint/2010/main" val="125794889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1" imgW="396" imgH="396" progId="TCLayout.ActiveDocument.1">
                  <p:embed/>
                </p:oleObj>
              </mc:Choice>
              <mc:Fallback>
                <p:oleObj name="think-cell Slide" r:id="rId21" imgW="396" imgH="396" progId="TCLayout.ActiveDocument.1">
                  <p:embed/>
                  <p:pic>
                    <p:nvPicPr>
                      <p:cNvPr id="19" name="Object 18" hidden="1"/>
                      <p:cNvPicPr/>
                      <p:nvPr/>
                    </p:nvPicPr>
                    <p:blipFill>
                      <a:blip r:embed="rId22"/>
                      <a:stretch>
                        <a:fillRect/>
                      </a:stretch>
                    </p:blipFill>
                    <p:spPr>
                      <a:xfrm>
                        <a:off x="1588" y="1588"/>
                        <a:ext cx="1588" cy="1588"/>
                      </a:xfrm>
                      <a:prstGeom prst="rect">
                        <a:avLst/>
                      </a:prstGeom>
                    </p:spPr>
                  </p:pic>
                </p:oleObj>
              </mc:Fallback>
            </mc:AlternateContent>
          </a:graphicData>
        </a:graphic>
      </p:graphicFrame>
      <p:sp>
        <p:nvSpPr>
          <p:cNvPr id="9" name="Rectangle 8"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Calibri" panose="020F0502020204030204"/>
              <a:ea typeface="+mn-ea"/>
              <a:cs typeface="+mn-cs"/>
              <a:sym typeface="+mn-lt"/>
            </a:endParaRPr>
          </a:p>
        </p:txBody>
      </p:sp>
      <p:sp>
        <p:nvSpPr>
          <p:cNvPr id="2" name="Title 1"/>
          <p:cNvSpPr>
            <a:spLocks noGrp="1"/>
          </p:cNvSpPr>
          <p:nvPr>
            <p:ph type="title" idx="4294967295"/>
          </p:nvPr>
        </p:nvSpPr>
        <p:spPr>
          <a:xfrm>
            <a:off x="497807" y="254608"/>
            <a:ext cx="11617325" cy="827088"/>
          </a:xfrm>
        </p:spPr>
        <p:txBody>
          <a:bodyPr>
            <a:noAutofit/>
          </a:bodyPr>
          <a:lstStyle/>
          <a:p>
            <a:r>
              <a:rPr lang="en-US" sz="3200" b="1" dirty="0">
                <a:solidFill>
                  <a:schemeClr val="accent2"/>
                </a:solidFill>
                <a:latin typeface="+mn-lt"/>
              </a:rPr>
              <a:t>PSG Results at 24 months of Therapy Demonstrated Effective and Durable Results </a:t>
            </a:r>
          </a:p>
        </p:txBody>
      </p:sp>
      <p:graphicFrame>
        <p:nvGraphicFramePr>
          <p:cNvPr id="49" name="Chart 48"/>
          <p:cNvGraphicFramePr/>
          <p:nvPr>
            <p:custDataLst>
              <p:tags r:id="rId3"/>
            </p:custDataLst>
          </p:nvPr>
        </p:nvGraphicFramePr>
        <p:xfrm>
          <a:off x="2263076" y="1719033"/>
          <a:ext cx="5046663" cy="4131173"/>
        </p:xfrm>
        <a:graphic>
          <a:graphicData uri="http://schemas.openxmlformats.org/drawingml/2006/chart">
            <c:chart xmlns:c="http://schemas.openxmlformats.org/drawingml/2006/chart" xmlns:r="http://schemas.openxmlformats.org/officeDocument/2006/relationships" r:id="rId23"/>
          </a:graphicData>
        </a:graphic>
      </p:graphicFrame>
      <p:sp>
        <p:nvSpPr>
          <p:cNvPr id="114" name="Text Placeholder 2"/>
          <p:cNvSpPr>
            <a:spLocks noGrp="1"/>
          </p:cNvSpPr>
          <p:nvPr>
            <p:custDataLst>
              <p:tags r:id="rId4"/>
            </p:custDataLst>
          </p:nvPr>
        </p:nvSpPr>
        <p:spPr bwMode="gray">
          <a:xfrm>
            <a:off x="6032150" y="5583614"/>
            <a:ext cx="274320" cy="219075"/>
          </a:xfrm>
          <a:prstGeom prst="rect">
            <a:avLst/>
          </a:prstGeom>
          <a:solidFill>
            <a:schemeClr val="accent2"/>
          </a:solidFill>
          <a:ln>
            <a:noFill/>
          </a:ln>
        </p:spPr>
        <p:txBody>
          <a:bodyPr vert="horz" wrap="none" lIns="28575" tIns="0" rIns="28575" bIns="0" numCol="1" spcCol="0" rtlCol="0" anchor="ctr" anchorCtr="0">
            <a:noAutofit/>
          </a:bodyPr>
          <a:lstStyle>
            <a:lvl1pPr marL="228600" indent="-228600" algn="l" defTabSz="914400" rtl="0" eaLnBrk="1" latinLnBrk="0" hangingPunct="1">
              <a:lnSpc>
                <a:spcPct val="90000"/>
              </a:lnSpc>
              <a:spcBef>
                <a:spcPts val="1000"/>
              </a:spcBef>
              <a:buClr>
                <a:schemeClr val="accent1"/>
              </a:buClr>
              <a:buSzPct val="90000"/>
              <a:buFont typeface="Wingdings" charset="2"/>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Clr>
                <a:schemeClr val="accent6">
                  <a:lumMod val="75000"/>
                </a:schemeClr>
              </a:buClr>
              <a:buSzPct val="80000"/>
              <a:buFont typeface="Arial" charset="0"/>
              <a:buChar char="•"/>
              <a:defRPr sz="22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accent1"/>
              </a:buClr>
              <a:buSzPct val="70000"/>
              <a:buFont typeface="Wingdings" charset="2"/>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accent6">
                  <a:lumMod val="75000"/>
                </a:schemeClr>
              </a:buClr>
              <a:buSzPct val="70000"/>
              <a:buFont typeface="Arial"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accent5"/>
              </a:buClr>
              <a:buSzPct val="60000"/>
              <a:buFont typeface="Wingdings" charset="2"/>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
                <a:srgbClr val="00AEB5"/>
              </a:buClr>
              <a:buSzPct val="90000"/>
              <a:buFont typeface="Wingdings" charset="2"/>
              <a:buNone/>
              <a:tabLst/>
              <a:defRPr/>
            </a:pPr>
            <a:r>
              <a:rPr kumimoji="0" lang="en-US" altLang="en-US" sz="1600" b="0" i="0" u="none" strike="noStrike" kern="1200" cap="none" spc="0" normalizeH="0" baseline="0" noProof="0" dirty="0">
                <a:ln>
                  <a:noFill/>
                </a:ln>
                <a:solidFill>
                  <a:srgbClr val="FFFFFF"/>
                </a:solidFill>
                <a:effectLst/>
                <a:uLnTx/>
                <a:uFillTx/>
                <a:latin typeface="Calibri" panose="020F0502020204030204"/>
                <a:ea typeface="+mn-ea"/>
                <a:cs typeface="+mn-cs"/>
              </a:rPr>
              <a:t>0.2</a:t>
            </a:r>
            <a:endParaRPr kumimoji="0" lang="en-US" sz="1600" b="0" i="0" u="none" strike="noStrike" kern="1200" cap="none" spc="0" normalizeH="0" baseline="0" noProof="0" dirty="0">
              <a:ln>
                <a:noFill/>
              </a:ln>
              <a:solidFill>
                <a:srgbClr val="FFFFFF"/>
              </a:solidFill>
              <a:effectLst/>
              <a:uLnTx/>
              <a:uFillTx/>
              <a:latin typeface="Calibri" panose="020F0502020204030204"/>
              <a:ea typeface="+mn-ea"/>
              <a:cs typeface="+mn-cs"/>
              <a:sym typeface="+mn-lt"/>
            </a:endParaRPr>
          </a:p>
        </p:txBody>
      </p:sp>
      <p:sp>
        <p:nvSpPr>
          <p:cNvPr id="60" name="Text Placeholder 2"/>
          <p:cNvSpPr>
            <a:spLocks noGrp="1"/>
          </p:cNvSpPr>
          <p:nvPr>
            <p:custDataLst>
              <p:tags r:id="rId5"/>
            </p:custDataLst>
          </p:nvPr>
        </p:nvSpPr>
        <p:spPr bwMode="gray">
          <a:xfrm>
            <a:off x="3785803" y="1829668"/>
            <a:ext cx="160338" cy="219075"/>
          </a:xfrm>
          <a:prstGeom prst="rect">
            <a:avLst/>
          </a:prstGeom>
          <a:solidFill>
            <a:schemeClr val="accent1"/>
          </a:solidFill>
          <a:ln>
            <a:noFill/>
          </a:ln>
        </p:spPr>
        <p:txBody>
          <a:bodyPr vert="horz" wrap="none" lIns="28575" tIns="0" rIns="28575" bIns="0" numCol="1" spcCol="0" rtlCol="0" anchor="ctr" anchorCtr="0">
            <a:noAutofit/>
          </a:bodyPr>
          <a:lstStyle>
            <a:lvl1pPr marL="228600" indent="-228600" algn="l" defTabSz="914400" rtl="0" eaLnBrk="1" latinLnBrk="0" hangingPunct="1">
              <a:lnSpc>
                <a:spcPct val="90000"/>
              </a:lnSpc>
              <a:spcBef>
                <a:spcPts val="1000"/>
              </a:spcBef>
              <a:buClr>
                <a:schemeClr val="accent1"/>
              </a:buClr>
              <a:buSzPct val="90000"/>
              <a:buFont typeface="Wingdings" charset="2"/>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Clr>
                <a:schemeClr val="accent6">
                  <a:lumMod val="75000"/>
                </a:schemeClr>
              </a:buClr>
              <a:buSzPct val="80000"/>
              <a:buFont typeface="Arial" charset="0"/>
              <a:buChar char="•"/>
              <a:defRPr sz="22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accent1"/>
              </a:buClr>
              <a:buSzPct val="70000"/>
              <a:buFont typeface="Wingdings" charset="2"/>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accent6">
                  <a:lumMod val="75000"/>
                </a:schemeClr>
              </a:buClr>
              <a:buSzPct val="70000"/>
              <a:buFont typeface="Arial"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accent5"/>
              </a:buClr>
              <a:buSzPct val="60000"/>
              <a:buFont typeface="Wingdings" charset="2"/>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
                <a:srgbClr val="00AEB5"/>
              </a:buClr>
              <a:buSzPct val="90000"/>
              <a:buFont typeface="Wingdings" charset="2"/>
              <a:buNone/>
              <a:tabLst/>
              <a:defRPr/>
            </a:pPr>
            <a:r>
              <a:rPr kumimoji="0" lang="en-US" sz="1600" b="0" i="0" u="none" strike="noStrike" kern="1200" cap="none" spc="0" normalizeH="0" baseline="0" noProof="0" dirty="0">
                <a:ln>
                  <a:noFill/>
                </a:ln>
                <a:solidFill>
                  <a:srgbClr val="FFFFFF"/>
                </a:solidFill>
                <a:effectLst/>
                <a:uLnTx/>
                <a:uFillTx/>
                <a:latin typeface="Calibri" panose="020F0502020204030204"/>
                <a:ea typeface="+mn-ea"/>
                <a:cs typeface="+mn-cs"/>
                <a:sym typeface="+mn-lt"/>
              </a:rPr>
              <a:t>2.1</a:t>
            </a:r>
          </a:p>
        </p:txBody>
      </p:sp>
      <p:sp>
        <p:nvSpPr>
          <p:cNvPr id="53" name="Text Placeholder 2"/>
          <p:cNvSpPr>
            <a:spLocks noGrp="1"/>
          </p:cNvSpPr>
          <p:nvPr>
            <p:custDataLst>
              <p:tags r:id="rId6"/>
            </p:custDataLst>
          </p:nvPr>
        </p:nvSpPr>
        <p:spPr bwMode="gray">
          <a:xfrm>
            <a:off x="3728812" y="2074631"/>
            <a:ext cx="274320" cy="219075"/>
          </a:xfrm>
          <a:prstGeom prst="rect">
            <a:avLst/>
          </a:prstGeom>
          <a:solidFill>
            <a:srgbClr val="9DB1CF"/>
          </a:solidFill>
          <a:ln>
            <a:noFill/>
          </a:ln>
        </p:spPr>
        <p:txBody>
          <a:bodyPr vert="horz" wrap="none" lIns="28575" tIns="0" rIns="28575" bIns="0" numCol="1" spcCol="0" rtlCol="0" anchor="ctr" anchorCtr="0">
            <a:noAutofit/>
          </a:bodyPr>
          <a:lstStyle>
            <a:lvl1pPr marL="228600" indent="-228600" algn="l" defTabSz="914400" rtl="0" eaLnBrk="1" latinLnBrk="0" hangingPunct="1">
              <a:lnSpc>
                <a:spcPct val="90000"/>
              </a:lnSpc>
              <a:spcBef>
                <a:spcPts val="1000"/>
              </a:spcBef>
              <a:buClr>
                <a:schemeClr val="accent1"/>
              </a:buClr>
              <a:buSzPct val="90000"/>
              <a:buFont typeface="Wingdings" charset="2"/>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Clr>
                <a:schemeClr val="accent6">
                  <a:lumMod val="75000"/>
                </a:schemeClr>
              </a:buClr>
              <a:buSzPct val="80000"/>
              <a:buFont typeface="Arial" charset="0"/>
              <a:buChar char="•"/>
              <a:defRPr sz="22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accent1"/>
              </a:buClr>
              <a:buSzPct val="70000"/>
              <a:buFont typeface="Wingdings" charset="2"/>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accent6">
                  <a:lumMod val="75000"/>
                </a:schemeClr>
              </a:buClr>
              <a:buSzPct val="70000"/>
              <a:buFont typeface="Arial"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accent5"/>
              </a:buClr>
              <a:buSzPct val="60000"/>
              <a:buFont typeface="Wingdings" charset="2"/>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
                <a:srgbClr val="00AEB5"/>
              </a:buClr>
              <a:buSzPct val="90000"/>
              <a:buFont typeface="Wingdings" charset="2"/>
              <a:buNone/>
              <a:tabLst/>
              <a:defRPr/>
            </a:pPr>
            <a:r>
              <a:rPr lang="en-US" altLang="en-US" sz="1600" dirty="0">
                <a:solidFill>
                  <a:srgbClr val="33363E"/>
                </a:solidFill>
                <a:latin typeface="Calibri" panose="020F0502020204030204"/>
                <a:sym typeface="+mn-lt"/>
              </a:rPr>
              <a:t>1</a:t>
            </a:r>
            <a:r>
              <a:rPr kumimoji="0" lang="en-US" altLang="en-US" sz="1600" b="0" i="0" u="none" strike="noStrike" kern="1200" cap="none" spc="0" normalizeH="0" baseline="0" noProof="0" dirty="0">
                <a:ln>
                  <a:noFill/>
                </a:ln>
                <a:solidFill>
                  <a:srgbClr val="33363E"/>
                </a:solidFill>
                <a:effectLst/>
                <a:uLnTx/>
                <a:uFillTx/>
                <a:latin typeface="Calibri" panose="020F0502020204030204"/>
                <a:ea typeface="+mn-ea"/>
                <a:cs typeface="+mn-cs"/>
                <a:sym typeface="+mn-lt"/>
              </a:rPr>
              <a:t>.2</a:t>
            </a:r>
            <a:endParaRPr kumimoji="0" lang="en-US" sz="1600" b="0" i="0" u="none" strike="noStrike" kern="1200" cap="none" spc="0" normalizeH="0" baseline="0" noProof="0" dirty="0">
              <a:ln>
                <a:noFill/>
              </a:ln>
              <a:solidFill>
                <a:srgbClr val="33363E"/>
              </a:solidFill>
              <a:effectLst/>
              <a:uLnTx/>
              <a:uFillTx/>
              <a:latin typeface="Calibri" panose="020F0502020204030204"/>
              <a:ea typeface="+mn-ea"/>
              <a:cs typeface="+mn-cs"/>
              <a:sym typeface="+mn-lt"/>
            </a:endParaRPr>
          </a:p>
        </p:txBody>
      </p:sp>
      <p:sp>
        <p:nvSpPr>
          <p:cNvPr id="64" name="Text Placeholder 2"/>
          <p:cNvSpPr>
            <a:spLocks noGrp="1"/>
          </p:cNvSpPr>
          <p:nvPr>
            <p:custDataLst>
              <p:tags r:id="rId7"/>
            </p:custDataLst>
          </p:nvPr>
        </p:nvSpPr>
        <p:spPr bwMode="auto">
          <a:xfrm>
            <a:off x="3191763" y="5800602"/>
            <a:ext cx="1285875" cy="2190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Clr>
                <a:schemeClr val="accent1"/>
              </a:buClr>
              <a:buSzPct val="90000"/>
              <a:buFont typeface="Wingdings" charset="2"/>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Clr>
                <a:schemeClr val="accent6">
                  <a:lumMod val="75000"/>
                </a:schemeClr>
              </a:buClr>
              <a:buSzPct val="80000"/>
              <a:buFont typeface="Arial" charset="0"/>
              <a:buChar char="•"/>
              <a:defRPr sz="22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accent1"/>
              </a:buClr>
              <a:buSzPct val="70000"/>
              <a:buFont typeface="Wingdings" charset="2"/>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accent6">
                  <a:lumMod val="75000"/>
                </a:schemeClr>
              </a:buClr>
              <a:buSzPct val="70000"/>
              <a:buFont typeface="Arial"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accent5"/>
              </a:buClr>
              <a:buSzPct val="60000"/>
              <a:buFont typeface="Wingdings" charset="2"/>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
                <a:srgbClr val="00AEB5"/>
              </a:buClr>
              <a:buSzPct val="90000"/>
              <a:buFont typeface="Wingdings" charset="2"/>
              <a:buNone/>
              <a:tabLst/>
              <a:defRPr/>
            </a:pPr>
            <a:fld id="{7CC5D5E8-C7F4-46A0-A284-CDAB9E39F04D}" type="datetime'''''''''B''''a''''''se''li''n''''''''e ''(n''''=5''''8'')'''''">
              <a:rPr kumimoji="0" lang="en-US" altLang="en-US" sz="1600" b="0" i="0" u="none" strike="noStrike" kern="1200" cap="none" spc="0" normalizeH="0" baseline="0" noProof="0" smtClean="0">
                <a:ln>
                  <a:noFill/>
                </a:ln>
                <a:solidFill>
                  <a:srgbClr val="33363E"/>
                </a:solidFill>
                <a:effectLst/>
                <a:uLnTx/>
                <a:uFillTx/>
                <a:latin typeface="Calibri" panose="020F0502020204030204"/>
                <a:ea typeface="+mn-ea"/>
                <a:cs typeface="+mn-cs"/>
              </a:rPr>
              <a:pPr marL="0" marR="0" lvl="0" indent="0" algn="ctr" defTabSz="914400" rtl="0" eaLnBrk="1" fontAlgn="auto" latinLnBrk="0" hangingPunct="1">
                <a:lnSpc>
                  <a:spcPct val="90000"/>
                </a:lnSpc>
                <a:spcBef>
                  <a:spcPct val="0"/>
                </a:spcBef>
                <a:spcAft>
                  <a:spcPct val="0"/>
                </a:spcAft>
                <a:buClr>
                  <a:srgbClr val="00AEB5"/>
                </a:buClr>
                <a:buSzPct val="90000"/>
                <a:buFont typeface="Wingdings" charset="2"/>
                <a:buNone/>
                <a:tabLst/>
                <a:defRPr/>
              </a:pPr>
              <a:t>Baseline (n=58)</a:t>
            </a:fld>
            <a:endParaRPr kumimoji="0" lang="en-US" sz="1600" b="0" i="0" u="none" strike="noStrike" kern="1200" cap="none" spc="0" normalizeH="0" baseline="0" noProof="0" dirty="0">
              <a:ln>
                <a:noFill/>
              </a:ln>
              <a:solidFill>
                <a:srgbClr val="33363E"/>
              </a:solidFill>
              <a:effectLst/>
              <a:uLnTx/>
              <a:uFillTx/>
              <a:latin typeface="Calibri" panose="020F0502020204030204"/>
              <a:ea typeface="+mn-ea"/>
              <a:cs typeface="+mn-cs"/>
              <a:sym typeface="+mn-lt"/>
            </a:endParaRPr>
          </a:p>
        </p:txBody>
      </p:sp>
      <p:sp>
        <p:nvSpPr>
          <p:cNvPr id="65" name="Text Placeholder 2"/>
          <p:cNvSpPr>
            <a:spLocks noGrp="1"/>
          </p:cNvSpPr>
          <p:nvPr>
            <p:custDataLst>
              <p:tags r:id="rId8"/>
            </p:custDataLst>
          </p:nvPr>
        </p:nvSpPr>
        <p:spPr bwMode="gray">
          <a:xfrm>
            <a:off x="6032150" y="5075013"/>
            <a:ext cx="274320" cy="219075"/>
          </a:xfrm>
          <a:prstGeom prst="rect">
            <a:avLst/>
          </a:prstGeom>
          <a:solidFill>
            <a:srgbClr val="9DB1CF"/>
          </a:solidFill>
          <a:ln>
            <a:noFill/>
          </a:ln>
        </p:spPr>
        <p:txBody>
          <a:bodyPr vert="horz" wrap="none" lIns="28575" tIns="0" rIns="28575" bIns="0" numCol="1" spcCol="0" rtlCol="0" anchor="ctr" anchorCtr="0">
            <a:noAutofit/>
          </a:bodyPr>
          <a:lstStyle>
            <a:lvl1pPr marL="228600" indent="-228600" algn="l" defTabSz="914400" rtl="0" eaLnBrk="1" latinLnBrk="0" hangingPunct="1">
              <a:lnSpc>
                <a:spcPct val="90000"/>
              </a:lnSpc>
              <a:spcBef>
                <a:spcPts val="1000"/>
              </a:spcBef>
              <a:buClr>
                <a:schemeClr val="accent1"/>
              </a:buClr>
              <a:buSzPct val="90000"/>
              <a:buFont typeface="Wingdings" charset="2"/>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Clr>
                <a:schemeClr val="accent6">
                  <a:lumMod val="75000"/>
                </a:schemeClr>
              </a:buClr>
              <a:buSzPct val="80000"/>
              <a:buFont typeface="Arial" charset="0"/>
              <a:buChar char="•"/>
              <a:defRPr sz="22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accent1"/>
              </a:buClr>
              <a:buSzPct val="70000"/>
              <a:buFont typeface="Wingdings" charset="2"/>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accent6">
                  <a:lumMod val="75000"/>
                </a:schemeClr>
              </a:buClr>
              <a:buSzPct val="70000"/>
              <a:buFont typeface="Arial"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accent5"/>
              </a:buClr>
              <a:buSzPct val="60000"/>
              <a:buFont typeface="Wingdings" charset="2"/>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
                <a:srgbClr val="00AEB5"/>
              </a:buClr>
              <a:buSzPct val="90000"/>
              <a:buFont typeface="Wingdings" charset="2"/>
              <a:buNone/>
              <a:tabLst/>
              <a:defRPr/>
            </a:pPr>
            <a:r>
              <a:rPr lang="en-US" sz="1600" dirty="0">
                <a:solidFill>
                  <a:srgbClr val="33363E"/>
                </a:solidFill>
                <a:latin typeface="Calibri" panose="020F0502020204030204"/>
                <a:sym typeface="+mn-lt"/>
              </a:rPr>
              <a:t>0.0</a:t>
            </a:r>
            <a:endParaRPr kumimoji="0" lang="en-US" sz="1600" b="0" i="0" u="none" strike="noStrike" kern="1200" cap="none" spc="0" normalizeH="0" baseline="0" noProof="0" dirty="0">
              <a:ln>
                <a:noFill/>
              </a:ln>
              <a:solidFill>
                <a:srgbClr val="33363E"/>
              </a:solidFill>
              <a:effectLst/>
              <a:uLnTx/>
              <a:uFillTx/>
              <a:latin typeface="Calibri" panose="020F0502020204030204"/>
              <a:ea typeface="+mn-ea"/>
              <a:cs typeface="+mn-cs"/>
              <a:sym typeface="+mn-lt"/>
            </a:endParaRPr>
          </a:p>
        </p:txBody>
      </p:sp>
      <p:sp>
        <p:nvSpPr>
          <p:cNvPr id="66" name="Text Placeholder 2"/>
          <p:cNvSpPr>
            <a:spLocks noGrp="1"/>
          </p:cNvSpPr>
          <p:nvPr>
            <p:custDataLst>
              <p:tags r:id="rId9"/>
            </p:custDataLst>
          </p:nvPr>
        </p:nvSpPr>
        <p:spPr bwMode="auto">
          <a:xfrm>
            <a:off x="5431725" y="5800602"/>
            <a:ext cx="1477963" cy="2190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Clr>
                <a:schemeClr val="accent1"/>
              </a:buClr>
              <a:buSzPct val="90000"/>
              <a:buFont typeface="Wingdings" charset="2"/>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Clr>
                <a:schemeClr val="accent6">
                  <a:lumMod val="75000"/>
                </a:schemeClr>
              </a:buClr>
              <a:buSzPct val="80000"/>
              <a:buFont typeface="Arial" charset="0"/>
              <a:buChar char="•"/>
              <a:defRPr sz="22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accent1"/>
              </a:buClr>
              <a:buSzPct val="70000"/>
              <a:buFont typeface="Wingdings" charset="2"/>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accent6">
                  <a:lumMod val="75000"/>
                </a:schemeClr>
              </a:buClr>
              <a:buSzPct val="70000"/>
              <a:buFont typeface="Arial"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accent5"/>
              </a:buClr>
              <a:buSzPct val="60000"/>
              <a:buFont typeface="Wingdings" charset="2"/>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
                <a:srgbClr val="00AEB5"/>
              </a:buClr>
              <a:buSzPct val="90000"/>
              <a:buFont typeface="Wingdings" charset="2"/>
              <a:buNone/>
              <a:tabLst/>
              <a:defRPr/>
            </a:pPr>
            <a:fld id="{CC8F5618-01D4-4DA7-9B72-BAC761C54694}" type="datetime'2''4'''''' ''mo''''nths'''''''''' (''''''''''n''=''4''''2'')'">
              <a:rPr kumimoji="0" lang="en-US" altLang="en-US" sz="1600" b="0" i="0" u="none" strike="noStrike" kern="1200" cap="none" spc="0" normalizeH="0" baseline="0" noProof="0" smtClean="0">
                <a:ln>
                  <a:noFill/>
                </a:ln>
                <a:solidFill>
                  <a:srgbClr val="33363E"/>
                </a:solidFill>
                <a:effectLst/>
                <a:uLnTx/>
                <a:uFillTx/>
                <a:latin typeface="Calibri" panose="020F0502020204030204"/>
                <a:ea typeface="+mn-ea"/>
                <a:cs typeface="+mn-cs"/>
              </a:rPr>
              <a:pPr marL="0" marR="0" lvl="0" indent="0" algn="ctr" defTabSz="914400" rtl="0" eaLnBrk="1" fontAlgn="auto" latinLnBrk="0" hangingPunct="1">
                <a:lnSpc>
                  <a:spcPct val="90000"/>
                </a:lnSpc>
                <a:spcBef>
                  <a:spcPct val="0"/>
                </a:spcBef>
                <a:spcAft>
                  <a:spcPct val="0"/>
                </a:spcAft>
                <a:buClr>
                  <a:srgbClr val="00AEB5"/>
                </a:buClr>
                <a:buSzPct val="90000"/>
                <a:buFont typeface="Wingdings" charset="2"/>
                <a:buNone/>
                <a:tabLst/>
                <a:defRPr/>
              </a:pPr>
              <a:t>24 months (n=42)</a:t>
            </a:fld>
            <a:endParaRPr kumimoji="0" lang="en-US" sz="1600" b="0" i="0" u="none" strike="noStrike" kern="1200" cap="none" spc="0" normalizeH="0" baseline="0" noProof="0" dirty="0">
              <a:ln>
                <a:noFill/>
              </a:ln>
              <a:solidFill>
                <a:srgbClr val="33363E"/>
              </a:solidFill>
              <a:effectLst/>
              <a:uLnTx/>
              <a:uFillTx/>
              <a:latin typeface="Calibri" panose="020F0502020204030204"/>
              <a:ea typeface="+mn-ea"/>
              <a:cs typeface="+mn-cs"/>
              <a:sym typeface="+mn-lt"/>
            </a:endParaRPr>
          </a:p>
        </p:txBody>
      </p:sp>
      <p:sp>
        <p:nvSpPr>
          <p:cNvPr id="68" name="Text Placeholder 2"/>
          <p:cNvSpPr>
            <a:spLocks noGrp="1"/>
          </p:cNvSpPr>
          <p:nvPr>
            <p:custDataLst>
              <p:tags r:id="rId10"/>
            </p:custDataLst>
          </p:nvPr>
        </p:nvSpPr>
        <p:spPr bwMode="gray">
          <a:xfrm>
            <a:off x="5588889" y="1168031"/>
            <a:ext cx="2456890" cy="520142"/>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8575" tIns="0" rIns="28575" bIns="0" numCol="1" spcCol="0" rtlCol="0" anchor="b" anchorCtr="0">
            <a:spAutoFit/>
          </a:bodyPr>
          <a:lstStyle>
            <a:lvl1pPr marL="228600" indent="-228600" algn="l" defTabSz="914400" rtl="0" eaLnBrk="1" latinLnBrk="0" hangingPunct="1">
              <a:lnSpc>
                <a:spcPct val="90000"/>
              </a:lnSpc>
              <a:spcBef>
                <a:spcPts val="1000"/>
              </a:spcBef>
              <a:buClr>
                <a:schemeClr val="accent1"/>
              </a:buClr>
              <a:buSzPct val="90000"/>
              <a:buFont typeface="Wingdings" charset="2"/>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Clr>
                <a:schemeClr val="accent6">
                  <a:lumMod val="75000"/>
                </a:schemeClr>
              </a:buClr>
              <a:buSzPct val="80000"/>
              <a:buFont typeface="Arial" charset="0"/>
              <a:buChar char="•"/>
              <a:defRPr sz="22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accent1"/>
              </a:buClr>
              <a:buSzPct val="70000"/>
              <a:buFont typeface="Wingdings" charset="2"/>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accent6">
                  <a:lumMod val="75000"/>
                </a:schemeClr>
              </a:buClr>
              <a:buSzPct val="70000"/>
              <a:buFont typeface="Arial"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accent5"/>
              </a:buClr>
              <a:buSzPct val="60000"/>
              <a:buFont typeface="Wingdings" charset="2"/>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defTabSz="914400" rtl="0" eaLnBrk="1" fontAlgn="auto" latinLnBrk="0" hangingPunct="1">
              <a:lnSpc>
                <a:spcPct val="90000"/>
              </a:lnSpc>
              <a:spcBef>
                <a:spcPts val="600"/>
              </a:spcBef>
              <a:spcAft>
                <a:spcPct val="0"/>
              </a:spcAft>
              <a:buClr>
                <a:srgbClr val="00AEB5"/>
              </a:buClr>
              <a:buSzPct val="90000"/>
              <a:buFont typeface="Wingdings" charset="2"/>
              <a:buNone/>
              <a:tabLst/>
              <a:defRPr/>
            </a:pPr>
            <a:r>
              <a:rPr lang="en-US" sz="1600" dirty="0">
                <a:solidFill>
                  <a:srgbClr val="33363E"/>
                </a:solidFill>
                <a:latin typeface="Calibri" panose="020F0502020204030204"/>
                <a:sym typeface="+mn-lt"/>
              </a:rPr>
              <a:t>Total AHI at baseline = </a:t>
            </a:r>
            <a:r>
              <a:rPr kumimoji="0" lang="en-US" sz="1600" b="0" i="0" u="none" strike="noStrike" kern="1200" cap="none" spc="0" normalizeH="0" baseline="0" noProof="0" dirty="0">
                <a:ln>
                  <a:noFill/>
                </a:ln>
                <a:solidFill>
                  <a:srgbClr val="33363E"/>
                </a:solidFill>
                <a:effectLst/>
                <a:uLnTx/>
                <a:uFillTx/>
                <a:latin typeface="Calibri" panose="020F0502020204030204"/>
                <a:ea typeface="+mn-ea"/>
                <a:cs typeface="+mn-cs"/>
                <a:sym typeface="+mn-lt"/>
              </a:rPr>
              <a:t>49*</a:t>
            </a:r>
          </a:p>
          <a:p>
            <a:pPr marL="0" marR="0" lvl="0" indent="0" defTabSz="914400" rtl="0" eaLnBrk="1" fontAlgn="auto" latinLnBrk="0" hangingPunct="1">
              <a:lnSpc>
                <a:spcPct val="90000"/>
              </a:lnSpc>
              <a:spcBef>
                <a:spcPts val="600"/>
              </a:spcBef>
              <a:spcAft>
                <a:spcPct val="0"/>
              </a:spcAft>
              <a:buClr>
                <a:srgbClr val="00AEB5"/>
              </a:buClr>
              <a:buSzPct val="90000"/>
              <a:buFont typeface="Wingdings" charset="2"/>
              <a:buNone/>
              <a:tabLst/>
              <a:defRPr/>
            </a:pPr>
            <a:r>
              <a:rPr lang="en-US" sz="1600" dirty="0">
                <a:solidFill>
                  <a:srgbClr val="33363E"/>
                </a:solidFill>
                <a:latin typeface="Calibri" panose="020F0502020204030204"/>
                <a:sym typeface="+mn-lt"/>
              </a:rPr>
              <a:t>Total AHI at 24 months = 16*</a:t>
            </a:r>
            <a:endParaRPr kumimoji="0" lang="en-US" sz="1600" b="0" i="0" u="none" strike="noStrike" kern="1200" cap="none" spc="0" normalizeH="0" baseline="0" noProof="0" dirty="0">
              <a:ln>
                <a:noFill/>
              </a:ln>
              <a:solidFill>
                <a:srgbClr val="33363E"/>
              </a:solidFill>
              <a:effectLst/>
              <a:uLnTx/>
              <a:uFillTx/>
              <a:latin typeface="Calibri" panose="020F0502020204030204"/>
              <a:ea typeface="+mn-ea"/>
              <a:cs typeface="+mn-cs"/>
              <a:sym typeface="+mn-lt"/>
            </a:endParaRPr>
          </a:p>
        </p:txBody>
      </p:sp>
      <p:sp>
        <p:nvSpPr>
          <p:cNvPr id="69" name="TextBox 68"/>
          <p:cNvSpPr txBox="1"/>
          <p:nvPr/>
        </p:nvSpPr>
        <p:spPr>
          <a:xfrm>
            <a:off x="2271014" y="1031100"/>
            <a:ext cx="3127375" cy="58420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33363E"/>
                </a:solidFill>
                <a:effectLst/>
                <a:uLnTx/>
                <a:uFillTx/>
                <a:latin typeface="Calibri" panose="020F0502020204030204"/>
                <a:ea typeface="+mn-ea"/>
                <a:cs typeface="+mn-cs"/>
              </a:rPr>
              <a:t>rem</a:t>
            </a:r>
            <a:r>
              <a:rPr kumimoji="0" lang="en-US" sz="1600" b="0" i="0" u="none" strike="noStrike" kern="1200" cap="none" spc="0" normalizeH="0" baseline="0" noProof="0" dirty="0">
                <a:ln>
                  <a:noFill/>
                </a:ln>
                <a:solidFill>
                  <a:srgbClr val="33363E"/>
                </a:solidFill>
                <a:effectLst/>
                <a:uLnTx/>
                <a:uFillTx/>
                <a:latin typeface="Calibri" panose="020F0502020204030204"/>
                <a:ea typeface="+mn-ea"/>
                <a:cs typeface="+mn-cs"/>
              </a:rPr>
              <a:t>edē </a:t>
            </a:r>
            <a:r>
              <a:rPr kumimoji="0" lang="en-US" sz="1600" b="1" i="0" u="none" strike="noStrike" kern="1200" cap="none" spc="0" normalizeH="0" baseline="0" noProof="0" dirty="0">
                <a:ln>
                  <a:noFill/>
                </a:ln>
                <a:solidFill>
                  <a:srgbClr val="33363E"/>
                </a:solidFill>
                <a:effectLst/>
                <a:uLnTx/>
                <a:uFillTx/>
                <a:latin typeface="Calibri" panose="020F0502020204030204"/>
                <a:ea typeface="+mn-ea"/>
                <a:cs typeface="+mn-cs"/>
              </a:rPr>
              <a:t>AHI reduction</a:t>
            </a:r>
            <a:r>
              <a:rPr kumimoji="0" lang="en-US" sz="1600" b="1" i="0" u="none" strike="noStrike" kern="1200" cap="none" spc="0" normalizeH="0" baseline="30000" noProof="0" dirty="0">
                <a:ln>
                  <a:noFill/>
                </a:ln>
                <a:solidFill>
                  <a:srgbClr val="33363E"/>
                </a:solidFill>
                <a:effectLst/>
                <a:uLnTx/>
                <a:uFillTx/>
                <a:latin typeface="Calibri" panose="020F0502020204030204"/>
                <a:ea typeface="+mn-ea"/>
                <a:cs typeface="+mn-cs"/>
              </a:rPr>
              <a:t> 1</a:t>
            </a:r>
            <a:endParaRPr kumimoji="0" lang="en-US" sz="1600" b="1" i="0" u="none" strike="noStrike" kern="1200" cap="none" spc="0" normalizeH="0" baseline="0" noProof="0" dirty="0">
              <a:ln>
                <a:noFill/>
              </a:ln>
              <a:solidFill>
                <a:srgbClr val="33363E"/>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chemeClr val="tx2"/>
                </a:solidFill>
                <a:effectLst/>
                <a:uLnTx/>
                <a:uFillTx/>
                <a:latin typeface="Calibri" panose="020F0502020204030204"/>
                <a:ea typeface="+mn-ea"/>
                <a:cs typeface="+mn-cs"/>
              </a:rPr>
              <a:t>Median events/</a:t>
            </a:r>
            <a:r>
              <a:rPr kumimoji="0" lang="en-US" sz="1600" b="0" i="0" u="none" strike="noStrike" kern="1200" cap="none" spc="0" normalizeH="0" baseline="0" noProof="0" dirty="0" err="1">
                <a:ln>
                  <a:noFill/>
                </a:ln>
                <a:solidFill>
                  <a:schemeClr val="tx2"/>
                </a:solidFill>
                <a:effectLst/>
                <a:uLnTx/>
                <a:uFillTx/>
                <a:latin typeface="Calibri" panose="020F0502020204030204"/>
                <a:ea typeface="+mn-ea"/>
                <a:cs typeface="+mn-cs"/>
              </a:rPr>
              <a:t>hr</a:t>
            </a:r>
            <a:endParaRPr kumimoji="0" lang="en-US" sz="1600" b="0" i="0" u="none" strike="noStrike" kern="1200" cap="none" spc="0" normalizeH="0" baseline="30000" noProof="0" dirty="0">
              <a:ln>
                <a:noFill/>
              </a:ln>
              <a:solidFill>
                <a:schemeClr val="tx2"/>
              </a:solidFill>
              <a:effectLst/>
              <a:uLnTx/>
              <a:uFillTx/>
              <a:latin typeface="Calibri" panose="020F0502020204030204"/>
              <a:ea typeface="+mn-ea"/>
              <a:cs typeface="+mn-cs"/>
            </a:endParaRPr>
          </a:p>
        </p:txBody>
      </p:sp>
      <p:cxnSp>
        <p:nvCxnSpPr>
          <p:cNvPr id="70" name="Straight Connector 69"/>
          <p:cNvCxnSpPr/>
          <p:nvPr/>
        </p:nvCxnSpPr>
        <p:spPr>
          <a:xfrm>
            <a:off x="2368045" y="1562051"/>
            <a:ext cx="3030344" cy="0"/>
          </a:xfrm>
          <a:prstGeom prst="line">
            <a:avLst/>
          </a:prstGeom>
        </p:spPr>
        <p:style>
          <a:lnRef idx="1">
            <a:schemeClr val="dk1"/>
          </a:lnRef>
          <a:fillRef idx="0">
            <a:schemeClr val="dk1"/>
          </a:fillRef>
          <a:effectRef idx="0">
            <a:schemeClr val="dk1"/>
          </a:effectRef>
          <a:fontRef idx="minor">
            <a:schemeClr val="tx1"/>
          </a:fontRef>
        </p:style>
      </p:cxnSp>
      <p:cxnSp>
        <p:nvCxnSpPr>
          <p:cNvPr id="125" name="Straight Arrow Connector 124"/>
          <p:cNvCxnSpPr/>
          <p:nvPr/>
        </p:nvCxnSpPr>
        <p:spPr>
          <a:xfrm>
            <a:off x="4546925" y="1857326"/>
            <a:ext cx="1233258" cy="2894384"/>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26" name="Oval 125"/>
          <p:cNvSpPr/>
          <p:nvPr/>
        </p:nvSpPr>
        <p:spPr>
          <a:xfrm>
            <a:off x="5267941" y="3094731"/>
            <a:ext cx="641896" cy="290513"/>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27" name="TextBox 126"/>
          <p:cNvSpPr txBox="1"/>
          <p:nvPr/>
        </p:nvSpPr>
        <p:spPr>
          <a:xfrm>
            <a:off x="5185871" y="3045259"/>
            <a:ext cx="768782" cy="33813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33363E"/>
                </a:solidFill>
                <a:effectLst/>
                <a:uLnTx/>
                <a:uFillTx/>
                <a:latin typeface="Calibri" panose="020F0502020204030204"/>
                <a:ea typeface="+mn-ea"/>
                <a:cs typeface="+mn-cs"/>
              </a:rPr>
              <a:t>-67%</a:t>
            </a:r>
            <a:endParaRPr kumimoji="0" lang="en-US" sz="1600" b="1" i="0" u="none" strike="noStrike" kern="1200" cap="none" spc="0" normalizeH="0" baseline="0" noProof="0" dirty="0">
              <a:ln>
                <a:noFill/>
              </a:ln>
              <a:solidFill>
                <a:srgbClr val="636A78">
                  <a:lumMod val="60000"/>
                  <a:lumOff val="40000"/>
                </a:srgbClr>
              </a:solidFill>
              <a:effectLst/>
              <a:uLnTx/>
              <a:uFillTx/>
              <a:latin typeface="Calibri" panose="020F0502020204030204"/>
              <a:ea typeface="+mn-ea"/>
              <a:cs typeface="+mn-cs"/>
            </a:endParaRPr>
          </a:p>
        </p:txBody>
      </p:sp>
      <p:sp>
        <p:nvSpPr>
          <p:cNvPr id="14" name="Rectangle 13"/>
          <p:cNvSpPr/>
          <p:nvPr>
            <p:custDataLst>
              <p:tags r:id="rId11"/>
            </p:custDataLst>
          </p:nvPr>
        </p:nvSpPr>
        <p:spPr bwMode="auto">
          <a:xfrm>
            <a:off x="9257038" y="2305461"/>
            <a:ext cx="285750" cy="214313"/>
          </a:xfrm>
          <a:prstGeom prst="rect">
            <a:avLst/>
          </a:prstGeom>
          <a:solidFill>
            <a:srgbClr val="808080"/>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3" name="Rectangle 12"/>
          <p:cNvSpPr/>
          <p:nvPr>
            <p:custDataLst>
              <p:tags r:id="rId12"/>
            </p:custDataLst>
          </p:nvPr>
        </p:nvSpPr>
        <p:spPr bwMode="auto">
          <a:xfrm>
            <a:off x="9257038" y="1765711"/>
            <a:ext cx="285750" cy="214313"/>
          </a:xfrm>
          <a:prstGeom prst="rect">
            <a:avLst/>
          </a:prstGeom>
          <a:solidFill>
            <a:schemeClr val="accent1"/>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6" name="Rectangle 5"/>
          <p:cNvSpPr/>
          <p:nvPr>
            <p:custDataLst>
              <p:tags r:id="rId13"/>
            </p:custDataLst>
          </p:nvPr>
        </p:nvSpPr>
        <p:spPr bwMode="auto">
          <a:xfrm>
            <a:off x="9257038" y="2035586"/>
            <a:ext cx="285750" cy="214313"/>
          </a:xfrm>
          <a:prstGeom prst="rect">
            <a:avLst/>
          </a:prstGeom>
          <a:solidFill>
            <a:srgbClr val="9DB1CF"/>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5" name="Rectangle 14"/>
          <p:cNvSpPr/>
          <p:nvPr>
            <p:custDataLst>
              <p:tags r:id="rId14"/>
            </p:custDataLst>
          </p:nvPr>
        </p:nvSpPr>
        <p:spPr bwMode="auto">
          <a:xfrm>
            <a:off x="9257038" y="2575336"/>
            <a:ext cx="285750" cy="214313"/>
          </a:xfrm>
          <a:prstGeom prst="rect">
            <a:avLst/>
          </a:prstGeom>
          <a:solidFill>
            <a:schemeClr val="accent2"/>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51" name="Text Placeholder 2"/>
          <p:cNvSpPr>
            <a:spLocks noGrp="1"/>
          </p:cNvSpPr>
          <p:nvPr>
            <p:custDataLst>
              <p:tags r:id="rId15"/>
            </p:custDataLst>
          </p:nvPr>
        </p:nvSpPr>
        <p:spPr bwMode="auto">
          <a:xfrm>
            <a:off x="9593588" y="1759361"/>
            <a:ext cx="1509713" cy="2190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Clr>
                <a:schemeClr val="accent1"/>
              </a:buClr>
              <a:buSzPct val="90000"/>
              <a:buFont typeface="Wingdings" charset="2"/>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Clr>
                <a:schemeClr val="accent6">
                  <a:lumMod val="75000"/>
                </a:schemeClr>
              </a:buClr>
              <a:buSzPct val="80000"/>
              <a:buFont typeface="Arial" charset="0"/>
              <a:buChar char="•"/>
              <a:defRPr sz="22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accent1"/>
              </a:buClr>
              <a:buSzPct val="70000"/>
              <a:buFont typeface="Wingdings" charset="2"/>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accent6">
                  <a:lumMod val="75000"/>
                </a:schemeClr>
              </a:buClr>
              <a:buSzPct val="70000"/>
              <a:buFont typeface="Arial"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accent5"/>
              </a:buClr>
              <a:buSzPct val="60000"/>
              <a:buFont typeface="Wingdings" charset="2"/>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0"/>
              </a:spcBef>
              <a:spcAft>
                <a:spcPct val="0"/>
              </a:spcAft>
              <a:buClr>
                <a:srgbClr val="00AEB5"/>
              </a:buClr>
              <a:buSzPct val="90000"/>
              <a:buFont typeface="Wingdings" charset="2"/>
              <a:buNone/>
              <a:tabLst/>
              <a:defRPr/>
            </a:pPr>
            <a:fld id="{D1CFB5B4-4D02-4449-8CAC-F5AEACAF9172}" type="datetime'''Ob''''''s''''''t''r''uc''''t''''iv''e'' a''p''''''ne''a'''''">
              <a:rPr kumimoji="0" lang="en-US" altLang="en-US" sz="1600" b="0" i="0" u="none" strike="noStrike" kern="1200" cap="none" spc="0" normalizeH="0" baseline="0" noProof="0" smtClean="0">
                <a:ln>
                  <a:noFill/>
                </a:ln>
                <a:solidFill>
                  <a:srgbClr val="33363E"/>
                </a:solidFill>
                <a:effectLst/>
                <a:uLnTx/>
                <a:uFillTx/>
                <a:latin typeface="Calibri" panose="020F0502020204030204"/>
                <a:ea typeface="+mn-ea"/>
                <a:cs typeface="+mn-cs"/>
              </a:rPr>
              <a:pPr marL="0" marR="0" lvl="0" indent="0" algn="l" defTabSz="914400" rtl="0" eaLnBrk="1" fontAlgn="auto" latinLnBrk="0" hangingPunct="1">
                <a:lnSpc>
                  <a:spcPct val="90000"/>
                </a:lnSpc>
                <a:spcBef>
                  <a:spcPct val="0"/>
                </a:spcBef>
                <a:spcAft>
                  <a:spcPct val="0"/>
                </a:spcAft>
                <a:buClr>
                  <a:srgbClr val="00AEB5"/>
                </a:buClr>
                <a:buSzPct val="90000"/>
                <a:buFont typeface="Wingdings" charset="2"/>
                <a:buNone/>
                <a:tabLst/>
                <a:defRPr/>
              </a:pPr>
              <a:t>Obstructive apnea</a:t>
            </a:fld>
            <a:endParaRPr kumimoji="0" lang="en-US" sz="1600" b="0" i="0" u="none" strike="noStrike" kern="1200" cap="none" spc="0" normalizeH="0" baseline="0" noProof="0" dirty="0">
              <a:ln>
                <a:noFill/>
              </a:ln>
              <a:solidFill>
                <a:srgbClr val="33363E"/>
              </a:solidFill>
              <a:effectLst/>
              <a:uLnTx/>
              <a:uFillTx/>
              <a:latin typeface="Calibri" panose="020F0502020204030204"/>
              <a:ea typeface="+mn-ea"/>
              <a:cs typeface="+mn-cs"/>
              <a:sym typeface="+mn-lt"/>
            </a:endParaRPr>
          </a:p>
        </p:txBody>
      </p:sp>
      <p:sp>
        <p:nvSpPr>
          <p:cNvPr id="52" name="Text Placeholder 2"/>
          <p:cNvSpPr>
            <a:spLocks noGrp="1"/>
          </p:cNvSpPr>
          <p:nvPr>
            <p:custDataLst>
              <p:tags r:id="rId16"/>
            </p:custDataLst>
          </p:nvPr>
        </p:nvSpPr>
        <p:spPr bwMode="auto">
          <a:xfrm>
            <a:off x="9593588" y="2568986"/>
            <a:ext cx="1146175" cy="2190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Clr>
                <a:schemeClr val="accent1"/>
              </a:buClr>
              <a:buSzPct val="90000"/>
              <a:buFont typeface="Wingdings" charset="2"/>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Clr>
                <a:schemeClr val="accent6">
                  <a:lumMod val="75000"/>
                </a:schemeClr>
              </a:buClr>
              <a:buSzPct val="80000"/>
              <a:buFont typeface="Arial" charset="0"/>
              <a:buChar char="•"/>
              <a:defRPr sz="22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accent1"/>
              </a:buClr>
              <a:buSzPct val="70000"/>
              <a:buFont typeface="Wingdings" charset="2"/>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accent6">
                  <a:lumMod val="75000"/>
                </a:schemeClr>
              </a:buClr>
              <a:buSzPct val="70000"/>
              <a:buFont typeface="Arial"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accent5"/>
              </a:buClr>
              <a:buSzPct val="60000"/>
              <a:buFont typeface="Wingdings" charset="2"/>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0"/>
              </a:spcBef>
              <a:spcAft>
                <a:spcPct val="0"/>
              </a:spcAft>
              <a:buClr>
                <a:srgbClr val="00AEB5"/>
              </a:buClr>
              <a:buSzPct val="90000"/>
              <a:buFont typeface="Wingdings" charset="2"/>
              <a:buNone/>
              <a:tabLst/>
              <a:defRPr/>
            </a:pPr>
            <a:fld id="{E7788752-10BB-48D2-9C52-811263F85B5E}" type="datetime'''Ce''n''''tr''''a''''l ''''''''''''''''''''''a''''''pnea'''">
              <a:rPr kumimoji="0" lang="en-US" altLang="en-US" sz="1600" b="0" i="0" u="none" strike="noStrike" kern="1200" cap="none" spc="0" normalizeH="0" baseline="0" noProof="0" smtClean="0">
                <a:ln>
                  <a:noFill/>
                </a:ln>
                <a:solidFill>
                  <a:srgbClr val="33363E"/>
                </a:solidFill>
                <a:effectLst/>
                <a:uLnTx/>
                <a:uFillTx/>
                <a:latin typeface="Calibri" panose="020F0502020204030204"/>
                <a:ea typeface="+mn-ea"/>
                <a:cs typeface="+mn-cs"/>
              </a:rPr>
              <a:pPr marL="0" marR="0" lvl="0" indent="0" algn="l" defTabSz="914400" rtl="0" eaLnBrk="1" fontAlgn="auto" latinLnBrk="0" hangingPunct="1">
                <a:lnSpc>
                  <a:spcPct val="90000"/>
                </a:lnSpc>
                <a:spcBef>
                  <a:spcPct val="0"/>
                </a:spcBef>
                <a:spcAft>
                  <a:spcPct val="0"/>
                </a:spcAft>
                <a:buClr>
                  <a:srgbClr val="00AEB5"/>
                </a:buClr>
                <a:buSzPct val="90000"/>
                <a:buFont typeface="Wingdings" charset="2"/>
                <a:buNone/>
                <a:tabLst/>
                <a:defRPr/>
              </a:pPr>
              <a:t>Central apnea</a:t>
            </a:fld>
            <a:endParaRPr kumimoji="0" lang="en-US" sz="1600" b="0" i="0" u="none" strike="noStrike" kern="1200" cap="none" spc="0" normalizeH="0" baseline="0" noProof="0" dirty="0">
              <a:ln>
                <a:noFill/>
              </a:ln>
              <a:solidFill>
                <a:srgbClr val="33363E"/>
              </a:solidFill>
              <a:effectLst/>
              <a:uLnTx/>
              <a:uFillTx/>
              <a:latin typeface="Calibri" panose="020F0502020204030204"/>
              <a:ea typeface="+mn-ea"/>
              <a:cs typeface="+mn-cs"/>
              <a:sym typeface="+mn-lt"/>
            </a:endParaRPr>
          </a:p>
        </p:txBody>
      </p:sp>
      <p:sp>
        <p:nvSpPr>
          <p:cNvPr id="56" name="Text Placeholder 2"/>
          <p:cNvSpPr>
            <a:spLocks noGrp="1"/>
          </p:cNvSpPr>
          <p:nvPr>
            <p:custDataLst>
              <p:tags r:id="rId17"/>
            </p:custDataLst>
          </p:nvPr>
        </p:nvSpPr>
        <p:spPr bwMode="auto">
          <a:xfrm>
            <a:off x="9593588" y="2029236"/>
            <a:ext cx="1063625" cy="2190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Clr>
                <a:schemeClr val="accent1"/>
              </a:buClr>
              <a:buSzPct val="90000"/>
              <a:buFont typeface="Wingdings" charset="2"/>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Clr>
                <a:schemeClr val="accent6">
                  <a:lumMod val="75000"/>
                </a:schemeClr>
              </a:buClr>
              <a:buSzPct val="80000"/>
              <a:buFont typeface="Arial" charset="0"/>
              <a:buChar char="•"/>
              <a:defRPr sz="22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accent1"/>
              </a:buClr>
              <a:buSzPct val="70000"/>
              <a:buFont typeface="Wingdings" charset="2"/>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accent6">
                  <a:lumMod val="75000"/>
                </a:schemeClr>
              </a:buClr>
              <a:buSzPct val="70000"/>
              <a:buFont typeface="Arial"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accent5"/>
              </a:buClr>
              <a:buSzPct val="60000"/>
              <a:buFont typeface="Wingdings" charset="2"/>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0"/>
              </a:spcBef>
              <a:spcAft>
                <a:spcPct val="0"/>
              </a:spcAft>
              <a:buClr>
                <a:srgbClr val="00AEB5"/>
              </a:buClr>
              <a:buSzPct val="90000"/>
              <a:buFont typeface="Wingdings" charset="2"/>
              <a:buNone/>
              <a:tabLst/>
              <a:defRPr/>
            </a:pPr>
            <a:fld id="{1CDF6219-E698-4F9F-9555-7163ED40438D}" type="datetime'Mi''''''''''''''''''x''''e''''d'''' ''apn''''e''''a'''''''''">
              <a:rPr kumimoji="0" lang="en-US" altLang="en-US" sz="1600" b="0" i="0" u="none" strike="noStrike" kern="1200" cap="none" spc="0" normalizeH="0" baseline="0" noProof="0" smtClean="0">
                <a:ln>
                  <a:noFill/>
                </a:ln>
                <a:solidFill>
                  <a:srgbClr val="33363E"/>
                </a:solidFill>
                <a:effectLst/>
                <a:uLnTx/>
                <a:uFillTx/>
                <a:latin typeface="Calibri" panose="020F0502020204030204"/>
                <a:ea typeface="+mn-ea"/>
                <a:cs typeface="+mn-cs"/>
              </a:rPr>
              <a:pPr marL="0" marR="0" lvl="0" indent="0" algn="l" defTabSz="914400" rtl="0" eaLnBrk="1" fontAlgn="auto" latinLnBrk="0" hangingPunct="1">
                <a:lnSpc>
                  <a:spcPct val="90000"/>
                </a:lnSpc>
                <a:spcBef>
                  <a:spcPct val="0"/>
                </a:spcBef>
                <a:spcAft>
                  <a:spcPct val="0"/>
                </a:spcAft>
                <a:buClr>
                  <a:srgbClr val="00AEB5"/>
                </a:buClr>
                <a:buSzPct val="90000"/>
                <a:buFont typeface="Wingdings" charset="2"/>
                <a:buNone/>
                <a:tabLst/>
                <a:defRPr/>
              </a:pPr>
              <a:t>Mixed apnea</a:t>
            </a:fld>
            <a:endParaRPr kumimoji="0" lang="en-US" sz="1600" b="0" i="0" u="none" strike="noStrike" kern="1200" cap="none" spc="0" normalizeH="0" baseline="0" noProof="0" dirty="0">
              <a:ln>
                <a:noFill/>
              </a:ln>
              <a:solidFill>
                <a:srgbClr val="33363E"/>
              </a:solidFill>
              <a:effectLst/>
              <a:uLnTx/>
              <a:uFillTx/>
              <a:latin typeface="Calibri" panose="020F0502020204030204"/>
              <a:ea typeface="+mn-ea"/>
              <a:cs typeface="+mn-cs"/>
              <a:sym typeface="+mn-lt"/>
            </a:endParaRPr>
          </a:p>
        </p:txBody>
      </p:sp>
      <p:sp>
        <p:nvSpPr>
          <p:cNvPr id="50" name="Text Placeholder 2"/>
          <p:cNvSpPr>
            <a:spLocks noGrp="1"/>
          </p:cNvSpPr>
          <p:nvPr>
            <p:custDataLst>
              <p:tags r:id="rId18"/>
            </p:custDataLst>
          </p:nvPr>
        </p:nvSpPr>
        <p:spPr bwMode="auto">
          <a:xfrm>
            <a:off x="9593588" y="2299111"/>
            <a:ext cx="844550" cy="2190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Clr>
                <a:schemeClr val="accent1"/>
              </a:buClr>
              <a:buSzPct val="90000"/>
              <a:buFont typeface="Wingdings" charset="2"/>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Clr>
                <a:schemeClr val="accent6">
                  <a:lumMod val="75000"/>
                </a:schemeClr>
              </a:buClr>
              <a:buSzPct val="80000"/>
              <a:buFont typeface="Arial" charset="0"/>
              <a:buChar char="•"/>
              <a:defRPr sz="22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accent1"/>
              </a:buClr>
              <a:buSzPct val="70000"/>
              <a:buFont typeface="Wingdings" charset="2"/>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accent6">
                  <a:lumMod val="75000"/>
                </a:schemeClr>
              </a:buClr>
              <a:buSzPct val="70000"/>
              <a:buFont typeface="Arial"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accent5"/>
              </a:buClr>
              <a:buSzPct val="60000"/>
              <a:buFont typeface="Wingdings" charset="2"/>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0"/>
              </a:spcBef>
              <a:spcAft>
                <a:spcPct val="0"/>
              </a:spcAft>
              <a:buClr>
                <a:srgbClr val="00AEB5"/>
              </a:buClr>
              <a:buSzPct val="90000"/>
              <a:buFont typeface="Wingdings" charset="2"/>
              <a:buNone/>
              <a:tabLst/>
              <a:defRPr/>
            </a:pPr>
            <a:fld id="{D3011579-1ED9-42EC-8AC8-CD280FB40DB8}" type="datetime'''''''Hy''p''o''''''''p''''ne''''''''a'''">
              <a:rPr kumimoji="0" lang="en-US" altLang="en-US" sz="1600" b="0" i="0" u="none" strike="noStrike" kern="1200" cap="none" spc="0" normalizeH="0" baseline="0" noProof="0" smtClean="0">
                <a:ln>
                  <a:noFill/>
                </a:ln>
                <a:solidFill>
                  <a:srgbClr val="33363E"/>
                </a:solidFill>
                <a:effectLst/>
                <a:uLnTx/>
                <a:uFillTx/>
                <a:latin typeface="Calibri" panose="020F0502020204030204"/>
                <a:ea typeface="+mn-ea"/>
                <a:cs typeface="+mn-cs"/>
              </a:rPr>
              <a:pPr marL="0" marR="0" lvl="0" indent="0" algn="l" defTabSz="914400" rtl="0" eaLnBrk="1" fontAlgn="auto" latinLnBrk="0" hangingPunct="1">
                <a:lnSpc>
                  <a:spcPct val="90000"/>
                </a:lnSpc>
                <a:spcBef>
                  <a:spcPct val="0"/>
                </a:spcBef>
                <a:spcAft>
                  <a:spcPct val="0"/>
                </a:spcAft>
                <a:buClr>
                  <a:srgbClr val="00AEB5"/>
                </a:buClr>
                <a:buSzPct val="90000"/>
                <a:buFont typeface="Wingdings" charset="2"/>
                <a:buNone/>
                <a:tabLst/>
                <a:defRPr/>
              </a:pPr>
              <a:t>Hypopnea</a:t>
            </a:fld>
            <a:endParaRPr kumimoji="0" lang="en-US" sz="1600" b="0" i="0" u="none" strike="noStrike" kern="1200" cap="none" spc="0" normalizeH="0" baseline="0" noProof="0" dirty="0">
              <a:ln>
                <a:noFill/>
              </a:ln>
              <a:solidFill>
                <a:srgbClr val="33363E"/>
              </a:solidFill>
              <a:effectLst/>
              <a:uLnTx/>
              <a:uFillTx/>
              <a:latin typeface="Calibri" panose="020F0502020204030204"/>
              <a:ea typeface="+mn-ea"/>
              <a:cs typeface="+mn-cs"/>
              <a:sym typeface="+mn-lt"/>
            </a:endParaRPr>
          </a:p>
        </p:txBody>
      </p:sp>
      <p:sp>
        <p:nvSpPr>
          <p:cNvPr id="5" name="Rectangle 4"/>
          <p:cNvSpPr/>
          <p:nvPr/>
        </p:nvSpPr>
        <p:spPr>
          <a:xfrm>
            <a:off x="2368045" y="6081370"/>
            <a:ext cx="3989303" cy="261610"/>
          </a:xfrm>
          <a:prstGeom prst="rect">
            <a:avLst/>
          </a:prstGeom>
        </p:spPr>
        <p:txBody>
          <a:bodyPr wrap="square">
            <a:spAutoFit/>
          </a:bodyPr>
          <a:lstStyle/>
          <a:p>
            <a:pPr lvl="0">
              <a:defRPr/>
            </a:pPr>
            <a:r>
              <a:rPr lang="en-US" sz="1100" dirty="0">
                <a:solidFill>
                  <a:srgbClr val="33363E"/>
                </a:solidFill>
              </a:rPr>
              <a:t>* Total median AHI does not sum from component medians</a:t>
            </a:r>
          </a:p>
        </p:txBody>
      </p:sp>
      <p:sp>
        <p:nvSpPr>
          <p:cNvPr id="54" name="TextBox 53"/>
          <p:cNvSpPr txBox="1"/>
          <p:nvPr/>
        </p:nvSpPr>
        <p:spPr>
          <a:xfrm>
            <a:off x="7577936" y="4575859"/>
            <a:ext cx="3671377" cy="1200329"/>
          </a:xfrm>
          <a:prstGeom prst="rect">
            <a:avLst/>
          </a:prstGeom>
          <a:noFill/>
        </p:spPr>
        <p:txBody>
          <a:bodyPr wrap="square" rtlCol="0">
            <a:spAutoFit/>
          </a:bodyPr>
          <a:lstStyle/>
          <a:p>
            <a:r>
              <a:rPr lang="en-US" dirty="0"/>
              <a:t>Potential reasons for residual events</a:t>
            </a:r>
          </a:p>
          <a:p>
            <a:pPr marL="342900" indent="-342900">
              <a:buFont typeface="+mj-lt"/>
              <a:buAutoNum type="arabicPeriod"/>
            </a:pPr>
            <a:r>
              <a:rPr lang="en-US" dirty="0"/>
              <a:t>Obstructive events</a:t>
            </a:r>
          </a:p>
          <a:p>
            <a:pPr marL="342900" indent="-342900">
              <a:buFont typeface="+mj-lt"/>
              <a:buAutoNum type="arabicPeriod"/>
            </a:pPr>
            <a:r>
              <a:rPr lang="en-US" dirty="0"/>
              <a:t>Incomplete ventilatory capture during therapy adjustment</a:t>
            </a:r>
          </a:p>
        </p:txBody>
      </p:sp>
      <p:sp>
        <p:nvSpPr>
          <p:cNvPr id="4" name="TextBox 3">
            <a:extLst>
              <a:ext uri="{FF2B5EF4-FFF2-40B4-BE49-F238E27FC236}">
                <a16:creationId xmlns:a16="http://schemas.microsoft.com/office/drawing/2014/main" id="{65D93386-08DE-4B48-AE40-675F597F3D74}"/>
              </a:ext>
            </a:extLst>
          </p:cNvPr>
          <p:cNvSpPr txBox="1"/>
          <p:nvPr/>
        </p:nvSpPr>
        <p:spPr>
          <a:xfrm>
            <a:off x="4956627" y="2300895"/>
            <a:ext cx="2744059" cy="461665"/>
          </a:xfrm>
          <a:prstGeom prst="rect">
            <a:avLst/>
          </a:prstGeom>
          <a:noFill/>
        </p:spPr>
        <p:txBody>
          <a:bodyPr wrap="square" rtlCol="0">
            <a:spAutoFit/>
          </a:bodyPr>
          <a:lstStyle/>
          <a:p>
            <a:r>
              <a:rPr lang="en-US" sz="1200" dirty="0">
                <a:solidFill>
                  <a:srgbClr val="33363E"/>
                </a:solidFill>
              </a:rPr>
              <a:t> p&lt;0.001 for paired change from baseline</a:t>
            </a:r>
          </a:p>
          <a:p>
            <a:endParaRPr lang="en-US" sz="1200" dirty="0"/>
          </a:p>
        </p:txBody>
      </p:sp>
      <p:sp>
        <p:nvSpPr>
          <p:cNvPr id="7" name="Slide Number Placeholder 6">
            <a:extLst>
              <a:ext uri="{FF2B5EF4-FFF2-40B4-BE49-F238E27FC236}">
                <a16:creationId xmlns:a16="http://schemas.microsoft.com/office/drawing/2014/main" id="{E1F6CEDF-9CEA-C812-6F75-C608C57F5C4C}"/>
              </a:ext>
            </a:extLst>
          </p:cNvPr>
          <p:cNvSpPr>
            <a:spLocks noGrp="1"/>
          </p:cNvSpPr>
          <p:nvPr>
            <p:ph type="sldNum" sz="quarter" idx="12"/>
          </p:nvPr>
        </p:nvSpPr>
        <p:spPr/>
        <p:txBody>
          <a:bodyPr/>
          <a:lstStyle/>
          <a:p>
            <a:fld id="{21D51F98-DEF0-4E23-AE94-24E7CFC19B28}" type="slidenum">
              <a:rPr lang="en-US" smtClean="0"/>
              <a:t>35</a:t>
            </a:fld>
            <a:endParaRPr lang="en-US"/>
          </a:p>
        </p:txBody>
      </p:sp>
      <p:sp>
        <p:nvSpPr>
          <p:cNvPr id="10" name="Footer Placeholder 5">
            <a:extLst>
              <a:ext uri="{FF2B5EF4-FFF2-40B4-BE49-F238E27FC236}">
                <a16:creationId xmlns:a16="http://schemas.microsoft.com/office/drawing/2014/main" id="{31F0B82F-0184-76B6-9302-C3E7B5064971}"/>
              </a:ext>
            </a:extLst>
          </p:cNvPr>
          <p:cNvSpPr>
            <a:spLocks noGrp="1"/>
          </p:cNvSpPr>
          <p:nvPr>
            <p:ph type="ftr" sz="quarter" idx="11"/>
          </p:nvPr>
        </p:nvSpPr>
        <p:spPr>
          <a:xfrm>
            <a:off x="3684598" y="6459785"/>
            <a:ext cx="4822804" cy="365125"/>
          </a:xfrm>
        </p:spPr>
        <p:txBody>
          <a:bodyPr/>
          <a:lstStyle/>
          <a:p>
            <a:r>
              <a:rPr lang="en-US" dirty="0"/>
              <a:t>MAF1937 Rev E</a:t>
            </a:r>
          </a:p>
        </p:txBody>
      </p:sp>
    </p:spTree>
    <p:extLst>
      <p:ext uri="{BB962C8B-B14F-4D97-AF65-F5344CB8AC3E}">
        <p14:creationId xmlns:p14="http://schemas.microsoft.com/office/powerpoint/2010/main" val="369515177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28E76F-7E58-F245-B2D3-15A460502B5F}"/>
              </a:ext>
            </a:extLst>
          </p:cNvPr>
          <p:cNvSpPr>
            <a:spLocks noGrp="1"/>
          </p:cNvSpPr>
          <p:nvPr>
            <p:ph type="title" idx="4294967295"/>
          </p:nvPr>
        </p:nvSpPr>
        <p:spPr>
          <a:xfrm>
            <a:off x="438150" y="549083"/>
            <a:ext cx="11315700" cy="631825"/>
          </a:xfrm>
        </p:spPr>
        <p:txBody>
          <a:bodyPr>
            <a:noAutofit/>
          </a:bodyPr>
          <a:lstStyle/>
          <a:p>
            <a:r>
              <a:rPr lang="en-US" sz="3200" b="1" dirty="0">
                <a:solidFill>
                  <a:schemeClr val="accent2"/>
                </a:solidFill>
                <a:latin typeface="+mn-lt"/>
              </a:rPr>
              <a:t>Sustained Improvement in Sleep Disordered Breathing Through 5 Years with TPNS</a:t>
            </a:r>
          </a:p>
        </p:txBody>
      </p:sp>
      <p:sp>
        <p:nvSpPr>
          <p:cNvPr id="3" name="Content Placeholder 2">
            <a:extLst>
              <a:ext uri="{FF2B5EF4-FFF2-40B4-BE49-F238E27FC236}">
                <a16:creationId xmlns:a16="http://schemas.microsoft.com/office/drawing/2014/main" id="{777EC1B5-B87B-8042-BA7C-2FD710564A28}"/>
              </a:ext>
            </a:extLst>
          </p:cNvPr>
          <p:cNvSpPr>
            <a:spLocks noGrp="1"/>
          </p:cNvSpPr>
          <p:nvPr>
            <p:ph idx="4294967295"/>
          </p:nvPr>
        </p:nvSpPr>
        <p:spPr>
          <a:xfrm>
            <a:off x="0" y="2605088"/>
            <a:ext cx="7027863" cy="3657600"/>
          </a:xfrm>
        </p:spPr>
        <p:txBody>
          <a:bodyPr vert="horz" lIns="0" tIns="0" rIns="0" bIns="0" rtlCol="0" anchor="t">
            <a:normAutofit/>
          </a:bodyPr>
          <a:lstStyle/>
          <a:p>
            <a:pPr marL="380990" indent="-380990"/>
            <a:endParaRPr lang="en-US" dirty="0"/>
          </a:p>
          <a:p>
            <a:pPr>
              <a:buFont typeface="Wingdings"/>
              <a:buChar char="§"/>
            </a:pPr>
            <a:endParaRPr lang="en-US" dirty="0"/>
          </a:p>
          <a:p>
            <a:pPr>
              <a:buFont typeface="Wingdings"/>
              <a:buChar char="§"/>
            </a:pPr>
            <a:endParaRPr lang="en-US" dirty="0"/>
          </a:p>
        </p:txBody>
      </p:sp>
      <p:pic>
        <p:nvPicPr>
          <p:cNvPr id="7" name="Picture 2">
            <a:extLst>
              <a:ext uri="{FF2B5EF4-FFF2-40B4-BE49-F238E27FC236}">
                <a16:creationId xmlns:a16="http://schemas.microsoft.com/office/drawing/2014/main" id="{7C9CB186-7B10-4499-B1B8-C32E2D07509A}"/>
              </a:ext>
            </a:extLst>
          </p:cNvPr>
          <p:cNvPicPr>
            <a:picLocks noChangeAspect="1" noChangeArrowheads="1"/>
          </p:cNvPicPr>
          <p:nvPr/>
        </p:nvPicPr>
        <p:blipFill rotWithShape="1">
          <a:blip r:embed="rId3"/>
          <a:srcRect l="11126" t="26072" r="11681"/>
          <a:stretch/>
        </p:blipFill>
        <p:spPr bwMode="auto">
          <a:xfrm>
            <a:off x="625333" y="2196980"/>
            <a:ext cx="6559263" cy="3533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itle 1">
            <a:extLst>
              <a:ext uri="{FF2B5EF4-FFF2-40B4-BE49-F238E27FC236}">
                <a16:creationId xmlns:a16="http://schemas.microsoft.com/office/drawing/2014/main" id="{CDE55A48-0129-4712-8E19-A72F97CFB554}"/>
              </a:ext>
            </a:extLst>
          </p:cNvPr>
          <p:cNvSpPr txBox="1">
            <a:spLocks/>
          </p:cNvSpPr>
          <p:nvPr/>
        </p:nvSpPr>
        <p:spPr>
          <a:xfrm>
            <a:off x="8574410" y="1852844"/>
            <a:ext cx="3131079" cy="519921"/>
          </a:xfrm>
          <a:prstGeom prst="rect">
            <a:avLst/>
          </a:prstGeom>
        </p:spPr>
        <p:txBody>
          <a:bodyPr vert="horz" lIns="0" tIns="60960" rIns="0" bIns="60960" rtlCol="0" anchor="t" anchorCtr="0">
            <a:normAutofit/>
          </a:bodyPr>
          <a:lstStyle>
            <a:lvl1pPr algn="l" defTabSz="685800" rtl="0" eaLnBrk="1" latinLnBrk="0" hangingPunct="1">
              <a:lnSpc>
                <a:spcPct val="90000"/>
              </a:lnSpc>
              <a:spcBef>
                <a:spcPct val="0"/>
              </a:spcBef>
              <a:buNone/>
              <a:defRPr sz="2400" b="1" kern="1200">
                <a:solidFill>
                  <a:srgbClr val="54585A"/>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ctr" defTabSz="914377" rtl="0" eaLnBrk="1" fontAlgn="auto" latinLnBrk="0" hangingPunct="1">
              <a:lnSpc>
                <a:spcPct val="90000"/>
              </a:lnSpc>
              <a:spcBef>
                <a:spcPct val="0"/>
              </a:spcBef>
              <a:spcAft>
                <a:spcPts val="0"/>
              </a:spcAft>
              <a:buClrTx/>
              <a:buSzTx/>
              <a:buFontTx/>
              <a:buNone/>
              <a:tabLst/>
              <a:defRPr/>
            </a:pPr>
            <a:r>
              <a:rPr kumimoji="0" lang="en-US" sz="2400" b="1" i="0" u="none" strike="noStrike" kern="1200" cap="none" spc="0" normalizeH="0" baseline="0" noProof="0" dirty="0">
                <a:ln>
                  <a:noFill/>
                </a:ln>
                <a:solidFill>
                  <a:srgbClr val="54585A"/>
                </a:solidFill>
                <a:effectLst/>
                <a:uLnTx/>
                <a:uFillTx/>
                <a:latin typeface="Verdana" panose="020B0604030504040204" pitchFamily="34" charset="0"/>
                <a:ea typeface="Verdana" panose="020B0604030504040204" pitchFamily="34" charset="0"/>
              </a:rPr>
              <a:t>Paired at 5 years</a:t>
            </a:r>
          </a:p>
        </p:txBody>
      </p:sp>
      <p:pic>
        <p:nvPicPr>
          <p:cNvPr id="6" name="Picture 5">
            <a:extLst>
              <a:ext uri="{FF2B5EF4-FFF2-40B4-BE49-F238E27FC236}">
                <a16:creationId xmlns:a16="http://schemas.microsoft.com/office/drawing/2014/main" id="{C070E258-80BE-4DBF-BA01-C04D48A0F4CE}"/>
              </a:ext>
            </a:extLst>
          </p:cNvPr>
          <p:cNvPicPr>
            <a:picLocks noChangeAspect="1"/>
          </p:cNvPicPr>
          <p:nvPr/>
        </p:nvPicPr>
        <p:blipFill rotWithShape="1">
          <a:blip r:embed="rId4"/>
          <a:srcRect l="7858" t="28733" r="51646" b="1"/>
          <a:stretch/>
        </p:blipFill>
        <p:spPr>
          <a:xfrm>
            <a:off x="7917596" y="2372765"/>
            <a:ext cx="3391993" cy="3357767"/>
          </a:xfrm>
          <a:prstGeom prst="rect">
            <a:avLst/>
          </a:prstGeom>
        </p:spPr>
      </p:pic>
      <p:sp>
        <p:nvSpPr>
          <p:cNvPr id="9" name="Content Placeholder 2">
            <a:extLst>
              <a:ext uri="{FF2B5EF4-FFF2-40B4-BE49-F238E27FC236}">
                <a16:creationId xmlns:a16="http://schemas.microsoft.com/office/drawing/2014/main" id="{298D2180-AC7F-4D50-800F-7E2C984D322A}"/>
              </a:ext>
            </a:extLst>
          </p:cNvPr>
          <p:cNvSpPr txBox="1">
            <a:spLocks/>
          </p:cNvSpPr>
          <p:nvPr/>
        </p:nvSpPr>
        <p:spPr>
          <a:xfrm>
            <a:off x="1180710" y="5666594"/>
            <a:ext cx="4416696" cy="518769"/>
          </a:xfrm>
          <a:prstGeom prst="rect">
            <a:avLst/>
          </a:prstGeom>
        </p:spPr>
        <p:txBody>
          <a:bodyPr vert="horz" lIns="0" tIns="0" rIns="0" bIns="0" rtlCol="0" anchor="t">
            <a:normAutofit/>
          </a:bodyPr>
          <a:lstStyle>
            <a:lvl1pPr marL="234950" indent="-234950" algn="l" defTabSz="685800" rtl="0" eaLnBrk="1" latinLnBrk="0" hangingPunct="1">
              <a:lnSpc>
                <a:spcPts val="2600"/>
              </a:lnSpc>
              <a:spcBef>
                <a:spcPts val="600"/>
              </a:spcBef>
              <a:buClr>
                <a:srgbClr val="4698CB"/>
              </a:buClr>
              <a:buFont typeface="Wingdings" pitchFamily="2" charset="2"/>
              <a:buChar char="§"/>
              <a:tabLst/>
              <a:defRPr sz="1800" kern="1200">
                <a:solidFill>
                  <a:srgbClr val="54585A"/>
                </a:solidFill>
                <a:latin typeface="Arial" panose="020B0604020202020204" pitchFamily="34" charset="0"/>
                <a:ea typeface="+mn-ea"/>
                <a:cs typeface="Arial" panose="020B0604020202020204" pitchFamily="34" charset="0"/>
              </a:defRPr>
            </a:lvl1pPr>
            <a:lvl2pPr marL="515938" indent="-280988" algn="l" defTabSz="685800" rtl="0" eaLnBrk="1" latinLnBrk="0" hangingPunct="1">
              <a:lnSpc>
                <a:spcPts val="2600"/>
              </a:lnSpc>
              <a:spcBef>
                <a:spcPts val="600"/>
              </a:spcBef>
              <a:buClr>
                <a:srgbClr val="4698CB"/>
              </a:buClr>
              <a:buFont typeface="System Font Regular"/>
              <a:buChar char="-"/>
              <a:tabLst/>
              <a:defRPr sz="1800" kern="1200">
                <a:solidFill>
                  <a:srgbClr val="54585A"/>
                </a:solidFill>
                <a:latin typeface="Arial" panose="020B0604020202020204" pitchFamily="34" charset="0"/>
                <a:ea typeface="+mn-ea"/>
                <a:cs typeface="Arial" panose="020B0604020202020204" pitchFamily="34" charset="0"/>
              </a:defRPr>
            </a:lvl2pPr>
            <a:lvl3pPr marL="804863" indent="-288925" algn="l" defTabSz="685800" rtl="0" eaLnBrk="1" latinLnBrk="0" hangingPunct="1">
              <a:lnSpc>
                <a:spcPts val="2600"/>
              </a:lnSpc>
              <a:spcBef>
                <a:spcPts val="600"/>
              </a:spcBef>
              <a:buClr>
                <a:srgbClr val="4698CB"/>
              </a:buClr>
              <a:buSzPct val="90000"/>
              <a:buFont typeface="Lucida Grande" panose="020B0600040502020204" pitchFamily="34" charset="0"/>
              <a:buChar char="✓"/>
              <a:tabLst/>
              <a:defRPr sz="1800" kern="1200">
                <a:solidFill>
                  <a:srgbClr val="54585A"/>
                </a:solidFill>
                <a:latin typeface="Arial" panose="020B0604020202020204" pitchFamily="34" charset="0"/>
                <a:ea typeface="+mn-ea"/>
                <a:cs typeface="Arial" panose="020B0604020202020204" pitchFamily="34" charset="0"/>
              </a:defRPr>
            </a:lvl3pPr>
            <a:lvl4pPr marL="1200150" indent="-171450" algn="l" defTabSz="685800" rtl="0" eaLnBrk="1" latinLnBrk="0" hangingPunct="1">
              <a:lnSpc>
                <a:spcPct val="90000"/>
              </a:lnSpc>
              <a:spcBef>
                <a:spcPts val="375"/>
              </a:spcBef>
              <a:buFont typeface="Arial" panose="020B0604020202020204" pitchFamily="34" charset="0"/>
              <a:buChar char="•"/>
              <a:defRPr sz="2400" kern="1200">
                <a:solidFill>
                  <a:srgbClr val="54585A"/>
                </a:solidFill>
                <a:latin typeface="Arial" panose="020B0604020202020204" pitchFamily="34" charset="0"/>
                <a:ea typeface="+mn-ea"/>
                <a:cs typeface="Arial" panose="020B0604020202020204" pitchFamily="34" charset="0"/>
              </a:defRPr>
            </a:lvl4pPr>
            <a:lvl5pPr marL="1543050" indent="-171450" algn="l" defTabSz="685800" rtl="0" eaLnBrk="1" latinLnBrk="0" hangingPunct="1">
              <a:lnSpc>
                <a:spcPct val="90000"/>
              </a:lnSpc>
              <a:spcBef>
                <a:spcPts val="375"/>
              </a:spcBef>
              <a:buFont typeface="Arial" panose="020B0604020202020204" pitchFamily="34" charset="0"/>
              <a:buChar char="•"/>
              <a:defRPr sz="2400" kern="1200">
                <a:solidFill>
                  <a:srgbClr val="54585A"/>
                </a:solidFill>
                <a:latin typeface="Arial" panose="020B0604020202020204" pitchFamily="34" charset="0"/>
                <a:ea typeface="+mn-ea"/>
                <a:cs typeface="Arial" panose="020B060402020202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ctr" defTabSz="914377" rtl="0" eaLnBrk="1" fontAlgn="auto" latinLnBrk="0" hangingPunct="1">
              <a:lnSpc>
                <a:spcPts val="3467"/>
              </a:lnSpc>
              <a:spcBef>
                <a:spcPts val="800"/>
              </a:spcBef>
              <a:spcAft>
                <a:spcPts val="0"/>
              </a:spcAft>
              <a:buClr>
                <a:srgbClr val="4698CB"/>
              </a:buClr>
              <a:buSzTx/>
              <a:buFont typeface="Wingdings" pitchFamily="2" charset="2"/>
              <a:buNone/>
              <a:tabLst/>
              <a:defRPr/>
            </a:pPr>
            <a:r>
              <a:rPr kumimoji="0" lang="en-US" sz="1200" b="0" i="0" u="none" strike="noStrike" kern="1200" cap="none" spc="0" normalizeH="0" baseline="0" noProof="0" dirty="0">
                <a:ln>
                  <a:noFill/>
                </a:ln>
                <a:solidFill>
                  <a:srgbClr val="54585A"/>
                </a:solidFill>
                <a:effectLst/>
                <a:uLnTx/>
                <a:uFillTx/>
                <a:latin typeface="Arial" panose="020B0604020202020204" pitchFamily="34" charset="0"/>
                <a:ea typeface="+mn-ea"/>
                <a:cs typeface="Arial" panose="020B0604020202020204" pitchFamily="34" charset="0"/>
              </a:rPr>
              <a:t>Note: Sum of component medians does not add up to AHI.</a:t>
            </a:r>
          </a:p>
        </p:txBody>
      </p:sp>
      <p:sp>
        <p:nvSpPr>
          <p:cNvPr id="5" name="Rectangle 4">
            <a:extLst>
              <a:ext uri="{FF2B5EF4-FFF2-40B4-BE49-F238E27FC236}">
                <a16:creationId xmlns:a16="http://schemas.microsoft.com/office/drawing/2014/main" id="{CDDC5106-CCDE-4D3D-A106-E75E61287B83}"/>
              </a:ext>
            </a:extLst>
          </p:cNvPr>
          <p:cNvSpPr/>
          <p:nvPr/>
        </p:nvSpPr>
        <p:spPr>
          <a:xfrm>
            <a:off x="5934784" y="4332696"/>
            <a:ext cx="755701" cy="1484528"/>
          </a:xfrm>
          <a:prstGeom prst="rect">
            <a:avLst/>
          </a:prstGeom>
          <a:noFill/>
          <a:ln w="28575">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 name="Arrow: Right 7">
            <a:extLst>
              <a:ext uri="{FF2B5EF4-FFF2-40B4-BE49-F238E27FC236}">
                <a16:creationId xmlns:a16="http://schemas.microsoft.com/office/drawing/2014/main" id="{10B8D4BA-2DDA-4CF2-865D-F8719D044712}"/>
              </a:ext>
            </a:extLst>
          </p:cNvPr>
          <p:cNvSpPr/>
          <p:nvPr/>
        </p:nvSpPr>
        <p:spPr>
          <a:xfrm>
            <a:off x="6938422" y="4665204"/>
            <a:ext cx="1817652" cy="487680"/>
          </a:xfrm>
          <a:prstGeom prst="rightArrow">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 name="Title 1">
            <a:extLst>
              <a:ext uri="{FF2B5EF4-FFF2-40B4-BE49-F238E27FC236}">
                <a16:creationId xmlns:a16="http://schemas.microsoft.com/office/drawing/2014/main" id="{CC6E80EC-9ACD-4D2A-ACAD-2BD5AAE08B22}"/>
              </a:ext>
            </a:extLst>
          </p:cNvPr>
          <p:cNvSpPr txBox="1">
            <a:spLocks/>
          </p:cNvSpPr>
          <p:nvPr/>
        </p:nvSpPr>
        <p:spPr>
          <a:xfrm>
            <a:off x="989125" y="1847960"/>
            <a:ext cx="6264831" cy="809763"/>
          </a:xfrm>
          <a:prstGeom prst="rect">
            <a:avLst/>
          </a:prstGeom>
        </p:spPr>
        <p:txBody>
          <a:bodyPr vert="horz" lIns="0" tIns="60960" rIns="0" bIns="60960" rtlCol="0" anchor="t" anchorCtr="0">
            <a:normAutofit/>
          </a:bodyPr>
          <a:lstStyle>
            <a:lvl1pPr algn="l" defTabSz="685800" rtl="0" eaLnBrk="1" latinLnBrk="0" hangingPunct="1">
              <a:lnSpc>
                <a:spcPct val="90000"/>
              </a:lnSpc>
              <a:spcBef>
                <a:spcPct val="0"/>
              </a:spcBef>
              <a:buNone/>
              <a:defRPr sz="2400" b="1" kern="1200">
                <a:solidFill>
                  <a:srgbClr val="54585A"/>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ctr" defTabSz="914377" rtl="0" eaLnBrk="1" fontAlgn="auto" latinLnBrk="0" hangingPunct="1">
              <a:lnSpc>
                <a:spcPct val="90000"/>
              </a:lnSpc>
              <a:spcBef>
                <a:spcPct val="0"/>
              </a:spcBef>
              <a:spcAft>
                <a:spcPts val="0"/>
              </a:spcAft>
              <a:buClrTx/>
              <a:buSzTx/>
              <a:buFontTx/>
              <a:buNone/>
              <a:tabLst/>
              <a:defRPr/>
            </a:pPr>
            <a:r>
              <a:rPr kumimoji="0" lang="en-US" sz="2400" b="1" i="0" u="none" strike="noStrike" kern="1200" cap="none" spc="0" normalizeH="0" baseline="0" noProof="0" dirty="0">
                <a:ln>
                  <a:noFill/>
                </a:ln>
                <a:solidFill>
                  <a:srgbClr val="54585A"/>
                </a:solidFill>
                <a:effectLst/>
                <a:uLnTx/>
                <a:uFillTx/>
                <a:latin typeface="Verdana" panose="020B0604030504040204" pitchFamily="34" charset="0"/>
                <a:ea typeface="Verdana" panose="020B0604030504040204" pitchFamily="34" charset="0"/>
              </a:rPr>
              <a:t>Apnea Hypopnea Index</a:t>
            </a:r>
          </a:p>
        </p:txBody>
      </p:sp>
      <p:sp>
        <p:nvSpPr>
          <p:cNvPr id="16" name="TextBox 15">
            <a:extLst>
              <a:ext uri="{FF2B5EF4-FFF2-40B4-BE49-F238E27FC236}">
                <a16:creationId xmlns:a16="http://schemas.microsoft.com/office/drawing/2014/main" id="{CF921B0D-A1B4-4DA2-AFC5-5EB123703F86}"/>
              </a:ext>
            </a:extLst>
          </p:cNvPr>
          <p:cNvSpPr txBox="1"/>
          <p:nvPr/>
        </p:nvSpPr>
        <p:spPr>
          <a:xfrm>
            <a:off x="8122880" y="5756604"/>
            <a:ext cx="3877056" cy="338554"/>
          </a:xfrm>
          <a:prstGeom prst="rect">
            <a:avLst/>
          </a:prstGeom>
          <a:noFill/>
          <a:ln>
            <a:solidFill>
              <a:schemeClr val="accent1"/>
            </a:solidFill>
          </a:ln>
        </p:spPr>
        <p:txBody>
          <a:bodyPr wrap="square" rtlCol="0">
            <a:spAutoFit/>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Median change [IQR]: -22 [-42, -7] P&lt;.001</a:t>
            </a:r>
          </a:p>
        </p:txBody>
      </p:sp>
      <p:sp>
        <p:nvSpPr>
          <p:cNvPr id="4" name="TextBox 3"/>
          <p:cNvSpPr txBox="1"/>
          <p:nvPr/>
        </p:nvSpPr>
        <p:spPr>
          <a:xfrm>
            <a:off x="8574410" y="1206980"/>
            <a:ext cx="3504067"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Late Breaking Clinical Trial Presentation</a:t>
            </a:r>
          </a:p>
        </p:txBody>
      </p:sp>
      <p:sp>
        <p:nvSpPr>
          <p:cNvPr id="10" name="TextBox 9">
            <a:extLst>
              <a:ext uri="{FF2B5EF4-FFF2-40B4-BE49-F238E27FC236}">
                <a16:creationId xmlns:a16="http://schemas.microsoft.com/office/drawing/2014/main" id="{6EF24041-05FD-42C6-AAAC-854B1CB82AC5}"/>
              </a:ext>
            </a:extLst>
          </p:cNvPr>
          <p:cNvSpPr txBox="1"/>
          <p:nvPr/>
        </p:nvSpPr>
        <p:spPr>
          <a:xfrm>
            <a:off x="128490" y="6083122"/>
            <a:ext cx="5448949" cy="246221"/>
          </a:xfrm>
          <a:prstGeom prst="rect">
            <a:avLst/>
          </a:prstGeom>
          <a:noFill/>
        </p:spPr>
        <p:txBody>
          <a:bodyPr wrap="square" rtlCol="0">
            <a:spAutoFit/>
          </a:bodyPr>
          <a:lstStyle/>
          <a:p>
            <a:r>
              <a:rPr lang="pt-BR" sz="1000" dirty="0"/>
              <a:t>Javaheri, S  CHEST 2020 Late Breaking Abstracts DOI: https://doi.org/10.1016/j.chest.2020.09.011</a:t>
            </a:r>
            <a:endParaRPr lang="en-US" sz="1000" dirty="0"/>
          </a:p>
        </p:txBody>
      </p:sp>
      <p:sp>
        <p:nvSpPr>
          <p:cNvPr id="13" name="Slide Number Placeholder 12">
            <a:extLst>
              <a:ext uri="{FF2B5EF4-FFF2-40B4-BE49-F238E27FC236}">
                <a16:creationId xmlns:a16="http://schemas.microsoft.com/office/drawing/2014/main" id="{39BD8350-67AA-B781-AF8D-5E0D513B1A20}"/>
              </a:ext>
            </a:extLst>
          </p:cNvPr>
          <p:cNvSpPr>
            <a:spLocks noGrp="1"/>
          </p:cNvSpPr>
          <p:nvPr>
            <p:ph type="sldNum" sz="quarter" idx="12"/>
          </p:nvPr>
        </p:nvSpPr>
        <p:spPr/>
        <p:txBody>
          <a:bodyPr/>
          <a:lstStyle/>
          <a:p>
            <a:fld id="{21D51F98-DEF0-4E23-AE94-24E7CFC19B28}" type="slidenum">
              <a:rPr lang="en-US" smtClean="0"/>
              <a:t>36</a:t>
            </a:fld>
            <a:endParaRPr lang="en-US"/>
          </a:p>
        </p:txBody>
      </p:sp>
      <p:sp>
        <p:nvSpPr>
          <p:cNvPr id="17" name="Footer Placeholder 5">
            <a:extLst>
              <a:ext uri="{FF2B5EF4-FFF2-40B4-BE49-F238E27FC236}">
                <a16:creationId xmlns:a16="http://schemas.microsoft.com/office/drawing/2014/main" id="{84FAAD03-9D8B-654E-CC05-6BC9A15D1C81}"/>
              </a:ext>
            </a:extLst>
          </p:cNvPr>
          <p:cNvSpPr>
            <a:spLocks noGrp="1"/>
          </p:cNvSpPr>
          <p:nvPr>
            <p:ph type="ftr" sz="quarter" idx="11"/>
          </p:nvPr>
        </p:nvSpPr>
        <p:spPr>
          <a:xfrm>
            <a:off x="3684598" y="6459785"/>
            <a:ext cx="4822804" cy="365125"/>
          </a:xfrm>
        </p:spPr>
        <p:txBody>
          <a:bodyPr/>
          <a:lstStyle/>
          <a:p>
            <a:r>
              <a:rPr lang="en-US" dirty="0"/>
              <a:t>MAF1937 Rev E</a:t>
            </a:r>
          </a:p>
        </p:txBody>
      </p:sp>
    </p:spTree>
    <p:extLst>
      <p:ext uri="{BB962C8B-B14F-4D97-AF65-F5344CB8AC3E}">
        <p14:creationId xmlns:p14="http://schemas.microsoft.com/office/powerpoint/2010/main" val="394220925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E14BAE53-CE7F-470A-9DCD-65283123450E}"/>
              </a:ext>
            </a:extLst>
          </p:cNvPr>
          <p:cNvSpPr>
            <a:spLocks noGrp="1"/>
          </p:cNvSpPr>
          <p:nvPr>
            <p:ph idx="1"/>
          </p:nvPr>
        </p:nvSpPr>
        <p:spPr/>
        <p:txBody>
          <a:bodyPr>
            <a:normAutofit/>
          </a:bodyPr>
          <a:lstStyle/>
          <a:p>
            <a:r>
              <a:rPr lang="en-US" sz="2000" dirty="0"/>
              <a:t>Shift away from light stage sleep (N1) to more deeper stage sleep (N2 - REM)</a:t>
            </a:r>
          </a:p>
          <a:p>
            <a:endParaRPr lang="en-US" sz="2000" dirty="0"/>
          </a:p>
        </p:txBody>
      </p:sp>
      <p:sp>
        <p:nvSpPr>
          <p:cNvPr id="2" name="Title 1">
            <a:extLst>
              <a:ext uri="{FF2B5EF4-FFF2-40B4-BE49-F238E27FC236}">
                <a16:creationId xmlns:a16="http://schemas.microsoft.com/office/drawing/2014/main" id="{DE516ED6-A5F8-410F-A44E-882D4016EBB5}"/>
              </a:ext>
            </a:extLst>
          </p:cNvPr>
          <p:cNvSpPr>
            <a:spLocks noGrp="1"/>
          </p:cNvSpPr>
          <p:nvPr>
            <p:ph type="title"/>
          </p:nvPr>
        </p:nvSpPr>
        <p:spPr>
          <a:xfrm>
            <a:off x="447364" y="364036"/>
            <a:ext cx="11398872" cy="762000"/>
          </a:xfrm>
        </p:spPr>
        <p:txBody>
          <a:bodyPr>
            <a:noAutofit/>
          </a:bodyPr>
          <a:lstStyle/>
          <a:p>
            <a:r>
              <a:rPr lang="en-US" sz="3200" b="1" dirty="0">
                <a:solidFill>
                  <a:schemeClr val="accent2"/>
                </a:solidFill>
                <a:latin typeface="+mn-lt"/>
              </a:rPr>
              <a:t>Sustained Improvement in Sleep Architecture Through 5 Years </a:t>
            </a:r>
            <a:br>
              <a:rPr lang="en-US" sz="3200" b="1" dirty="0">
                <a:solidFill>
                  <a:schemeClr val="accent2"/>
                </a:solidFill>
                <a:latin typeface="+mn-lt"/>
              </a:rPr>
            </a:br>
            <a:r>
              <a:rPr lang="en-US" sz="3200" b="1" dirty="0">
                <a:solidFill>
                  <a:schemeClr val="accent2"/>
                </a:solidFill>
                <a:latin typeface="+mn-lt"/>
              </a:rPr>
              <a:t>with TPNS</a:t>
            </a:r>
          </a:p>
        </p:txBody>
      </p:sp>
      <p:pic>
        <p:nvPicPr>
          <p:cNvPr id="6" name="Picture 5">
            <a:extLst>
              <a:ext uri="{FF2B5EF4-FFF2-40B4-BE49-F238E27FC236}">
                <a16:creationId xmlns:a16="http://schemas.microsoft.com/office/drawing/2014/main" id="{3EBCE9AD-C558-4E26-BE7F-B8373FEF6C87}"/>
              </a:ext>
            </a:extLst>
          </p:cNvPr>
          <p:cNvPicPr>
            <a:picLocks noChangeAspect="1"/>
          </p:cNvPicPr>
          <p:nvPr/>
        </p:nvPicPr>
        <p:blipFill rotWithShape="1">
          <a:blip r:embed="rId2"/>
          <a:srcRect l="1625" t="15260" r="10173" b="4283"/>
          <a:stretch/>
        </p:blipFill>
        <p:spPr>
          <a:xfrm>
            <a:off x="363988" y="2017377"/>
            <a:ext cx="6075685" cy="3117504"/>
          </a:xfrm>
          <a:prstGeom prst="rect">
            <a:avLst/>
          </a:prstGeom>
        </p:spPr>
      </p:pic>
      <p:sp>
        <p:nvSpPr>
          <p:cNvPr id="7" name="Title 1">
            <a:extLst>
              <a:ext uri="{FF2B5EF4-FFF2-40B4-BE49-F238E27FC236}">
                <a16:creationId xmlns:a16="http://schemas.microsoft.com/office/drawing/2014/main" id="{C18C8ABF-F7CE-441D-A6E4-A507AC68623B}"/>
              </a:ext>
            </a:extLst>
          </p:cNvPr>
          <p:cNvSpPr txBox="1">
            <a:spLocks/>
          </p:cNvSpPr>
          <p:nvPr/>
        </p:nvSpPr>
        <p:spPr>
          <a:xfrm>
            <a:off x="7773435" y="1665602"/>
            <a:ext cx="3860651" cy="989505"/>
          </a:xfrm>
          <a:prstGeom prst="rect">
            <a:avLst/>
          </a:prstGeom>
        </p:spPr>
        <p:txBody>
          <a:bodyPr vert="horz" lIns="0" tIns="60960" rIns="0" bIns="60960" rtlCol="0" anchor="t" anchorCtr="0">
            <a:normAutofit/>
          </a:bodyPr>
          <a:lstStyle>
            <a:lvl1pPr algn="l" defTabSz="685800" rtl="0" eaLnBrk="1" latinLnBrk="0" hangingPunct="1">
              <a:lnSpc>
                <a:spcPct val="90000"/>
              </a:lnSpc>
              <a:spcBef>
                <a:spcPct val="0"/>
              </a:spcBef>
              <a:buNone/>
              <a:defRPr sz="2400" b="1" kern="1200">
                <a:solidFill>
                  <a:srgbClr val="54585A"/>
                </a:solidFill>
                <a:latin typeface="Verdana" panose="020B0604030504040204" pitchFamily="34" charset="0"/>
                <a:ea typeface="Verdana" panose="020B0604030504040204" pitchFamily="34" charset="0"/>
                <a:cs typeface="Verdana" panose="020B0604030504040204" pitchFamily="34" charset="0"/>
              </a:defRPr>
            </a:lvl1pPr>
          </a:lstStyle>
          <a:p>
            <a:pPr algn="ctr"/>
            <a:r>
              <a:rPr lang="en-US" dirty="0"/>
              <a:t>Paired at 5 years</a:t>
            </a:r>
          </a:p>
        </p:txBody>
      </p:sp>
      <p:pic>
        <p:nvPicPr>
          <p:cNvPr id="8" name="Picture 7" descr="A screenshot of a cell phone&#10;&#10;Description automatically generated">
            <a:extLst>
              <a:ext uri="{FF2B5EF4-FFF2-40B4-BE49-F238E27FC236}">
                <a16:creationId xmlns:a16="http://schemas.microsoft.com/office/drawing/2014/main" id="{8984C95C-D515-4F1B-9235-CB21520A793E}"/>
              </a:ext>
            </a:extLst>
          </p:cNvPr>
          <p:cNvPicPr>
            <a:picLocks noChangeAspect="1"/>
          </p:cNvPicPr>
          <p:nvPr/>
        </p:nvPicPr>
        <p:blipFill rotWithShape="1">
          <a:blip r:embed="rId3"/>
          <a:srcRect l="1855" t="17244" r="54444" b="2222"/>
          <a:stretch/>
        </p:blipFill>
        <p:spPr>
          <a:xfrm>
            <a:off x="7201059" y="2044707"/>
            <a:ext cx="3046371" cy="3157911"/>
          </a:xfrm>
          <a:prstGeom prst="rect">
            <a:avLst/>
          </a:prstGeom>
        </p:spPr>
      </p:pic>
      <p:pic>
        <p:nvPicPr>
          <p:cNvPr id="9" name="Picture 8">
            <a:extLst>
              <a:ext uri="{FF2B5EF4-FFF2-40B4-BE49-F238E27FC236}">
                <a16:creationId xmlns:a16="http://schemas.microsoft.com/office/drawing/2014/main" id="{97664BC7-283D-4507-BBB4-78504D4D805C}"/>
              </a:ext>
            </a:extLst>
          </p:cNvPr>
          <p:cNvPicPr>
            <a:picLocks noChangeAspect="1"/>
          </p:cNvPicPr>
          <p:nvPr/>
        </p:nvPicPr>
        <p:blipFill>
          <a:blip r:embed="rId4"/>
          <a:stretch>
            <a:fillRect/>
          </a:stretch>
        </p:blipFill>
        <p:spPr>
          <a:xfrm>
            <a:off x="6224447" y="2861005"/>
            <a:ext cx="897759" cy="1267968"/>
          </a:xfrm>
          <a:prstGeom prst="rect">
            <a:avLst/>
          </a:prstGeom>
        </p:spPr>
      </p:pic>
      <p:sp>
        <p:nvSpPr>
          <p:cNvPr id="10" name="Rectangle 9">
            <a:extLst>
              <a:ext uri="{FF2B5EF4-FFF2-40B4-BE49-F238E27FC236}">
                <a16:creationId xmlns:a16="http://schemas.microsoft.com/office/drawing/2014/main" id="{B83D0C09-C835-42C1-A66C-CA548CDFC9FC}"/>
              </a:ext>
            </a:extLst>
          </p:cNvPr>
          <p:cNvSpPr/>
          <p:nvPr/>
        </p:nvSpPr>
        <p:spPr>
          <a:xfrm>
            <a:off x="5337083" y="2114220"/>
            <a:ext cx="897439" cy="3121045"/>
          </a:xfrm>
          <a:prstGeom prst="rect">
            <a:avLst/>
          </a:prstGeom>
          <a:noFill/>
          <a:ln w="28575">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1" name="Arrow: Right 10">
            <a:extLst>
              <a:ext uri="{FF2B5EF4-FFF2-40B4-BE49-F238E27FC236}">
                <a16:creationId xmlns:a16="http://schemas.microsoft.com/office/drawing/2014/main" id="{B524BDB1-9E64-4373-A19F-7DD77AEA356A}"/>
              </a:ext>
            </a:extLst>
          </p:cNvPr>
          <p:cNvSpPr/>
          <p:nvPr/>
        </p:nvSpPr>
        <p:spPr>
          <a:xfrm>
            <a:off x="6439673" y="4090900"/>
            <a:ext cx="1365065" cy="487680"/>
          </a:xfrm>
          <a:prstGeom prst="rightArrow">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itle 1">
            <a:extLst>
              <a:ext uri="{FF2B5EF4-FFF2-40B4-BE49-F238E27FC236}">
                <a16:creationId xmlns:a16="http://schemas.microsoft.com/office/drawing/2014/main" id="{E8566DD5-F772-41D4-BDAE-BE17BA854560}"/>
              </a:ext>
            </a:extLst>
          </p:cNvPr>
          <p:cNvSpPr txBox="1">
            <a:spLocks/>
          </p:cNvSpPr>
          <p:nvPr/>
        </p:nvSpPr>
        <p:spPr>
          <a:xfrm>
            <a:off x="2806622" y="5227113"/>
            <a:ext cx="2387927" cy="593433"/>
          </a:xfrm>
          <a:prstGeom prst="rect">
            <a:avLst/>
          </a:prstGeom>
        </p:spPr>
        <p:txBody>
          <a:bodyPr vert="horz" lIns="0" tIns="60960" rIns="0" bIns="60960" rtlCol="0" anchor="t" anchorCtr="0">
            <a:noAutofit/>
          </a:bodyPr>
          <a:lstStyle>
            <a:lvl1pPr algn="l" defTabSz="685800" rtl="0" eaLnBrk="1" latinLnBrk="0" hangingPunct="1">
              <a:lnSpc>
                <a:spcPct val="90000"/>
              </a:lnSpc>
              <a:spcBef>
                <a:spcPct val="0"/>
              </a:spcBef>
              <a:buNone/>
              <a:defRPr sz="2400" b="1" kern="1200">
                <a:solidFill>
                  <a:srgbClr val="54585A"/>
                </a:solidFill>
                <a:latin typeface="Verdana" panose="020B0604030504040204" pitchFamily="34" charset="0"/>
                <a:ea typeface="Verdana" panose="020B0604030504040204" pitchFamily="34" charset="0"/>
                <a:cs typeface="Verdana" panose="020B0604030504040204" pitchFamily="34" charset="0"/>
              </a:defRPr>
            </a:lvl1pPr>
          </a:lstStyle>
          <a:p>
            <a:pPr algn="ctr"/>
            <a:r>
              <a:rPr lang="en-US" dirty="0">
                <a:cs typeface="Times New Roman" panose="02020603050405020304" pitchFamily="18" charset="0"/>
              </a:rPr>
              <a:t>Sleep Stages</a:t>
            </a:r>
            <a:endParaRPr lang="en-US" dirty="0"/>
          </a:p>
        </p:txBody>
      </p:sp>
      <p:sp>
        <p:nvSpPr>
          <p:cNvPr id="13" name="Title 1">
            <a:extLst>
              <a:ext uri="{FF2B5EF4-FFF2-40B4-BE49-F238E27FC236}">
                <a16:creationId xmlns:a16="http://schemas.microsoft.com/office/drawing/2014/main" id="{4BB0FDBE-5993-431E-A81A-19D220627FCE}"/>
              </a:ext>
            </a:extLst>
          </p:cNvPr>
          <p:cNvSpPr txBox="1">
            <a:spLocks/>
          </p:cNvSpPr>
          <p:nvPr/>
        </p:nvSpPr>
        <p:spPr>
          <a:xfrm>
            <a:off x="8086929" y="5227113"/>
            <a:ext cx="2387927" cy="593433"/>
          </a:xfrm>
          <a:prstGeom prst="rect">
            <a:avLst/>
          </a:prstGeom>
        </p:spPr>
        <p:txBody>
          <a:bodyPr vert="horz" lIns="0" tIns="60960" rIns="0" bIns="60960" rtlCol="0" anchor="t" anchorCtr="0">
            <a:noAutofit/>
          </a:bodyPr>
          <a:lstStyle>
            <a:lvl1pPr algn="l" defTabSz="685800" rtl="0" eaLnBrk="1" latinLnBrk="0" hangingPunct="1">
              <a:lnSpc>
                <a:spcPct val="90000"/>
              </a:lnSpc>
              <a:spcBef>
                <a:spcPct val="0"/>
              </a:spcBef>
              <a:buNone/>
              <a:defRPr sz="2400" b="1" kern="1200">
                <a:solidFill>
                  <a:srgbClr val="54585A"/>
                </a:solidFill>
                <a:latin typeface="Verdana" panose="020B0604030504040204" pitchFamily="34" charset="0"/>
                <a:ea typeface="Verdana" panose="020B0604030504040204" pitchFamily="34" charset="0"/>
                <a:cs typeface="Verdana" panose="020B0604030504040204" pitchFamily="34" charset="0"/>
              </a:defRPr>
            </a:lvl1pPr>
          </a:lstStyle>
          <a:p>
            <a:pPr algn="ctr"/>
            <a:r>
              <a:rPr lang="en-US" dirty="0">
                <a:cs typeface="Times New Roman" panose="02020603050405020304" pitchFamily="18" charset="0"/>
              </a:rPr>
              <a:t>Sleep Stages</a:t>
            </a:r>
            <a:endParaRPr lang="en-US" dirty="0"/>
          </a:p>
        </p:txBody>
      </p:sp>
      <p:sp>
        <p:nvSpPr>
          <p:cNvPr id="14" name="Content Placeholder 2">
            <a:extLst>
              <a:ext uri="{FF2B5EF4-FFF2-40B4-BE49-F238E27FC236}">
                <a16:creationId xmlns:a16="http://schemas.microsoft.com/office/drawing/2014/main" id="{D83AEA8E-E3F9-41E9-BE83-4075A0287B64}"/>
              </a:ext>
            </a:extLst>
          </p:cNvPr>
          <p:cNvSpPr txBox="1">
            <a:spLocks/>
          </p:cNvSpPr>
          <p:nvPr/>
        </p:nvSpPr>
        <p:spPr>
          <a:xfrm>
            <a:off x="1347058" y="5575025"/>
            <a:ext cx="4109544" cy="349931"/>
          </a:xfrm>
          <a:prstGeom prst="rect">
            <a:avLst/>
          </a:prstGeom>
        </p:spPr>
        <p:txBody>
          <a:bodyPr vert="horz" lIns="0" tIns="0" rIns="0" bIns="0" rtlCol="0" anchor="t">
            <a:normAutofit/>
          </a:bodyPr>
          <a:lstStyle>
            <a:lvl1pPr marL="234950" indent="-234950" algn="l" defTabSz="685800" rtl="0" eaLnBrk="1" latinLnBrk="0" hangingPunct="1">
              <a:lnSpc>
                <a:spcPts val="2600"/>
              </a:lnSpc>
              <a:spcBef>
                <a:spcPts val="600"/>
              </a:spcBef>
              <a:buClr>
                <a:srgbClr val="4698CB"/>
              </a:buClr>
              <a:buFont typeface="Wingdings" pitchFamily="2" charset="2"/>
              <a:buChar char="§"/>
              <a:tabLst/>
              <a:defRPr sz="1800" kern="1200">
                <a:solidFill>
                  <a:srgbClr val="54585A"/>
                </a:solidFill>
                <a:latin typeface="Arial" panose="020B0604020202020204" pitchFamily="34" charset="0"/>
                <a:ea typeface="+mn-ea"/>
                <a:cs typeface="Arial" panose="020B0604020202020204" pitchFamily="34" charset="0"/>
              </a:defRPr>
            </a:lvl1pPr>
            <a:lvl2pPr marL="515938" indent="-280988" algn="l" defTabSz="685800" rtl="0" eaLnBrk="1" latinLnBrk="0" hangingPunct="1">
              <a:lnSpc>
                <a:spcPts val="2600"/>
              </a:lnSpc>
              <a:spcBef>
                <a:spcPts val="600"/>
              </a:spcBef>
              <a:buClr>
                <a:srgbClr val="4698CB"/>
              </a:buClr>
              <a:buFont typeface="System Font Regular"/>
              <a:buChar char="-"/>
              <a:tabLst/>
              <a:defRPr sz="1800" kern="1200">
                <a:solidFill>
                  <a:srgbClr val="54585A"/>
                </a:solidFill>
                <a:latin typeface="Arial" panose="020B0604020202020204" pitchFamily="34" charset="0"/>
                <a:ea typeface="+mn-ea"/>
                <a:cs typeface="Arial" panose="020B0604020202020204" pitchFamily="34" charset="0"/>
              </a:defRPr>
            </a:lvl2pPr>
            <a:lvl3pPr marL="804863" indent="-288925" algn="l" defTabSz="685800" rtl="0" eaLnBrk="1" latinLnBrk="0" hangingPunct="1">
              <a:lnSpc>
                <a:spcPts val="2600"/>
              </a:lnSpc>
              <a:spcBef>
                <a:spcPts val="600"/>
              </a:spcBef>
              <a:buClr>
                <a:srgbClr val="4698CB"/>
              </a:buClr>
              <a:buSzPct val="90000"/>
              <a:buFont typeface="Lucida Grande" panose="020B0600040502020204" pitchFamily="34" charset="0"/>
              <a:buChar char="✓"/>
              <a:tabLst/>
              <a:defRPr sz="1800" kern="1200">
                <a:solidFill>
                  <a:srgbClr val="54585A"/>
                </a:solidFill>
                <a:latin typeface="Arial" panose="020B0604020202020204" pitchFamily="34" charset="0"/>
                <a:ea typeface="+mn-ea"/>
                <a:cs typeface="Arial" panose="020B0604020202020204" pitchFamily="34" charset="0"/>
              </a:defRPr>
            </a:lvl3pPr>
            <a:lvl4pPr marL="1200150" indent="-171450" algn="l" defTabSz="685800" rtl="0" eaLnBrk="1" latinLnBrk="0" hangingPunct="1">
              <a:lnSpc>
                <a:spcPct val="90000"/>
              </a:lnSpc>
              <a:spcBef>
                <a:spcPts val="375"/>
              </a:spcBef>
              <a:buFont typeface="Arial" panose="020B0604020202020204" pitchFamily="34" charset="0"/>
              <a:buChar char="•"/>
              <a:defRPr sz="2400" kern="1200">
                <a:solidFill>
                  <a:srgbClr val="54585A"/>
                </a:solidFill>
                <a:latin typeface="Arial" panose="020B0604020202020204" pitchFamily="34" charset="0"/>
                <a:ea typeface="+mn-ea"/>
                <a:cs typeface="Arial" panose="020B0604020202020204" pitchFamily="34" charset="0"/>
              </a:defRPr>
            </a:lvl4pPr>
            <a:lvl5pPr marL="1543050" indent="-171450" algn="l" defTabSz="685800" rtl="0" eaLnBrk="1" latinLnBrk="0" hangingPunct="1">
              <a:lnSpc>
                <a:spcPct val="90000"/>
              </a:lnSpc>
              <a:spcBef>
                <a:spcPts val="375"/>
              </a:spcBef>
              <a:buFont typeface="Arial" panose="020B0604020202020204" pitchFamily="34" charset="0"/>
              <a:buChar char="•"/>
              <a:defRPr sz="2400" kern="1200">
                <a:solidFill>
                  <a:srgbClr val="54585A"/>
                </a:solidFill>
                <a:latin typeface="Arial" panose="020B0604020202020204" pitchFamily="34" charset="0"/>
                <a:ea typeface="+mn-ea"/>
                <a:cs typeface="Arial" panose="020B060402020202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None/>
            </a:pPr>
            <a:r>
              <a:rPr lang="en-US" sz="1050" dirty="0"/>
              <a:t>Note: Sum of medians at a visit does not add up to 100%</a:t>
            </a:r>
          </a:p>
        </p:txBody>
      </p:sp>
      <p:sp>
        <p:nvSpPr>
          <p:cNvPr id="16" name="TextBox 15">
            <a:extLst>
              <a:ext uri="{FF2B5EF4-FFF2-40B4-BE49-F238E27FC236}">
                <a16:creationId xmlns:a16="http://schemas.microsoft.com/office/drawing/2014/main" id="{62A9C68E-2FCD-4D0A-A993-E71037CD2435}"/>
              </a:ext>
            </a:extLst>
          </p:cNvPr>
          <p:cNvSpPr txBox="1"/>
          <p:nvPr/>
        </p:nvSpPr>
        <p:spPr>
          <a:xfrm>
            <a:off x="181015" y="6012773"/>
            <a:ext cx="11665221" cy="215444"/>
          </a:xfrm>
          <a:prstGeom prst="rect">
            <a:avLst/>
          </a:prstGeom>
          <a:noFill/>
        </p:spPr>
        <p:txBody>
          <a:bodyPr wrap="square" rtlCol="0">
            <a:spAutoFit/>
          </a:bodyPr>
          <a:lstStyle>
            <a:defPPr>
              <a:defRPr lang="en-US"/>
            </a:defPPr>
            <a:lvl1pPr>
              <a:defRPr sz="800">
                <a:latin typeface="Century Gothic" panose="020B0502020202020204" pitchFamily="34" charset="0"/>
              </a:defRPr>
            </a:lvl1pPr>
          </a:lstStyle>
          <a:p>
            <a:r>
              <a:rPr lang="en-US" dirty="0"/>
              <a:t>Costanzo MR, </a:t>
            </a:r>
            <a:r>
              <a:rPr lang="en-US" dirty="0" err="1"/>
              <a:t>Javaheri</a:t>
            </a:r>
            <a:r>
              <a:rPr lang="en-US" dirty="0"/>
              <a:t> S, et al. Transvenous Phrenic Nerve Stimulation for Treatment of Central Sleep Apnea: Five-Year Safety and Efficacy Outcomes. Nat Sci Sleep. 2021;13:515-526</a:t>
            </a:r>
          </a:p>
        </p:txBody>
      </p:sp>
      <p:sp>
        <p:nvSpPr>
          <p:cNvPr id="3" name="Slide Number Placeholder 2">
            <a:extLst>
              <a:ext uri="{FF2B5EF4-FFF2-40B4-BE49-F238E27FC236}">
                <a16:creationId xmlns:a16="http://schemas.microsoft.com/office/drawing/2014/main" id="{A71D5A64-4986-4EDC-6DD3-D217092A0E7A}"/>
              </a:ext>
            </a:extLst>
          </p:cNvPr>
          <p:cNvSpPr>
            <a:spLocks noGrp="1"/>
          </p:cNvSpPr>
          <p:nvPr>
            <p:ph type="sldNum" sz="quarter" idx="12"/>
          </p:nvPr>
        </p:nvSpPr>
        <p:spPr/>
        <p:txBody>
          <a:bodyPr/>
          <a:lstStyle/>
          <a:p>
            <a:fld id="{66122E37-4F2F-4C99-8716-004D330A9530}" type="slidenum">
              <a:rPr lang="en-US" smtClean="0"/>
              <a:pPr/>
              <a:t>37</a:t>
            </a:fld>
            <a:endParaRPr lang="en-US"/>
          </a:p>
        </p:txBody>
      </p:sp>
      <p:sp>
        <p:nvSpPr>
          <p:cNvPr id="18" name="Footer Placeholder 5">
            <a:extLst>
              <a:ext uri="{FF2B5EF4-FFF2-40B4-BE49-F238E27FC236}">
                <a16:creationId xmlns:a16="http://schemas.microsoft.com/office/drawing/2014/main" id="{843304C7-DC2C-7E63-1713-1230ED7A16C9}"/>
              </a:ext>
            </a:extLst>
          </p:cNvPr>
          <p:cNvSpPr txBox="1">
            <a:spLocks/>
          </p:cNvSpPr>
          <p:nvPr/>
        </p:nvSpPr>
        <p:spPr>
          <a:xfrm>
            <a:off x="3684598" y="6459785"/>
            <a:ext cx="4822804" cy="365125"/>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200">
                <a:solidFill>
                  <a:schemeClr val="bg1"/>
                </a:solidFill>
              </a:rPr>
              <a:t>MAF1937 Rev E</a:t>
            </a:r>
            <a:endParaRPr lang="en-US" sz="1200" dirty="0">
              <a:solidFill>
                <a:schemeClr val="bg1"/>
              </a:solidFill>
            </a:endParaRPr>
          </a:p>
        </p:txBody>
      </p:sp>
    </p:spTree>
    <p:extLst>
      <p:ext uri="{BB962C8B-B14F-4D97-AF65-F5344CB8AC3E}">
        <p14:creationId xmlns:p14="http://schemas.microsoft.com/office/powerpoint/2010/main" val="344744258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3" name="Object 42" hidden="1"/>
          <p:cNvGraphicFramePr>
            <a:graphicFrameLocks noChangeAspect="1"/>
          </p:cNvGraphicFramePr>
          <p:nvPr>
            <p:custDataLst>
              <p:tags r:id="rId1"/>
            </p:custDataLst>
          </p:nvPr>
        </p:nvGraphicFramePr>
        <p:xfrm>
          <a:off x="1525622" y="1622"/>
          <a:ext cx="1619" cy="1619"/>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43" name="Object 42" hidden="1"/>
                      <p:cNvPicPr/>
                      <p:nvPr/>
                    </p:nvPicPr>
                    <p:blipFill>
                      <a:blip r:embed="rId5"/>
                      <a:stretch>
                        <a:fillRect/>
                      </a:stretch>
                    </p:blipFill>
                    <p:spPr>
                      <a:xfrm>
                        <a:off x="1525622" y="1622"/>
                        <a:ext cx="1619" cy="1619"/>
                      </a:xfrm>
                      <a:prstGeom prst="rect">
                        <a:avLst/>
                      </a:prstGeom>
                    </p:spPr>
                  </p:pic>
                </p:oleObj>
              </mc:Fallback>
            </mc:AlternateContent>
          </a:graphicData>
        </a:graphic>
      </p:graphicFrame>
      <p:sp>
        <p:nvSpPr>
          <p:cNvPr id="5" name="Rectangle 4"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sz="2400" b="1" dirty="0">
              <a:latin typeface="Calibri" panose="020F0502020204030204" pitchFamily="34" charset="0"/>
              <a:ea typeface="+mj-ea"/>
              <a:cs typeface="+mj-cs"/>
              <a:sym typeface="Calibri" panose="020F0502020204030204" pitchFamily="34" charset="0"/>
            </a:endParaRPr>
          </a:p>
        </p:txBody>
      </p:sp>
      <p:sp>
        <p:nvSpPr>
          <p:cNvPr id="42" name="Rectangle 41"/>
          <p:cNvSpPr/>
          <p:nvPr/>
        </p:nvSpPr>
        <p:spPr>
          <a:xfrm>
            <a:off x="123394" y="1841019"/>
            <a:ext cx="3873111" cy="3771777"/>
          </a:xfrm>
          <a:prstGeom prst="rect">
            <a:avLst/>
          </a:prstGeom>
          <a:solidFill>
            <a:schemeClr val="bg1"/>
          </a:solidFill>
          <a:ln w="19050"/>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p>
        </p:txBody>
      </p:sp>
      <p:sp>
        <p:nvSpPr>
          <p:cNvPr id="2" name="Title 1"/>
          <p:cNvSpPr>
            <a:spLocks noGrp="1"/>
          </p:cNvSpPr>
          <p:nvPr>
            <p:ph type="title" idx="4294967295"/>
          </p:nvPr>
        </p:nvSpPr>
        <p:spPr>
          <a:xfrm>
            <a:off x="471488" y="174302"/>
            <a:ext cx="11720512" cy="840871"/>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r>
              <a:rPr lang="en-US" sz="3200" b="1" dirty="0">
                <a:solidFill>
                  <a:schemeClr val="accent2"/>
                </a:solidFill>
                <a:latin typeface="+mn-lt"/>
              </a:rPr>
              <a:t>Significant improvements in symptoms and quality of life after </a:t>
            </a:r>
            <a:br>
              <a:rPr lang="en-US" sz="3200" b="1" dirty="0">
                <a:solidFill>
                  <a:schemeClr val="accent2"/>
                </a:solidFill>
                <a:latin typeface="+mn-lt"/>
              </a:rPr>
            </a:br>
            <a:r>
              <a:rPr lang="en-US" sz="3200" b="1" dirty="0">
                <a:solidFill>
                  <a:schemeClr val="accent2"/>
                </a:solidFill>
                <a:latin typeface="+mn-lt"/>
              </a:rPr>
              <a:t>6 months of treatment with TPNS</a:t>
            </a:r>
            <a:r>
              <a:rPr lang="en-US" sz="3200" b="1" baseline="30000" dirty="0">
                <a:solidFill>
                  <a:schemeClr val="accent2"/>
                </a:solidFill>
                <a:latin typeface="+mn-lt"/>
              </a:rPr>
              <a:t>1</a:t>
            </a:r>
          </a:p>
        </p:txBody>
      </p:sp>
      <p:sp>
        <p:nvSpPr>
          <p:cNvPr id="16" name="TextBox 15"/>
          <p:cNvSpPr txBox="1"/>
          <p:nvPr/>
        </p:nvSpPr>
        <p:spPr>
          <a:xfrm>
            <a:off x="156446" y="6422065"/>
            <a:ext cx="11879108" cy="338554"/>
          </a:xfrm>
          <a:prstGeom prst="rect">
            <a:avLst/>
          </a:prstGeom>
          <a:noFill/>
        </p:spPr>
        <p:txBody>
          <a:bodyPr wrap="square" rtlCol="0">
            <a:spAutoFit/>
          </a:bodyPr>
          <a:lstStyle/>
          <a:p>
            <a:pPr marL="228600" indent="-228600">
              <a:buAutoNum type="arabicPeriod"/>
            </a:pPr>
            <a:r>
              <a:rPr lang="en-US" sz="800" dirty="0"/>
              <a:t>Costanzo et al. Lancet 2016;388:974-82.  </a:t>
            </a:r>
          </a:p>
          <a:p>
            <a:pPr marL="228600" indent="-228600">
              <a:buAutoNum type="arabicPeriod"/>
            </a:pPr>
            <a:r>
              <a:rPr lang="en-US" sz="800" dirty="0"/>
              <a:t>Patel S, Kon SSC, Nolan CM, et al. Am J Respir </a:t>
            </a:r>
            <a:r>
              <a:rPr lang="en-US" sz="800" dirty="0" err="1"/>
              <a:t>Crit</a:t>
            </a:r>
            <a:r>
              <a:rPr lang="en-US" sz="800" dirty="0"/>
              <a:t> Care Med. 2018;197(7):961–963</a:t>
            </a:r>
          </a:p>
        </p:txBody>
      </p:sp>
      <p:sp>
        <p:nvSpPr>
          <p:cNvPr id="12" name="TextBox 11"/>
          <p:cNvSpPr txBox="1">
            <a:spLocks/>
          </p:cNvSpPr>
          <p:nvPr/>
        </p:nvSpPr>
        <p:spPr>
          <a:xfrm>
            <a:off x="4274225" y="5751695"/>
            <a:ext cx="3684896" cy="553998"/>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r>
              <a:rPr lang="en-US" b="1" dirty="0">
                <a:solidFill>
                  <a:schemeClr val="accent2"/>
                </a:solidFill>
                <a:latin typeface="+mj-lt"/>
              </a:rPr>
              <a:t>79% of patients had an improvement in quality of life with the remedē System</a:t>
            </a:r>
          </a:p>
        </p:txBody>
      </p:sp>
      <p:sp>
        <p:nvSpPr>
          <p:cNvPr id="15" name="TextBox 14"/>
          <p:cNvSpPr txBox="1">
            <a:spLocks/>
          </p:cNvSpPr>
          <p:nvPr/>
        </p:nvSpPr>
        <p:spPr>
          <a:xfrm>
            <a:off x="8110719" y="5751695"/>
            <a:ext cx="3947188" cy="553998"/>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r>
              <a:rPr lang="en-US" b="1" dirty="0">
                <a:solidFill>
                  <a:schemeClr val="accent2"/>
                </a:solidFill>
                <a:latin typeface="+mj-lt"/>
              </a:rPr>
              <a:t>95% of patients reported they would </a:t>
            </a:r>
          </a:p>
          <a:p>
            <a:pPr algn="ctr"/>
            <a:r>
              <a:rPr lang="en-US" b="1" dirty="0">
                <a:solidFill>
                  <a:schemeClr val="accent2"/>
                </a:solidFill>
                <a:latin typeface="+mj-lt"/>
              </a:rPr>
              <a:t>“elect to have the medical procedure again”</a:t>
            </a:r>
          </a:p>
        </p:txBody>
      </p:sp>
      <p:sp>
        <p:nvSpPr>
          <p:cNvPr id="4" name="Rectangle 3"/>
          <p:cNvSpPr/>
          <p:nvPr/>
        </p:nvSpPr>
        <p:spPr>
          <a:xfrm>
            <a:off x="4195038" y="5047733"/>
            <a:ext cx="4016697" cy="369332"/>
          </a:xfrm>
          <a:prstGeom prst="rect">
            <a:avLst/>
          </a:prstGeom>
        </p:spPr>
        <p:txBody>
          <a:bodyPr wrap="square">
            <a:spAutoFit/>
          </a:bodyPr>
          <a:lstStyle/>
          <a:p>
            <a:r>
              <a:rPr lang="en-US" sz="900" dirty="0">
                <a:solidFill>
                  <a:srgbClr val="636B77"/>
                </a:solidFill>
                <a:latin typeface="museo-sans"/>
              </a:rPr>
              <a:t>Per </a:t>
            </a:r>
            <a:r>
              <a:rPr lang="en-US" sz="900" dirty="0" err="1">
                <a:solidFill>
                  <a:srgbClr val="636B77"/>
                </a:solidFill>
                <a:latin typeface="museo-sans"/>
              </a:rPr>
              <a:t>Protocal</a:t>
            </a:r>
            <a:r>
              <a:rPr lang="en-US" sz="900" dirty="0">
                <a:solidFill>
                  <a:srgbClr val="636B77"/>
                </a:solidFill>
                <a:latin typeface="museo-sans"/>
              </a:rPr>
              <a:t> Population</a:t>
            </a:r>
            <a:br>
              <a:rPr lang="en-US" sz="900" dirty="0"/>
            </a:br>
            <a:r>
              <a:rPr lang="en-US" sz="900" dirty="0">
                <a:solidFill>
                  <a:srgbClr val="636B77"/>
                </a:solidFill>
                <a:latin typeface="museo-sans"/>
              </a:rPr>
              <a:t>* One patient did not complete the PGA assessment at 6 months.</a:t>
            </a:r>
            <a:endParaRPr lang="en-US" sz="900" dirty="0"/>
          </a:p>
        </p:txBody>
      </p:sp>
      <p:sp>
        <p:nvSpPr>
          <p:cNvPr id="21" name="TextBox 20"/>
          <p:cNvSpPr txBox="1">
            <a:spLocks/>
          </p:cNvSpPr>
          <p:nvPr/>
        </p:nvSpPr>
        <p:spPr>
          <a:xfrm>
            <a:off x="206287" y="5751695"/>
            <a:ext cx="3684896" cy="553998"/>
          </a:xfrm>
          <a:prstGeom prst="rect">
            <a:avLst/>
          </a:prstGeom>
          <a:solidFill>
            <a:schemeClr val="bg1"/>
          </a:solidFill>
          <a:ln w="9525">
            <a:noFill/>
            <a:miter lim="800000"/>
            <a:headEnd/>
            <a:tailEnd/>
          </a:ln>
          <a:effec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r>
              <a:rPr lang="en-US" b="1" dirty="0">
                <a:solidFill>
                  <a:schemeClr val="accent2"/>
                </a:solidFill>
                <a:latin typeface="+mj-lt"/>
              </a:rPr>
              <a:t>Demonstrated clinically significant improvement in daytime sleepiness</a:t>
            </a:r>
          </a:p>
        </p:txBody>
      </p:sp>
      <p:sp>
        <p:nvSpPr>
          <p:cNvPr id="7" name="TextBox 6"/>
          <p:cNvSpPr txBox="1"/>
          <p:nvPr/>
        </p:nvSpPr>
        <p:spPr>
          <a:xfrm>
            <a:off x="107668" y="1135117"/>
            <a:ext cx="3882135" cy="707886"/>
          </a:xfrm>
          <a:prstGeom prst="rect">
            <a:avLst/>
          </a:prstGeom>
          <a:noFill/>
        </p:spPr>
        <p:txBody>
          <a:bodyPr wrap="square" rtlCol="0">
            <a:spAutoFit/>
          </a:bodyPr>
          <a:lstStyle/>
          <a:p>
            <a:pPr algn="ctr"/>
            <a:r>
              <a:rPr lang="en-US" sz="2000" dirty="0"/>
              <a:t>Improvement in Epworth Sleepiness Scale</a:t>
            </a:r>
          </a:p>
        </p:txBody>
      </p:sp>
      <p:sp>
        <p:nvSpPr>
          <p:cNvPr id="22" name="TextBox 21"/>
          <p:cNvSpPr txBox="1"/>
          <p:nvPr/>
        </p:nvSpPr>
        <p:spPr>
          <a:xfrm>
            <a:off x="4230787" y="1442893"/>
            <a:ext cx="3882135" cy="400110"/>
          </a:xfrm>
          <a:prstGeom prst="rect">
            <a:avLst/>
          </a:prstGeom>
          <a:noFill/>
        </p:spPr>
        <p:txBody>
          <a:bodyPr wrap="square" rtlCol="0">
            <a:spAutoFit/>
          </a:bodyPr>
          <a:lstStyle/>
          <a:p>
            <a:pPr algn="ctr"/>
            <a:r>
              <a:rPr lang="en-US" sz="2000" dirty="0"/>
              <a:t>Patient Global Assessment</a:t>
            </a:r>
          </a:p>
        </p:txBody>
      </p:sp>
      <p:sp>
        <p:nvSpPr>
          <p:cNvPr id="23" name="TextBox 22"/>
          <p:cNvSpPr txBox="1"/>
          <p:nvPr/>
        </p:nvSpPr>
        <p:spPr>
          <a:xfrm>
            <a:off x="8143246" y="1442893"/>
            <a:ext cx="3882135" cy="400110"/>
          </a:xfrm>
          <a:prstGeom prst="rect">
            <a:avLst/>
          </a:prstGeom>
          <a:noFill/>
        </p:spPr>
        <p:txBody>
          <a:bodyPr wrap="square" rtlCol="0">
            <a:spAutoFit/>
          </a:bodyPr>
          <a:lstStyle/>
          <a:p>
            <a:pPr algn="ctr"/>
            <a:r>
              <a:rPr lang="en-US" sz="2000" dirty="0"/>
              <a:t>Willingness to repeat procedure</a:t>
            </a:r>
          </a:p>
        </p:txBody>
      </p:sp>
      <p:sp>
        <p:nvSpPr>
          <p:cNvPr id="24" name="Rectangle 23"/>
          <p:cNvSpPr/>
          <p:nvPr/>
        </p:nvSpPr>
        <p:spPr>
          <a:xfrm>
            <a:off x="223171" y="4852002"/>
            <a:ext cx="4572000" cy="477054"/>
          </a:xfrm>
          <a:prstGeom prst="rect">
            <a:avLst/>
          </a:prstGeom>
        </p:spPr>
        <p:txBody>
          <a:bodyPr>
            <a:spAutoFit/>
          </a:bodyPr>
          <a:lstStyle/>
          <a:p>
            <a:r>
              <a:rPr lang="en-US" sz="1400" dirty="0">
                <a:latin typeface="museo-sans"/>
              </a:rPr>
              <a:t>ESS Mean Change from Baseline (points) </a:t>
            </a:r>
          </a:p>
          <a:p>
            <a:r>
              <a:rPr lang="en-US" sz="1000" dirty="0">
                <a:latin typeface="museo-sans"/>
              </a:rPr>
              <a:t>[95% confidence interval]</a:t>
            </a:r>
            <a:endParaRPr lang="en-US" sz="1000" dirty="0"/>
          </a:p>
        </p:txBody>
      </p:sp>
      <p:sp>
        <p:nvSpPr>
          <p:cNvPr id="19" name="Rectangle 18"/>
          <p:cNvSpPr/>
          <p:nvPr/>
        </p:nvSpPr>
        <p:spPr>
          <a:xfrm>
            <a:off x="4140463" y="1841019"/>
            <a:ext cx="4009703" cy="3771777"/>
          </a:xfrm>
          <a:prstGeom prst="rect">
            <a:avLst/>
          </a:prstGeom>
          <a:solidFill>
            <a:schemeClr val="bg1"/>
          </a:solidFill>
          <a:ln w="19050"/>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p>
        </p:txBody>
      </p:sp>
      <p:graphicFrame>
        <p:nvGraphicFramePr>
          <p:cNvPr id="20" name="Content Placeholder 5"/>
          <p:cNvGraphicFramePr>
            <a:graphicFrameLocks/>
          </p:cNvGraphicFramePr>
          <p:nvPr/>
        </p:nvGraphicFramePr>
        <p:xfrm>
          <a:off x="4375209" y="2521829"/>
          <a:ext cx="3811789" cy="2953641"/>
        </p:xfrm>
        <a:graphic>
          <a:graphicData uri="http://schemas.openxmlformats.org/drawingml/2006/chart">
            <c:chart xmlns:c="http://schemas.openxmlformats.org/drawingml/2006/chart" xmlns:r="http://schemas.openxmlformats.org/officeDocument/2006/relationships" r:id="rId6"/>
          </a:graphicData>
        </a:graphic>
      </p:graphicFrame>
      <p:sp>
        <p:nvSpPr>
          <p:cNvPr id="25" name="Rectangle 24"/>
          <p:cNvSpPr/>
          <p:nvPr/>
        </p:nvSpPr>
        <p:spPr>
          <a:xfrm rot="16200000">
            <a:off x="3555582" y="2694771"/>
            <a:ext cx="1395479" cy="334707"/>
          </a:xfrm>
          <a:prstGeom prst="rect">
            <a:avLst/>
          </a:prstGeom>
          <a:noFill/>
        </p:spPr>
        <p:txBody>
          <a:bodyPr wrap="square">
            <a:spAutoFit/>
          </a:bodyPr>
          <a:lstStyle/>
          <a:p>
            <a:pPr>
              <a:lnSpc>
                <a:spcPct val="105000"/>
              </a:lnSpc>
              <a:buClr>
                <a:srgbClr val="003F4C"/>
              </a:buClr>
            </a:pPr>
            <a:r>
              <a:rPr lang="en-US" sz="1500" dirty="0"/>
              <a:t>Improved</a:t>
            </a:r>
            <a:endParaRPr lang="en-US" sz="1500" dirty="0">
              <a:solidFill>
                <a:schemeClr val="bg1">
                  <a:lumMod val="50000"/>
                </a:schemeClr>
              </a:solidFill>
            </a:endParaRPr>
          </a:p>
        </p:txBody>
      </p:sp>
      <p:sp>
        <p:nvSpPr>
          <p:cNvPr id="26" name="Rectangle 25"/>
          <p:cNvSpPr/>
          <p:nvPr/>
        </p:nvSpPr>
        <p:spPr>
          <a:xfrm rot="16200000">
            <a:off x="3446349" y="4194009"/>
            <a:ext cx="1659342" cy="323165"/>
          </a:xfrm>
          <a:prstGeom prst="rect">
            <a:avLst/>
          </a:prstGeom>
          <a:noFill/>
        </p:spPr>
        <p:txBody>
          <a:bodyPr wrap="square">
            <a:spAutoFit/>
          </a:bodyPr>
          <a:lstStyle/>
          <a:p>
            <a:pPr algn="ctr">
              <a:buClr>
                <a:srgbClr val="003F4C"/>
              </a:buClr>
            </a:pPr>
            <a:r>
              <a:rPr lang="en-US" sz="1500" dirty="0"/>
              <a:t>No change/worse</a:t>
            </a:r>
            <a:endParaRPr lang="en-US" sz="1500" dirty="0">
              <a:solidFill>
                <a:schemeClr val="bg1">
                  <a:lumMod val="50000"/>
                </a:schemeClr>
              </a:solidFill>
            </a:endParaRPr>
          </a:p>
        </p:txBody>
      </p:sp>
      <p:cxnSp>
        <p:nvCxnSpPr>
          <p:cNvPr id="27" name="Straight Connector 26"/>
          <p:cNvCxnSpPr/>
          <p:nvPr/>
        </p:nvCxnSpPr>
        <p:spPr>
          <a:xfrm flipV="1">
            <a:off x="4431994" y="2576504"/>
            <a:ext cx="3625" cy="1005840"/>
          </a:xfrm>
          <a:prstGeom prst="line">
            <a:avLst/>
          </a:prstGeom>
          <a:ln w="28575">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a:off x="4431994" y="3722048"/>
            <a:ext cx="0" cy="1280160"/>
          </a:xfrm>
          <a:prstGeom prst="line">
            <a:avLst/>
          </a:prstGeom>
          <a:ln w="28575">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a:off x="4451848" y="3603971"/>
            <a:ext cx="3669051" cy="0"/>
          </a:xfrm>
          <a:prstGeom prst="line">
            <a:avLst/>
          </a:prstGeom>
          <a:ln w="28575">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30" name="Rectangle 29"/>
          <p:cNvSpPr/>
          <p:nvPr/>
        </p:nvSpPr>
        <p:spPr>
          <a:xfrm>
            <a:off x="4830055" y="1871076"/>
            <a:ext cx="2101728" cy="480131"/>
          </a:xfrm>
          <a:prstGeom prst="rect">
            <a:avLst/>
          </a:prstGeom>
        </p:spPr>
        <p:txBody>
          <a:bodyPr wrap="square">
            <a:spAutoFit/>
          </a:bodyPr>
          <a:lstStyle/>
          <a:p>
            <a:pPr>
              <a:lnSpc>
                <a:spcPct val="90000"/>
              </a:lnSpc>
              <a:buClr>
                <a:srgbClr val="003F4C"/>
              </a:buClr>
            </a:pPr>
            <a:r>
              <a:rPr lang="en-US" sz="1400" dirty="0"/>
              <a:t>Marked or moderate improvement</a:t>
            </a:r>
            <a:endParaRPr lang="en-US" sz="1400" dirty="0">
              <a:solidFill>
                <a:schemeClr val="bg1">
                  <a:lumMod val="50000"/>
                </a:schemeClr>
              </a:solidFill>
            </a:endParaRPr>
          </a:p>
        </p:txBody>
      </p:sp>
      <p:sp>
        <p:nvSpPr>
          <p:cNvPr id="31" name="Rectangle 30"/>
          <p:cNvSpPr/>
          <p:nvPr/>
        </p:nvSpPr>
        <p:spPr>
          <a:xfrm>
            <a:off x="4827664" y="2306876"/>
            <a:ext cx="1912684" cy="318549"/>
          </a:xfrm>
          <a:prstGeom prst="rect">
            <a:avLst/>
          </a:prstGeom>
        </p:spPr>
        <p:txBody>
          <a:bodyPr wrap="square">
            <a:spAutoFit/>
          </a:bodyPr>
          <a:lstStyle/>
          <a:p>
            <a:pPr>
              <a:lnSpc>
                <a:spcPct val="105000"/>
              </a:lnSpc>
              <a:buClr>
                <a:srgbClr val="003F4C"/>
              </a:buClr>
            </a:pPr>
            <a:r>
              <a:rPr lang="en-US" sz="1400" dirty="0"/>
              <a:t>Mild improvement</a:t>
            </a:r>
            <a:endParaRPr lang="en-US" sz="1400" dirty="0">
              <a:solidFill>
                <a:schemeClr val="bg1">
                  <a:lumMod val="50000"/>
                </a:schemeClr>
              </a:solidFill>
            </a:endParaRPr>
          </a:p>
        </p:txBody>
      </p:sp>
      <p:sp>
        <p:nvSpPr>
          <p:cNvPr id="32" name="Rectangle 31"/>
          <p:cNvSpPr/>
          <p:nvPr/>
        </p:nvSpPr>
        <p:spPr>
          <a:xfrm>
            <a:off x="4676185" y="1966780"/>
            <a:ext cx="147168" cy="12827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33" name="Rectangle 32"/>
          <p:cNvSpPr/>
          <p:nvPr/>
        </p:nvSpPr>
        <p:spPr>
          <a:xfrm>
            <a:off x="6882026" y="1864812"/>
            <a:ext cx="1598098" cy="318549"/>
          </a:xfrm>
          <a:prstGeom prst="rect">
            <a:avLst/>
          </a:prstGeom>
        </p:spPr>
        <p:txBody>
          <a:bodyPr wrap="square">
            <a:spAutoFit/>
          </a:bodyPr>
          <a:lstStyle/>
          <a:p>
            <a:pPr>
              <a:lnSpc>
                <a:spcPct val="105000"/>
              </a:lnSpc>
              <a:buClr>
                <a:srgbClr val="003F4C"/>
              </a:buClr>
            </a:pPr>
            <a:r>
              <a:rPr lang="en-US" sz="1400" dirty="0"/>
              <a:t>No change</a:t>
            </a:r>
            <a:endParaRPr lang="en-US" sz="1400" dirty="0">
              <a:solidFill>
                <a:schemeClr val="bg1">
                  <a:lumMod val="50000"/>
                </a:schemeClr>
              </a:solidFill>
            </a:endParaRPr>
          </a:p>
        </p:txBody>
      </p:sp>
      <p:sp>
        <p:nvSpPr>
          <p:cNvPr id="34" name="Rectangle 33"/>
          <p:cNvSpPr/>
          <p:nvPr/>
        </p:nvSpPr>
        <p:spPr>
          <a:xfrm>
            <a:off x="6882026" y="2298803"/>
            <a:ext cx="1598098" cy="318549"/>
          </a:xfrm>
          <a:prstGeom prst="rect">
            <a:avLst/>
          </a:prstGeom>
        </p:spPr>
        <p:txBody>
          <a:bodyPr wrap="square">
            <a:spAutoFit/>
          </a:bodyPr>
          <a:lstStyle/>
          <a:p>
            <a:pPr>
              <a:lnSpc>
                <a:spcPct val="105000"/>
              </a:lnSpc>
              <a:buClr>
                <a:srgbClr val="003F4C"/>
              </a:buClr>
            </a:pPr>
            <a:r>
              <a:rPr lang="en-US" sz="1400" dirty="0"/>
              <a:t>Worsened</a:t>
            </a:r>
            <a:endParaRPr lang="en-US" sz="1400" dirty="0">
              <a:solidFill>
                <a:schemeClr val="bg1">
                  <a:lumMod val="50000"/>
                </a:schemeClr>
              </a:solidFill>
            </a:endParaRPr>
          </a:p>
        </p:txBody>
      </p:sp>
      <p:sp>
        <p:nvSpPr>
          <p:cNvPr id="35" name="Rectangle 34"/>
          <p:cNvSpPr/>
          <p:nvPr/>
        </p:nvSpPr>
        <p:spPr>
          <a:xfrm>
            <a:off x="4676185" y="2391363"/>
            <a:ext cx="147168" cy="128270"/>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36" name="Rectangle 35"/>
          <p:cNvSpPr/>
          <p:nvPr/>
        </p:nvSpPr>
        <p:spPr>
          <a:xfrm>
            <a:off x="6701968" y="1966780"/>
            <a:ext cx="147168" cy="128270"/>
          </a:xfrm>
          <a:prstGeom prst="rect">
            <a:avLst/>
          </a:prstGeom>
          <a:solidFill>
            <a:srgbClr val="B1B5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37" name="Rectangle 36"/>
          <p:cNvSpPr/>
          <p:nvPr/>
        </p:nvSpPr>
        <p:spPr>
          <a:xfrm>
            <a:off x="6701968" y="2391363"/>
            <a:ext cx="147168" cy="128270"/>
          </a:xfrm>
          <a:prstGeom prst="rect">
            <a:avLst/>
          </a:prstGeom>
          <a:solidFill>
            <a:srgbClr val="636B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graphicFrame>
        <p:nvGraphicFramePr>
          <p:cNvPr id="38" name="Content Placeholder 12"/>
          <p:cNvGraphicFramePr>
            <a:graphicFrameLocks/>
          </p:cNvGraphicFramePr>
          <p:nvPr/>
        </p:nvGraphicFramePr>
        <p:xfrm>
          <a:off x="-147842" y="1772912"/>
          <a:ext cx="3945929" cy="3252478"/>
        </p:xfrm>
        <a:graphic>
          <a:graphicData uri="http://schemas.openxmlformats.org/drawingml/2006/chart">
            <c:chart xmlns:c="http://schemas.openxmlformats.org/drawingml/2006/chart" xmlns:r="http://schemas.openxmlformats.org/officeDocument/2006/relationships" r:id="rId7"/>
          </a:graphicData>
        </a:graphic>
      </p:graphicFrame>
      <p:pic>
        <p:nvPicPr>
          <p:cNvPr id="40" name="Picture 39"/>
          <p:cNvPicPr>
            <a:picLocks noChangeAspect="1"/>
          </p:cNvPicPr>
          <p:nvPr/>
        </p:nvPicPr>
        <p:blipFill rotWithShape="1">
          <a:blip r:embed="rId8" cstate="hqprint">
            <a:extLst>
              <a:ext uri="{28A0092B-C50C-407E-A947-70E740481C1C}">
                <a14:useLocalDpi xmlns:a14="http://schemas.microsoft.com/office/drawing/2010/main"/>
              </a:ext>
            </a:extLst>
          </a:blip>
          <a:srcRect b="53654"/>
          <a:stretch/>
        </p:blipFill>
        <p:spPr>
          <a:xfrm rot="10800000">
            <a:off x="1279226" y="2097416"/>
            <a:ext cx="1551008" cy="221542"/>
          </a:xfrm>
          <a:prstGeom prst="rect">
            <a:avLst/>
          </a:prstGeom>
          <a:noFill/>
          <a:ln w="9525">
            <a:noFill/>
            <a:miter lim="800000"/>
            <a:headEnd/>
            <a:tailEnd/>
          </a:ln>
          <a:effectLst/>
        </p:spPr>
      </p:pic>
      <p:sp>
        <p:nvSpPr>
          <p:cNvPr id="13" name="TextBox 12"/>
          <p:cNvSpPr txBox="1"/>
          <p:nvPr/>
        </p:nvSpPr>
        <p:spPr>
          <a:xfrm>
            <a:off x="471976" y="4096813"/>
            <a:ext cx="1485869" cy="584775"/>
          </a:xfrm>
          <a:prstGeom prst="rect">
            <a:avLst/>
          </a:prstGeom>
          <a:noFill/>
        </p:spPr>
        <p:txBody>
          <a:bodyPr wrap="square" rtlCol="0">
            <a:spAutoFit/>
          </a:bodyPr>
          <a:lstStyle/>
          <a:p>
            <a:pPr algn="ctr"/>
            <a:r>
              <a:rPr lang="en-US" b="1" dirty="0"/>
              <a:t>Treatment</a:t>
            </a:r>
            <a:r>
              <a:rPr lang="en-US" sz="1600" b="1" dirty="0"/>
              <a:t> </a:t>
            </a:r>
            <a:r>
              <a:rPr lang="en-US" sz="1400" b="1" dirty="0"/>
              <a:t>(N=58)</a:t>
            </a:r>
          </a:p>
        </p:txBody>
      </p:sp>
      <p:sp>
        <p:nvSpPr>
          <p:cNvPr id="41" name="TextBox 40"/>
          <p:cNvSpPr txBox="1"/>
          <p:nvPr/>
        </p:nvSpPr>
        <p:spPr>
          <a:xfrm>
            <a:off x="2008151" y="4096813"/>
            <a:ext cx="1485869" cy="584775"/>
          </a:xfrm>
          <a:prstGeom prst="rect">
            <a:avLst/>
          </a:prstGeom>
          <a:noFill/>
        </p:spPr>
        <p:txBody>
          <a:bodyPr wrap="square" rtlCol="0">
            <a:spAutoFit/>
          </a:bodyPr>
          <a:lstStyle/>
          <a:p>
            <a:pPr algn="ctr"/>
            <a:r>
              <a:rPr lang="en-US" b="1" dirty="0"/>
              <a:t>Control</a:t>
            </a:r>
          </a:p>
          <a:p>
            <a:pPr algn="ctr"/>
            <a:r>
              <a:rPr lang="en-US" sz="1400" b="1" dirty="0"/>
              <a:t>(N=73)</a:t>
            </a:r>
          </a:p>
        </p:txBody>
      </p:sp>
      <p:sp>
        <p:nvSpPr>
          <p:cNvPr id="9" name="TextBox 8"/>
          <p:cNvSpPr txBox="1"/>
          <p:nvPr/>
        </p:nvSpPr>
        <p:spPr>
          <a:xfrm>
            <a:off x="1793690" y="1843003"/>
            <a:ext cx="875975" cy="276999"/>
          </a:xfrm>
          <a:prstGeom prst="rect">
            <a:avLst/>
          </a:prstGeom>
          <a:noFill/>
        </p:spPr>
        <p:txBody>
          <a:bodyPr wrap="square" rtlCol="0">
            <a:spAutoFit/>
          </a:bodyPr>
          <a:lstStyle/>
          <a:p>
            <a:r>
              <a:rPr lang="en-US" sz="1200" dirty="0"/>
              <a:t>p &lt; 0.0001</a:t>
            </a:r>
          </a:p>
        </p:txBody>
      </p:sp>
      <p:sp>
        <p:nvSpPr>
          <p:cNvPr id="11" name="Rectangle 10"/>
          <p:cNvSpPr/>
          <p:nvPr/>
        </p:nvSpPr>
        <p:spPr>
          <a:xfrm>
            <a:off x="6986539" y="3522258"/>
            <a:ext cx="218993" cy="127344"/>
          </a:xfrm>
          <a:prstGeom prst="rect">
            <a:avLst/>
          </a:prstGeom>
          <a:solidFill>
            <a:srgbClr val="FFFFFF">
              <a:alpha val="6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Box 9"/>
          <p:cNvSpPr txBox="1"/>
          <p:nvPr/>
        </p:nvSpPr>
        <p:spPr>
          <a:xfrm>
            <a:off x="6921623" y="3435298"/>
            <a:ext cx="427566" cy="292388"/>
          </a:xfrm>
          <a:prstGeom prst="rect">
            <a:avLst/>
          </a:prstGeom>
          <a:noFill/>
        </p:spPr>
        <p:txBody>
          <a:bodyPr wrap="square" rtlCol="0">
            <a:spAutoFit/>
          </a:bodyPr>
          <a:lstStyle/>
          <a:p>
            <a:r>
              <a:rPr lang="en-US" sz="1300" b="1" dirty="0"/>
              <a:t>6%</a:t>
            </a:r>
          </a:p>
        </p:txBody>
      </p:sp>
      <p:sp>
        <p:nvSpPr>
          <p:cNvPr id="44" name="Rectangle 43"/>
          <p:cNvSpPr/>
          <p:nvPr/>
        </p:nvSpPr>
        <p:spPr>
          <a:xfrm>
            <a:off x="8279198" y="1841019"/>
            <a:ext cx="3793092" cy="3771777"/>
          </a:xfrm>
          <a:prstGeom prst="rect">
            <a:avLst/>
          </a:prstGeom>
          <a:solidFill>
            <a:schemeClr val="bg1"/>
          </a:solidFill>
          <a:ln w="19050"/>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p>
        </p:txBody>
      </p:sp>
      <p:sp>
        <p:nvSpPr>
          <p:cNvPr id="6" name="Donut 5"/>
          <p:cNvSpPr/>
          <p:nvPr/>
        </p:nvSpPr>
        <p:spPr>
          <a:xfrm>
            <a:off x="8491826" y="2135661"/>
            <a:ext cx="3178296" cy="3178296"/>
          </a:xfrm>
          <a:prstGeom prst="donut">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45" name="Pie 44"/>
          <p:cNvSpPr/>
          <p:nvPr/>
        </p:nvSpPr>
        <p:spPr>
          <a:xfrm rot="13500000">
            <a:off x="8493171" y="2119229"/>
            <a:ext cx="3175603" cy="3194729"/>
          </a:xfrm>
          <a:prstGeom prst="pie">
            <a:avLst>
              <a:gd name="adj1" fmla="val 2082202"/>
              <a:gd name="adj2" fmla="val 2704354"/>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TextBox 45"/>
          <p:cNvSpPr txBox="1"/>
          <p:nvPr/>
        </p:nvSpPr>
        <p:spPr>
          <a:xfrm>
            <a:off x="9258766" y="3362650"/>
            <a:ext cx="1845062" cy="707886"/>
          </a:xfrm>
          <a:prstGeom prst="rect">
            <a:avLst/>
          </a:prstGeom>
          <a:noFill/>
        </p:spPr>
        <p:txBody>
          <a:bodyPr wrap="square" rtlCol="0">
            <a:spAutoFit/>
          </a:bodyPr>
          <a:lstStyle/>
          <a:p>
            <a:pPr algn="ctr"/>
            <a:r>
              <a:rPr lang="en-US" sz="4000" dirty="0"/>
              <a:t>95%</a:t>
            </a:r>
          </a:p>
        </p:txBody>
      </p:sp>
      <p:sp>
        <p:nvSpPr>
          <p:cNvPr id="14" name="TextBox 13"/>
          <p:cNvSpPr txBox="1"/>
          <p:nvPr/>
        </p:nvSpPr>
        <p:spPr>
          <a:xfrm>
            <a:off x="219546" y="5294078"/>
            <a:ext cx="3525128" cy="276999"/>
          </a:xfrm>
          <a:prstGeom prst="rect">
            <a:avLst/>
          </a:prstGeom>
          <a:noFill/>
        </p:spPr>
        <p:txBody>
          <a:bodyPr wrap="square" rtlCol="0">
            <a:spAutoFit/>
          </a:bodyPr>
          <a:lstStyle/>
          <a:p>
            <a:r>
              <a:rPr lang="en-US" sz="1200" dirty="0"/>
              <a:t>&gt;2.5 change in ESS is considered clinically meaningful</a:t>
            </a:r>
            <a:r>
              <a:rPr lang="en-US" sz="1200" baseline="30000" dirty="0"/>
              <a:t>2</a:t>
            </a:r>
            <a:r>
              <a:rPr lang="en-US" sz="1200" dirty="0"/>
              <a:t> </a:t>
            </a:r>
          </a:p>
        </p:txBody>
      </p:sp>
      <p:sp>
        <p:nvSpPr>
          <p:cNvPr id="8" name="Slide Number Placeholder 7">
            <a:extLst>
              <a:ext uri="{FF2B5EF4-FFF2-40B4-BE49-F238E27FC236}">
                <a16:creationId xmlns:a16="http://schemas.microsoft.com/office/drawing/2014/main" id="{E3B22001-FE35-3AB1-748A-32A8584A8B2B}"/>
              </a:ext>
            </a:extLst>
          </p:cNvPr>
          <p:cNvSpPr>
            <a:spLocks noGrp="1"/>
          </p:cNvSpPr>
          <p:nvPr>
            <p:ph type="sldNum" sz="quarter" idx="12"/>
          </p:nvPr>
        </p:nvSpPr>
        <p:spPr/>
        <p:txBody>
          <a:bodyPr/>
          <a:lstStyle/>
          <a:p>
            <a:fld id="{21D51F98-DEF0-4E23-AE94-24E7CFC19B28}" type="slidenum">
              <a:rPr lang="en-US" smtClean="0"/>
              <a:t>38</a:t>
            </a:fld>
            <a:endParaRPr lang="en-US"/>
          </a:p>
        </p:txBody>
      </p:sp>
      <p:sp>
        <p:nvSpPr>
          <p:cNvPr id="18" name="Footer Placeholder 5">
            <a:extLst>
              <a:ext uri="{FF2B5EF4-FFF2-40B4-BE49-F238E27FC236}">
                <a16:creationId xmlns:a16="http://schemas.microsoft.com/office/drawing/2014/main" id="{0FC3BA93-B9C4-97CD-FC82-77567991CFDE}"/>
              </a:ext>
            </a:extLst>
          </p:cNvPr>
          <p:cNvSpPr>
            <a:spLocks noGrp="1"/>
          </p:cNvSpPr>
          <p:nvPr>
            <p:ph type="ftr" sz="quarter" idx="11"/>
          </p:nvPr>
        </p:nvSpPr>
        <p:spPr>
          <a:xfrm>
            <a:off x="3684598" y="6459785"/>
            <a:ext cx="4822804" cy="365125"/>
          </a:xfrm>
        </p:spPr>
        <p:txBody>
          <a:bodyPr/>
          <a:lstStyle/>
          <a:p>
            <a:r>
              <a:rPr lang="en-US" dirty="0"/>
              <a:t>MAF1937 Rev E</a:t>
            </a:r>
          </a:p>
        </p:txBody>
      </p:sp>
    </p:spTree>
    <p:extLst>
      <p:ext uri="{BB962C8B-B14F-4D97-AF65-F5344CB8AC3E}">
        <p14:creationId xmlns:p14="http://schemas.microsoft.com/office/powerpoint/2010/main" val="13067034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6" imgH="396" progId="TCLayout.ActiveDocument.1">
                  <p:embed/>
                </p:oleObj>
              </mc:Choice>
              <mc:Fallback>
                <p:oleObj name="think-cell Slide" r:id="rId5" imgW="396" imgH="396"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2400" b="1" dirty="0">
              <a:latin typeface="Calibri" panose="020F0502020204030204" pitchFamily="34" charset="0"/>
              <a:ea typeface="+mj-ea"/>
              <a:cs typeface="+mj-cs"/>
              <a:sym typeface="Calibri" panose="020F0502020204030204" pitchFamily="34" charset="0"/>
            </a:endParaRPr>
          </a:p>
        </p:txBody>
      </p:sp>
      <p:sp>
        <p:nvSpPr>
          <p:cNvPr id="14" name="Rectangle 13"/>
          <p:cNvSpPr/>
          <p:nvPr/>
        </p:nvSpPr>
        <p:spPr>
          <a:xfrm>
            <a:off x="604238" y="1334783"/>
            <a:ext cx="10983524" cy="3416320"/>
          </a:xfrm>
          <a:prstGeom prst="rect">
            <a:avLst/>
          </a:prstGeom>
        </p:spPr>
        <p:txBody>
          <a:bodyPr wrap="square">
            <a:spAutoFit/>
          </a:bodyPr>
          <a:lstStyle/>
          <a:p>
            <a:pPr marL="342900" indent="-342900">
              <a:buFont typeface="Arial" panose="020B0604020202020204" pitchFamily="34" charset="0"/>
              <a:buChar char="•"/>
            </a:pPr>
            <a:r>
              <a:rPr lang="en-US" sz="2400" b="1" dirty="0">
                <a:cs typeface="Arial" panose="020B0604020202020204" pitchFamily="34" charset="0"/>
              </a:rPr>
              <a:t>91% </a:t>
            </a:r>
            <a:r>
              <a:rPr lang="en-US" sz="2400" dirty="0">
                <a:cs typeface="Arial" panose="020B0604020202020204" pitchFamily="34" charset="0"/>
              </a:rPr>
              <a:t>(CI: 86%,95%) </a:t>
            </a:r>
            <a:r>
              <a:rPr lang="en-US" sz="2400" b="1" dirty="0">
                <a:cs typeface="Arial" panose="020B0604020202020204" pitchFamily="34" charset="0"/>
              </a:rPr>
              <a:t>freedom from serious adverse events </a:t>
            </a:r>
            <a:r>
              <a:rPr lang="en-US" sz="2400" dirty="0">
                <a:cs typeface="Arial" panose="020B0604020202020204" pitchFamily="34" charset="0"/>
              </a:rPr>
              <a:t>associated with the implant procedure, the </a:t>
            </a:r>
            <a:r>
              <a:rPr lang="en-US" sz="2400" b="1" dirty="0">
                <a:cs typeface="Arial" panose="020B0604020202020204" pitchFamily="34" charset="0"/>
              </a:rPr>
              <a:t>rem</a:t>
            </a:r>
            <a:r>
              <a:rPr lang="en-US" sz="2400" dirty="0">
                <a:cs typeface="Arial" panose="020B0604020202020204" pitchFamily="34" charset="0"/>
              </a:rPr>
              <a:t>edē® System, or the delivered therapy at 12 months </a:t>
            </a:r>
          </a:p>
          <a:p>
            <a:pPr marL="342900" indent="-342900">
              <a:buFont typeface="Arial" panose="020B0604020202020204" pitchFamily="34" charset="0"/>
              <a:buChar char="•"/>
            </a:pPr>
            <a:endParaRPr lang="en-US" sz="2400" dirty="0">
              <a:cs typeface="Arial" panose="020B0604020202020204" pitchFamily="34" charset="0"/>
            </a:endParaRPr>
          </a:p>
          <a:p>
            <a:pPr marL="342900" indent="-342900">
              <a:buFont typeface="Arial" panose="020B0604020202020204" pitchFamily="34" charset="0"/>
              <a:buChar char="•"/>
            </a:pPr>
            <a:r>
              <a:rPr lang="en-US" sz="2400" dirty="0">
                <a:cs typeface="Arial" panose="020B0604020202020204" pitchFamily="34" charset="0"/>
              </a:rPr>
              <a:t>All related serious adverse events resolved </a:t>
            </a:r>
            <a:r>
              <a:rPr lang="en-US" sz="2400" b="1" dirty="0">
                <a:cs typeface="Arial" panose="020B0604020202020204" pitchFamily="34" charset="0"/>
              </a:rPr>
              <a:t>without any long term sequelae</a:t>
            </a:r>
          </a:p>
          <a:p>
            <a:pPr marL="342900" lvl="1" indent="-342900">
              <a:buFont typeface="Arial" panose="020B0604020202020204" pitchFamily="34" charset="0"/>
              <a:buChar char="•"/>
            </a:pPr>
            <a:endParaRPr lang="en-US" sz="2400" dirty="0">
              <a:cs typeface="Arial" panose="020B0604020202020204" pitchFamily="34" charset="0"/>
            </a:endParaRPr>
          </a:p>
          <a:p>
            <a:pPr marL="342900" lvl="1" indent="-342900">
              <a:buFont typeface="Arial" panose="020B0604020202020204" pitchFamily="34" charset="0"/>
              <a:buChar char="•"/>
            </a:pPr>
            <a:r>
              <a:rPr lang="en-US" sz="2400" b="1" dirty="0">
                <a:cs typeface="Arial" panose="020B0604020202020204" pitchFamily="34" charset="0"/>
              </a:rPr>
              <a:t>No deaths</a:t>
            </a:r>
            <a:r>
              <a:rPr lang="en-US" sz="2400" dirty="0">
                <a:cs typeface="Arial" panose="020B0604020202020204" pitchFamily="34" charset="0"/>
              </a:rPr>
              <a:t> related to the procedure, system or therapy</a:t>
            </a:r>
          </a:p>
          <a:p>
            <a:pPr marL="342900" lvl="1" indent="-342900">
              <a:buFont typeface="Arial" panose="020B0604020202020204" pitchFamily="34" charset="0"/>
              <a:buChar char="•"/>
            </a:pPr>
            <a:endParaRPr lang="en-US" sz="2400" dirty="0">
              <a:cs typeface="Arial" panose="020B0604020202020204" pitchFamily="34" charset="0"/>
            </a:endParaRPr>
          </a:p>
          <a:p>
            <a:pPr marL="342900" lvl="1" indent="-342900">
              <a:buFont typeface="Arial" panose="020B0604020202020204" pitchFamily="34" charset="0"/>
              <a:buChar char="•"/>
            </a:pPr>
            <a:r>
              <a:rPr lang="en-US" sz="2400" b="1" dirty="0">
                <a:cs typeface="Arial" panose="020B0604020202020204" pitchFamily="34" charset="0"/>
              </a:rPr>
              <a:t>97%</a:t>
            </a:r>
            <a:r>
              <a:rPr lang="en-US" sz="2400" dirty="0">
                <a:cs typeface="Arial" panose="020B0604020202020204" pitchFamily="34" charset="0"/>
              </a:rPr>
              <a:t> </a:t>
            </a:r>
            <a:r>
              <a:rPr lang="en-US" sz="2400" b="1" dirty="0">
                <a:cs typeface="Arial" panose="020B0604020202020204" pitchFamily="34" charset="0"/>
              </a:rPr>
              <a:t>implant success </a:t>
            </a:r>
            <a:r>
              <a:rPr lang="en-US" sz="2400" dirty="0">
                <a:cs typeface="Arial" panose="020B0604020202020204" pitchFamily="34" charset="0"/>
              </a:rPr>
              <a:t>rate, including the 42% of subjects that already had a concomitant cardiac device</a:t>
            </a:r>
          </a:p>
        </p:txBody>
      </p:sp>
      <p:sp>
        <p:nvSpPr>
          <p:cNvPr id="3" name="Title 2"/>
          <p:cNvSpPr>
            <a:spLocks noGrp="1"/>
          </p:cNvSpPr>
          <p:nvPr>
            <p:ph type="title" idx="4294967295"/>
          </p:nvPr>
        </p:nvSpPr>
        <p:spPr>
          <a:xfrm>
            <a:off x="441852" y="183119"/>
            <a:ext cx="11617325" cy="638175"/>
          </a:xfrm>
        </p:spPr>
        <p:txBody>
          <a:bodyPr>
            <a:normAutofit/>
          </a:bodyPr>
          <a:lstStyle/>
          <a:p>
            <a:r>
              <a:rPr lang="en-US" sz="3200" b="1" dirty="0">
                <a:solidFill>
                  <a:schemeClr val="accent2"/>
                </a:solidFill>
                <a:latin typeface="+mn-lt"/>
              </a:rPr>
              <a:t>The rem</a:t>
            </a:r>
            <a:r>
              <a:rPr lang="en-US" sz="3200" dirty="0">
                <a:solidFill>
                  <a:schemeClr val="accent2"/>
                </a:solidFill>
                <a:latin typeface="+mn-lt"/>
              </a:rPr>
              <a:t>edē </a:t>
            </a:r>
            <a:r>
              <a:rPr lang="en-US" sz="3200" b="1" dirty="0">
                <a:solidFill>
                  <a:schemeClr val="accent2"/>
                </a:solidFill>
                <a:latin typeface="+mn-lt"/>
              </a:rPr>
              <a:t>System pivotal trial demonstrated a strong safety profile</a:t>
            </a:r>
          </a:p>
        </p:txBody>
      </p:sp>
      <p:sp>
        <p:nvSpPr>
          <p:cNvPr id="9" name="TextBox 8"/>
          <p:cNvSpPr txBox="1"/>
          <p:nvPr/>
        </p:nvSpPr>
        <p:spPr>
          <a:xfrm>
            <a:off x="202570" y="5971166"/>
            <a:ext cx="8926809" cy="215444"/>
          </a:xfrm>
          <a:prstGeom prst="rect">
            <a:avLst/>
          </a:prstGeom>
          <a:noFill/>
        </p:spPr>
        <p:txBody>
          <a:bodyPr wrap="square" rtlCol="0">
            <a:spAutoFit/>
          </a:bodyPr>
          <a:lstStyle/>
          <a:p>
            <a:r>
              <a:rPr lang="en-US" sz="800" dirty="0"/>
              <a:t>Costanzo MR, et al., The Lancet 2016;388:974–82.</a:t>
            </a:r>
          </a:p>
        </p:txBody>
      </p:sp>
      <p:sp>
        <p:nvSpPr>
          <p:cNvPr id="6" name="Slide Number Placeholder 5">
            <a:extLst>
              <a:ext uri="{FF2B5EF4-FFF2-40B4-BE49-F238E27FC236}">
                <a16:creationId xmlns:a16="http://schemas.microsoft.com/office/drawing/2014/main" id="{E598AB87-F376-BFB5-EBAB-FF1BB356D7CF}"/>
              </a:ext>
            </a:extLst>
          </p:cNvPr>
          <p:cNvSpPr>
            <a:spLocks noGrp="1"/>
          </p:cNvSpPr>
          <p:nvPr>
            <p:ph type="sldNum" sz="quarter" idx="12"/>
          </p:nvPr>
        </p:nvSpPr>
        <p:spPr/>
        <p:txBody>
          <a:bodyPr/>
          <a:lstStyle/>
          <a:p>
            <a:fld id="{21D51F98-DEF0-4E23-AE94-24E7CFC19B28}" type="slidenum">
              <a:rPr lang="en-US" smtClean="0"/>
              <a:t>39</a:t>
            </a:fld>
            <a:endParaRPr lang="en-US"/>
          </a:p>
        </p:txBody>
      </p:sp>
      <p:sp>
        <p:nvSpPr>
          <p:cNvPr id="8" name="Footer Placeholder 5">
            <a:extLst>
              <a:ext uri="{FF2B5EF4-FFF2-40B4-BE49-F238E27FC236}">
                <a16:creationId xmlns:a16="http://schemas.microsoft.com/office/drawing/2014/main" id="{46747E3A-45D4-E83A-A714-7BE8316CD130}"/>
              </a:ext>
            </a:extLst>
          </p:cNvPr>
          <p:cNvSpPr>
            <a:spLocks noGrp="1"/>
          </p:cNvSpPr>
          <p:nvPr>
            <p:ph type="ftr" sz="quarter" idx="11"/>
          </p:nvPr>
        </p:nvSpPr>
        <p:spPr>
          <a:xfrm>
            <a:off x="3684598" y="6459785"/>
            <a:ext cx="4822804" cy="365125"/>
          </a:xfrm>
        </p:spPr>
        <p:txBody>
          <a:bodyPr/>
          <a:lstStyle/>
          <a:p>
            <a:r>
              <a:rPr lang="en-US" dirty="0"/>
              <a:t>MAF1937 Rev E</a:t>
            </a:r>
          </a:p>
        </p:txBody>
      </p:sp>
    </p:spTree>
    <p:extLst>
      <p:ext uri="{BB962C8B-B14F-4D97-AF65-F5344CB8AC3E}">
        <p14:creationId xmlns:p14="http://schemas.microsoft.com/office/powerpoint/2010/main" val="94754487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2">
            <a:extLst>
              <a:ext uri="{FF2B5EF4-FFF2-40B4-BE49-F238E27FC236}">
                <a16:creationId xmlns:a16="http://schemas.microsoft.com/office/drawing/2014/main" id="{66C765E2-43A0-497F-B02A-FA103BB0217F}"/>
              </a:ext>
            </a:extLst>
          </p:cNvPr>
          <p:cNvSpPr>
            <a:spLocks noGrp="1"/>
          </p:cNvSpPr>
          <p:nvPr>
            <p:ph type="title" idx="4294967295"/>
          </p:nvPr>
        </p:nvSpPr>
        <p:spPr>
          <a:xfrm>
            <a:off x="472966" y="494174"/>
            <a:ext cx="10972800" cy="655637"/>
          </a:xfrm>
        </p:spPr>
        <p:txBody>
          <a:bodyPr>
            <a:noAutofit/>
          </a:bodyPr>
          <a:lstStyle/>
          <a:p>
            <a:r>
              <a:rPr lang="en-US" sz="3600" b="1" dirty="0">
                <a:solidFill>
                  <a:schemeClr val="accent2"/>
                </a:solidFill>
                <a:latin typeface="+mn-lt"/>
              </a:rPr>
              <a:t>Each Sleep Apnea Episode Results in </a:t>
            </a:r>
            <a:br>
              <a:rPr lang="en-US" sz="3600" b="1" dirty="0">
                <a:solidFill>
                  <a:schemeClr val="accent2"/>
                </a:solidFill>
                <a:latin typeface="+mn-lt"/>
              </a:rPr>
            </a:br>
            <a:r>
              <a:rPr lang="en-US" sz="3600" b="1" i="1" dirty="0">
                <a:solidFill>
                  <a:schemeClr val="accent2"/>
                </a:solidFill>
                <a:latin typeface="+mn-lt"/>
              </a:rPr>
              <a:t>Significant Downstream Effects</a:t>
            </a:r>
          </a:p>
        </p:txBody>
      </p:sp>
      <p:graphicFrame>
        <p:nvGraphicFramePr>
          <p:cNvPr id="6" name="Content Placeholder 3">
            <a:extLst>
              <a:ext uri="{FF2B5EF4-FFF2-40B4-BE49-F238E27FC236}">
                <a16:creationId xmlns:a16="http://schemas.microsoft.com/office/drawing/2014/main" id="{4F0B845A-C7AF-45FD-AEF8-C1ABD9E14C9E}"/>
              </a:ext>
            </a:extLst>
          </p:cNvPr>
          <p:cNvGraphicFramePr>
            <a:graphicFrameLocks/>
          </p:cNvGraphicFramePr>
          <p:nvPr>
            <p:extLst>
              <p:ext uri="{D42A27DB-BD31-4B8C-83A1-F6EECF244321}">
                <p14:modId xmlns:p14="http://schemas.microsoft.com/office/powerpoint/2010/main" val="2486810033"/>
              </p:ext>
            </p:extLst>
          </p:nvPr>
        </p:nvGraphicFramePr>
        <p:xfrm>
          <a:off x="872360" y="1229710"/>
          <a:ext cx="10174012" cy="499241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7" name="TextBox 6">
            <a:extLst>
              <a:ext uri="{FF2B5EF4-FFF2-40B4-BE49-F238E27FC236}">
                <a16:creationId xmlns:a16="http://schemas.microsoft.com/office/drawing/2014/main" id="{AF854FAC-45AD-41B5-B4AD-88AD04308B37}"/>
              </a:ext>
            </a:extLst>
          </p:cNvPr>
          <p:cNvSpPr txBox="1"/>
          <p:nvPr/>
        </p:nvSpPr>
        <p:spPr>
          <a:xfrm>
            <a:off x="287876" y="5945124"/>
            <a:ext cx="5438737" cy="276999"/>
          </a:xfrm>
          <a:prstGeom prst="rect">
            <a:avLst/>
          </a:prstGeom>
          <a:noFill/>
        </p:spPr>
        <p:txBody>
          <a:bodyPr wrap="square" rtlCol="0">
            <a:spAutoFit/>
          </a:bodyPr>
          <a:lstStyle/>
          <a:p>
            <a:pPr algn="l"/>
            <a:r>
              <a:rPr lang="en-US" sz="1200" dirty="0">
                <a:latin typeface="+mj-lt"/>
              </a:rPr>
              <a:t>Courtesy S Javaheri, with permission</a:t>
            </a:r>
          </a:p>
        </p:txBody>
      </p:sp>
      <p:sp>
        <p:nvSpPr>
          <p:cNvPr id="3" name="Slide Number Placeholder 2">
            <a:extLst>
              <a:ext uri="{FF2B5EF4-FFF2-40B4-BE49-F238E27FC236}">
                <a16:creationId xmlns:a16="http://schemas.microsoft.com/office/drawing/2014/main" id="{D6483065-16C1-6140-E1DC-9F3E777BA358}"/>
              </a:ext>
            </a:extLst>
          </p:cNvPr>
          <p:cNvSpPr>
            <a:spLocks noGrp="1"/>
          </p:cNvSpPr>
          <p:nvPr>
            <p:ph type="sldNum" sz="quarter" idx="12"/>
          </p:nvPr>
        </p:nvSpPr>
        <p:spPr/>
        <p:txBody>
          <a:bodyPr/>
          <a:lstStyle/>
          <a:p>
            <a:fld id="{21D51F98-DEF0-4E23-AE94-24E7CFC19B28}" type="slidenum">
              <a:rPr lang="en-US" smtClean="0"/>
              <a:t>4</a:t>
            </a:fld>
            <a:endParaRPr lang="en-US" dirty="0"/>
          </a:p>
        </p:txBody>
      </p:sp>
      <p:sp>
        <p:nvSpPr>
          <p:cNvPr id="8" name="Footer Placeholder 5">
            <a:extLst>
              <a:ext uri="{FF2B5EF4-FFF2-40B4-BE49-F238E27FC236}">
                <a16:creationId xmlns:a16="http://schemas.microsoft.com/office/drawing/2014/main" id="{9CBC7E3C-5166-714B-EFB2-C58B9C3F4AF1}"/>
              </a:ext>
            </a:extLst>
          </p:cNvPr>
          <p:cNvSpPr>
            <a:spLocks noGrp="1"/>
          </p:cNvSpPr>
          <p:nvPr>
            <p:ph type="ftr" sz="quarter" idx="11"/>
          </p:nvPr>
        </p:nvSpPr>
        <p:spPr>
          <a:xfrm>
            <a:off x="3684598" y="6459785"/>
            <a:ext cx="4822804" cy="365125"/>
          </a:xfrm>
        </p:spPr>
        <p:txBody>
          <a:bodyPr/>
          <a:lstStyle/>
          <a:p>
            <a:r>
              <a:rPr lang="en-US" dirty="0"/>
              <a:t>MAF1937 Rev E</a:t>
            </a:r>
          </a:p>
        </p:txBody>
      </p:sp>
    </p:spTree>
    <p:extLst>
      <p:ext uri="{BB962C8B-B14F-4D97-AF65-F5344CB8AC3E}">
        <p14:creationId xmlns:p14="http://schemas.microsoft.com/office/powerpoint/2010/main" val="384968731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097280" y="286604"/>
            <a:ext cx="10058400" cy="968440"/>
          </a:xfrm>
        </p:spPr>
        <p:txBody>
          <a:bodyPr>
            <a:normAutofit/>
          </a:bodyPr>
          <a:lstStyle/>
          <a:p>
            <a:r>
              <a:rPr lang="en-US" sz="4000" b="1" dirty="0">
                <a:solidFill>
                  <a:schemeClr val="accent2"/>
                </a:solidFill>
                <a:latin typeface="+mn-lt"/>
              </a:rPr>
              <a:t>Conclusions</a:t>
            </a:r>
          </a:p>
        </p:txBody>
      </p:sp>
      <p:sp>
        <p:nvSpPr>
          <p:cNvPr id="7" name="Content Placeholder 6">
            <a:extLst>
              <a:ext uri="{FF2B5EF4-FFF2-40B4-BE49-F238E27FC236}">
                <a16:creationId xmlns:a16="http://schemas.microsoft.com/office/drawing/2014/main" id="{DDE1C67B-EB33-5B25-CA00-60F72F9416CF}"/>
              </a:ext>
            </a:extLst>
          </p:cNvPr>
          <p:cNvSpPr>
            <a:spLocks noGrp="1"/>
          </p:cNvSpPr>
          <p:nvPr>
            <p:ph idx="1"/>
          </p:nvPr>
        </p:nvSpPr>
        <p:spPr/>
        <p:txBody>
          <a:bodyPr>
            <a:normAutofit/>
          </a:bodyPr>
          <a:lstStyle/>
          <a:p>
            <a:pPr marL="0" indent="0">
              <a:buClr>
                <a:srgbClr val="1CADE4"/>
              </a:buClr>
              <a:buSzPct val="90000"/>
              <a:buNone/>
              <a:defRPr/>
            </a:pPr>
            <a:r>
              <a:rPr kumimoji="0" lang="en-US" sz="26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rPr>
              <a:t>Sleep apnea is a common comorbidity among patients with cardiovascular diseases, which if untreated can have significant negative impact on outcomes</a:t>
            </a:r>
          </a:p>
          <a:p>
            <a:pPr marL="0" indent="0">
              <a:buClr>
                <a:srgbClr val="1CADE4"/>
              </a:buClr>
              <a:buSzPct val="90000"/>
              <a:buNone/>
              <a:defRPr/>
            </a:pPr>
            <a:r>
              <a:rPr kumimoji="0" lang="en-US" sz="26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rPr>
              <a:t>Central Sleep Apnea contributes to a harmful progressive cycle of hypoxia, arousal and sympathetic activation</a:t>
            </a:r>
          </a:p>
          <a:p>
            <a:pPr marL="0" indent="0">
              <a:buClr>
                <a:srgbClr val="1CADE4"/>
              </a:buClr>
              <a:buSzPct val="90000"/>
              <a:buNone/>
              <a:defRPr/>
            </a:pPr>
            <a:r>
              <a:rPr kumimoji="0" lang="en-US" sz="26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rPr>
              <a:t>There have been few treatments for central sleep apnea and little randomized data demonstrating efficacy</a:t>
            </a:r>
            <a:endParaRPr kumimoji="0" lang="en-US" sz="2600" b="1" i="0" u="none" strike="noStrike" kern="1200" cap="none" spc="0" normalizeH="0" baseline="0" noProof="0" dirty="0">
              <a:ln>
                <a:noFill/>
              </a:ln>
              <a:solidFill>
                <a:srgbClr val="2683C6">
                  <a:lumMod val="75000"/>
                </a:srgbClr>
              </a:solidFill>
              <a:effectLst/>
              <a:uLnTx/>
              <a:uFillTx/>
              <a:latin typeface="Calibri" panose="020F0502020204030204"/>
              <a:ea typeface="+mn-ea"/>
              <a:cs typeface="+mn-cs"/>
            </a:endParaRPr>
          </a:p>
          <a:p>
            <a:pPr marL="0" indent="0">
              <a:buClr>
                <a:srgbClr val="1CADE4"/>
              </a:buClr>
              <a:buSzPct val="90000"/>
              <a:buNone/>
              <a:defRPr/>
            </a:pPr>
            <a:r>
              <a:rPr kumimoji="0" lang="en-US" sz="26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rPr>
              <a:t>Phrenic nerve stimulation offers a safe and effective therapeutic option for the treatment of CSA with improvements in both sleep and quality of life</a:t>
            </a:r>
          </a:p>
          <a:p>
            <a:pPr marL="0" indent="0">
              <a:buSzPct val="90000"/>
              <a:buNone/>
            </a:pPr>
            <a:endParaRPr lang="en-US" dirty="0"/>
          </a:p>
        </p:txBody>
      </p:sp>
      <p:sp>
        <p:nvSpPr>
          <p:cNvPr id="4" name="Slide Number Placeholder 3">
            <a:extLst>
              <a:ext uri="{FF2B5EF4-FFF2-40B4-BE49-F238E27FC236}">
                <a16:creationId xmlns:a16="http://schemas.microsoft.com/office/drawing/2014/main" id="{C9A044A6-1986-6177-E395-6287CBC0984B}"/>
              </a:ext>
            </a:extLst>
          </p:cNvPr>
          <p:cNvSpPr>
            <a:spLocks noGrp="1"/>
          </p:cNvSpPr>
          <p:nvPr>
            <p:ph type="sldNum" sz="quarter" idx="12"/>
          </p:nvPr>
        </p:nvSpPr>
        <p:spPr/>
        <p:txBody>
          <a:bodyPr/>
          <a:lstStyle/>
          <a:p>
            <a:fld id="{21D51F98-DEF0-4E23-AE94-24E7CFC19B28}" type="slidenum">
              <a:rPr lang="en-US" smtClean="0"/>
              <a:t>40</a:t>
            </a:fld>
            <a:endParaRPr lang="en-US"/>
          </a:p>
        </p:txBody>
      </p:sp>
      <p:sp>
        <p:nvSpPr>
          <p:cNvPr id="5" name="Footer Placeholder 5">
            <a:extLst>
              <a:ext uri="{FF2B5EF4-FFF2-40B4-BE49-F238E27FC236}">
                <a16:creationId xmlns:a16="http://schemas.microsoft.com/office/drawing/2014/main" id="{8403EC55-0158-3B99-B66B-E9A137A3ED10}"/>
              </a:ext>
            </a:extLst>
          </p:cNvPr>
          <p:cNvSpPr>
            <a:spLocks noGrp="1"/>
          </p:cNvSpPr>
          <p:nvPr>
            <p:ph type="ftr" sz="quarter" idx="11"/>
          </p:nvPr>
        </p:nvSpPr>
        <p:spPr>
          <a:xfrm>
            <a:off x="3684598" y="6459785"/>
            <a:ext cx="4822804" cy="365125"/>
          </a:xfrm>
        </p:spPr>
        <p:txBody>
          <a:bodyPr/>
          <a:lstStyle/>
          <a:p>
            <a:r>
              <a:rPr lang="en-US" dirty="0"/>
              <a:t>MAF1937 Rev E</a:t>
            </a:r>
          </a:p>
        </p:txBody>
      </p:sp>
    </p:spTree>
    <p:extLst>
      <p:ext uri="{BB962C8B-B14F-4D97-AF65-F5344CB8AC3E}">
        <p14:creationId xmlns:p14="http://schemas.microsoft.com/office/powerpoint/2010/main" val="2254763615"/>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C6F8889-F60C-4A6A-A2CA-1418BEF5EDA5}"/>
              </a:ext>
            </a:extLst>
          </p:cNvPr>
          <p:cNvSpPr>
            <a:spLocks noGrp="1"/>
          </p:cNvSpPr>
          <p:nvPr>
            <p:ph type="ctrTitle"/>
          </p:nvPr>
        </p:nvSpPr>
        <p:spPr/>
        <p:txBody>
          <a:bodyPr/>
          <a:lstStyle/>
          <a:p>
            <a:r>
              <a:rPr lang="en-US" dirty="0"/>
              <a:t>Questions…</a:t>
            </a:r>
          </a:p>
        </p:txBody>
      </p:sp>
      <p:sp>
        <p:nvSpPr>
          <p:cNvPr id="4" name="Subtitle 3">
            <a:extLst>
              <a:ext uri="{FF2B5EF4-FFF2-40B4-BE49-F238E27FC236}">
                <a16:creationId xmlns:a16="http://schemas.microsoft.com/office/drawing/2014/main" id="{DA8CFECD-BE41-4852-97CF-FE9B132388EE}"/>
              </a:ext>
            </a:extLst>
          </p:cNvPr>
          <p:cNvSpPr>
            <a:spLocks noGrp="1"/>
          </p:cNvSpPr>
          <p:nvPr>
            <p:ph type="subTitle" idx="1"/>
          </p:nvPr>
        </p:nvSpPr>
        <p:spPr/>
        <p:txBody>
          <a:bodyPr/>
          <a:lstStyle/>
          <a:p>
            <a:endParaRPr lang="en-US"/>
          </a:p>
        </p:txBody>
      </p:sp>
      <p:sp>
        <p:nvSpPr>
          <p:cNvPr id="5" name="Slide Number Placeholder 4">
            <a:extLst>
              <a:ext uri="{FF2B5EF4-FFF2-40B4-BE49-F238E27FC236}">
                <a16:creationId xmlns:a16="http://schemas.microsoft.com/office/drawing/2014/main" id="{92ED089A-7025-925F-600C-76A88F9E65CF}"/>
              </a:ext>
            </a:extLst>
          </p:cNvPr>
          <p:cNvSpPr>
            <a:spLocks noGrp="1"/>
          </p:cNvSpPr>
          <p:nvPr>
            <p:ph type="sldNum" sz="quarter" idx="12"/>
          </p:nvPr>
        </p:nvSpPr>
        <p:spPr/>
        <p:txBody>
          <a:bodyPr/>
          <a:lstStyle/>
          <a:p>
            <a:fld id="{21D51F98-DEF0-4E23-AE94-24E7CFC19B28}" type="slidenum">
              <a:rPr lang="en-US" smtClean="0"/>
              <a:t>41</a:t>
            </a:fld>
            <a:endParaRPr lang="en-US"/>
          </a:p>
        </p:txBody>
      </p:sp>
      <p:sp>
        <p:nvSpPr>
          <p:cNvPr id="7" name="Footer Placeholder 5">
            <a:extLst>
              <a:ext uri="{FF2B5EF4-FFF2-40B4-BE49-F238E27FC236}">
                <a16:creationId xmlns:a16="http://schemas.microsoft.com/office/drawing/2014/main" id="{64AC1F0C-658F-4621-E14F-016BC8BE2300}"/>
              </a:ext>
            </a:extLst>
          </p:cNvPr>
          <p:cNvSpPr>
            <a:spLocks noGrp="1"/>
          </p:cNvSpPr>
          <p:nvPr>
            <p:ph type="ftr" sz="quarter" idx="11"/>
          </p:nvPr>
        </p:nvSpPr>
        <p:spPr>
          <a:xfrm>
            <a:off x="3684598" y="6459785"/>
            <a:ext cx="4822804" cy="365125"/>
          </a:xfrm>
        </p:spPr>
        <p:txBody>
          <a:bodyPr/>
          <a:lstStyle/>
          <a:p>
            <a:r>
              <a:rPr lang="en-US" dirty="0"/>
              <a:t>MAF1937 Rev E</a:t>
            </a:r>
          </a:p>
        </p:txBody>
      </p:sp>
    </p:spTree>
    <p:extLst>
      <p:ext uri="{BB962C8B-B14F-4D97-AF65-F5344CB8AC3E}">
        <p14:creationId xmlns:p14="http://schemas.microsoft.com/office/powerpoint/2010/main" val="144037043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C6F8889-F60C-4A6A-A2CA-1418BEF5EDA5}"/>
              </a:ext>
            </a:extLst>
          </p:cNvPr>
          <p:cNvSpPr>
            <a:spLocks noGrp="1"/>
          </p:cNvSpPr>
          <p:nvPr>
            <p:ph type="ctrTitle"/>
          </p:nvPr>
        </p:nvSpPr>
        <p:spPr/>
        <p:txBody>
          <a:bodyPr/>
          <a:lstStyle/>
          <a:p>
            <a:r>
              <a:rPr lang="en-US" dirty="0"/>
              <a:t>Back Up Slides</a:t>
            </a:r>
          </a:p>
        </p:txBody>
      </p:sp>
      <p:sp>
        <p:nvSpPr>
          <p:cNvPr id="4" name="Subtitle 3">
            <a:extLst>
              <a:ext uri="{FF2B5EF4-FFF2-40B4-BE49-F238E27FC236}">
                <a16:creationId xmlns:a16="http://schemas.microsoft.com/office/drawing/2014/main" id="{DA8CFECD-BE41-4852-97CF-FE9B132388EE}"/>
              </a:ext>
            </a:extLst>
          </p:cNvPr>
          <p:cNvSpPr>
            <a:spLocks noGrp="1"/>
          </p:cNvSpPr>
          <p:nvPr>
            <p:ph type="subTitle" idx="1"/>
          </p:nvPr>
        </p:nvSpPr>
        <p:spPr/>
        <p:txBody>
          <a:bodyPr/>
          <a:lstStyle/>
          <a:p>
            <a:endParaRPr lang="en-US"/>
          </a:p>
        </p:txBody>
      </p:sp>
      <p:sp>
        <p:nvSpPr>
          <p:cNvPr id="5" name="Slide Number Placeholder 4">
            <a:extLst>
              <a:ext uri="{FF2B5EF4-FFF2-40B4-BE49-F238E27FC236}">
                <a16:creationId xmlns:a16="http://schemas.microsoft.com/office/drawing/2014/main" id="{32598CD5-5FE0-C528-F610-9C12857BFCD0}"/>
              </a:ext>
            </a:extLst>
          </p:cNvPr>
          <p:cNvSpPr>
            <a:spLocks noGrp="1"/>
          </p:cNvSpPr>
          <p:nvPr>
            <p:ph type="sldNum" sz="quarter" idx="12"/>
          </p:nvPr>
        </p:nvSpPr>
        <p:spPr/>
        <p:txBody>
          <a:bodyPr/>
          <a:lstStyle/>
          <a:p>
            <a:fld id="{21D51F98-DEF0-4E23-AE94-24E7CFC19B28}" type="slidenum">
              <a:rPr lang="en-US" smtClean="0"/>
              <a:t>42</a:t>
            </a:fld>
            <a:endParaRPr lang="en-US"/>
          </a:p>
        </p:txBody>
      </p:sp>
      <p:sp>
        <p:nvSpPr>
          <p:cNvPr id="7" name="Footer Placeholder 5">
            <a:extLst>
              <a:ext uri="{FF2B5EF4-FFF2-40B4-BE49-F238E27FC236}">
                <a16:creationId xmlns:a16="http://schemas.microsoft.com/office/drawing/2014/main" id="{ABA91306-1C29-BA56-E1D5-F100455C6DB0}"/>
              </a:ext>
            </a:extLst>
          </p:cNvPr>
          <p:cNvSpPr>
            <a:spLocks noGrp="1"/>
          </p:cNvSpPr>
          <p:nvPr>
            <p:ph type="ftr" sz="quarter" idx="11"/>
          </p:nvPr>
        </p:nvSpPr>
        <p:spPr>
          <a:xfrm>
            <a:off x="3684598" y="6459785"/>
            <a:ext cx="4822804" cy="365125"/>
          </a:xfrm>
        </p:spPr>
        <p:txBody>
          <a:bodyPr/>
          <a:lstStyle/>
          <a:p>
            <a:r>
              <a:rPr lang="en-US" dirty="0"/>
              <a:t>MAF1937 Rev E</a:t>
            </a:r>
          </a:p>
        </p:txBody>
      </p:sp>
    </p:spTree>
    <p:extLst>
      <p:ext uri="{BB962C8B-B14F-4D97-AF65-F5344CB8AC3E}">
        <p14:creationId xmlns:p14="http://schemas.microsoft.com/office/powerpoint/2010/main" val="197587517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870E55-098D-554A-BC28-CC94006345B7}"/>
              </a:ext>
            </a:extLst>
          </p:cNvPr>
          <p:cNvSpPr>
            <a:spLocks noGrp="1"/>
          </p:cNvSpPr>
          <p:nvPr>
            <p:ph type="title" idx="4294967295"/>
          </p:nvPr>
        </p:nvSpPr>
        <p:spPr>
          <a:xfrm>
            <a:off x="568171" y="344278"/>
            <a:ext cx="11380788" cy="509588"/>
          </a:xfrm>
        </p:spPr>
        <p:txBody>
          <a:bodyPr anchor="t">
            <a:noAutofit/>
          </a:bodyPr>
          <a:lstStyle/>
          <a:p>
            <a:pPr lvl="0" eaLnBrk="1" fontAlgn="auto" hangingPunct="1">
              <a:lnSpc>
                <a:spcPct val="90000"/>
              </a:lnSpc>
              <a:spcAft>
                <a:spcPts val="0"/>
              </a:spcAft>
              <a:defRPr/>
            </a:pPr>
            <a:r>
              <a:rPr lang="en-US" sz="3200" b="1" dirty="0">
                <a:solidFill>
                  <a:schemeClr val="accent2"/>
                </a:solidFill>
                <a:latin typeface="+mn-lt"/>
              </a:rPr>
              <a:t>In heart failure, CSA can accelerate cardiac disease progression</a:t>
            </a:r>
            <a:endParaRPr lang="en-US" sz="3200" b="1" kern="1200" dirty="0">
              <a:solidFill>
                <a:schemeClr val="accent2"/>
              </a:solidFill>
              <a:latin typeface="+mn-lt"/>
            </a:endParaRPr>
          </a:p>
        </p:txBody>
      </p:sp>
      <p:pic>
        <p:nvPicPr>
          <p:cNvPr id="4" name="Picture 3">
            <a:extLst>
              <a:ext uri="{FF2B5EF4-FFF2-40B4-BE49-F238E27FC236}">
                <a16:creationId xmlns:a16="http://schemas.microsoft.com/office/drawing/2014/main" id="{FF29759C-E44B-F14D-B8AB-618864EE3545}"/>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76951" y="1491778"/>
            <a:ext cx="7013148" cy="4684974"/>
          </a:xfrm>
          <a:prstGeom prst="rect">
            <a:avLst/>
          </a:prstGeom>
        </p:spPr>
      </p:pic>
      <p:sp>
        <p:nvSpPr>
          <p:cNvPr id="6" name="Rectangle 5">
            <a:extLst>
              <a:ext uri="{FF2B5EF4-FFF2-40B4-BE49-F238E27FC236}">
                <a16:creationId xmlns:a16="http://schemas.microsoft.com/office/drawing/2014/main" id="{16273C98-CD31-DA46-9291-64C4387B75B9}"/>
              </a:ext>
            </a:extLst>
          </p:cNvPr>
          <p:cNvSpPr/>
          <p:nvPr/>
        </p:nvSpPr>
        <p:spPr>
          <a:xfrm>
            <a:off x="1367161" y="1034099"/>
            <a:ext cx="9054624" cy="461665"/>
          </a:xfrm>
          <a:prstGeom prst="rect">
            <a:avLst/>
          </a:prstGeom>
        </p:spPr>
        <p:txBody>
          <a:bodyPr wrap="square">
            <a:spAutoFit/>
          </a:bodyPr>
          <a:lstStyle/>
          <a:p>
            <a:pPr marL="0" indent="0">
              <a:buClr>
                <a:srgbClr val="003F4C"/>
              </a:buClr>
              <a:buNone/>
              <a:defRPr/>
            </a:pPr>
            <a:r>
              <a:rPr lang="en-US" sz="2400" spc="100" dirty="0">
                <a:latin typeface="Century Gothic" panose="020B0502020202020204" pitchFamily="34" charset="0"/>
              </a:rPr>
              <a:t>Reciprocal Interaction between CSA and Heart Failure</a:t>
            </a:r>
          </a:p>
        </p:txBody>
      </p:sp>
      <p:sp>
        <p:nvSpPr>
          <p:cNvPr id="91" name="TextBox 90">
            <a:extLst>
              <a:ext uri="{FF2B5EF4-FFF2-40B4-BE49-F238E27FC236}">
                <a16:creationId xmlns:a16="http://schemas.microsoft.com/office/drawing/2014/main" id="{797A398F-E612-B54B-BBFA-A5F59A47A95E}"/>
              </a:ext>
            </a:extLst>
          </p:cNvPr>
          <p:cNvSpPr txBox="1"/>
          <p:nvPr/>
        </p:nvSpPr>
        <p:spPr>
          <a:xfrm>
            <a:off x="156033" y="6061336"/>
            <a:ext cx="4240347" cy="230832"/>
          </a:xfrm>
          <a:prstGeom prst="rect">
            <a:avLst/>
          </a:prstGeom>
          <a:noFill/>
        </p:spPr>
        <p:txBody>
          <a:bodyPr wrap="square" rtlCol="0">
            <a:spAutoFit/>
          </a:bodyPr>
          <a:lstStyle/>
          <a:p>
            <a:r>
              <a:rPr lang="en-US" sz="900" dirty="0">
                <a:latin typeface="Century Gothic" panose="020B0502020202020204" pitchFamily="34" charset="0"/>
              </a:rPr>
              <a:t>Adapted from </a:t>
            </a:r>
            <a:r>
              <a:rPr lang="en-US" sz="900" dirty="0" err="1">
                <a:latin typeface="Century Gothic" panose="020B0502020202020204" pitchFamily="34" charset="0"/>
              </a:rPr>
              <a:t>Bekfani</a:t>
            </a:r>
            <a:r>
              <a:rPr lang="en-US" sz="900" dirty="0">
                <a:latin typeface="Century Gothic" panose="020B0502020202020204" pitchFamily="34" charset="0"/>
              </a:rPr>
              <a:t> and Abraham, </a:t>
            </a:r>
            <a:r>
              <a:rPr lang="en-US" sz="900" dirty="0" err="1">
                <a:latin typeface="Century Gothic" panose="020B0502020202020204" pitchFamily="34" charset="0"/>
              </a:rPr>
              <a:t>Europace</a:t>
            </a:r>
            <a:r>
              <a:rPr lang="en-US" sz="900" dirty="0">
                <a:latin typeface="Century Gothic" panose="020B0502020202020204" pitchFamily="34" charset="0"/>
              </a:rPr>
              <a:t> 2016; 18:1123-24</a:t>
            </a:r>
          </a:p>
        </p:txBody>
      </p:sp>
      <p:sp>
        <p:nvSpPr>
          <p:cNvPr id="92" name="TextBox 91">
            <a:extLst>
              <a:ext uri="{FF2B5EF4-FFF2-40B4-BE49-F238E27FC236}">
                <a16:creationId xmlns:a16="http://schemas.microsoft.com/office/drawing/2014/main" id="{0F356AC2-29E7-0B43-A23F-555611D334FC}"/>
              </a:ext>
            </a:extLst>
          </p:cNvPr>
          <p:cNvSpPr txBox="1"/>
          <p:nvPr/>
        </p:nvSpPr>
        <p:spPr>
          <a:xfrm>
            <a:off x="7740800" y="2231309"/>
            <a:ext cx="3995599" cy="1077218"/>
          </a:xfrm>
          <a:prstGeom prst="rect">
            <a:avLst/>
          </a:prstGeom>
          <a:noFill/>
        </p:spPr>
        <p:txBody>
          <a:bodyPr wrap="square" rtlCol="0">
            <a:spAutoFit/>
          </a:bodyPr>
          <a:lstStyle/>
          <a:p>
            <a:pPr algn="ctr">
              <a:spcBef>
                <a:spcPts val="1200"/>
              </a:spcBef>
            </a:pPr>
            <a:r>
              <a:rPr lang="en-US" sz="3200" dirty="0">
                <a:latin typeface="Century Gothic" panose="020B0502020202020204" pitchFamily="34" charset="0"/>
              </a:rPr>
              <a:t>Central Sleep Apnea</a:t>
            </a:r>
          </a:p>
        </p:txBody>
      </p:sp>
      <p:grpSp>
        <p:nvGrpSpPr>
          <p:cNvPr id="95" name="Group 94">
            <a:extLst>
              <a:ext uri="{FF2B5EF4-FFF2-40B4-BE49-F238E27FC236}">
                <a16:creationId xmlns:a16="http://schemas.microsoft.com/office/drawing/2014/main" id="{FCDC6BD2-F2D7-EA43-8E84-5F4957CD1FCF}"/>
              </a:ext>
            </a:extLst>
          </p:cNvPr>
          <p:cNvGrpSpPr/>
          <p:nvPr/>
        </p:nvGrpSpPr>
        <p:grpSpPr>
          <a:xfrm rot="5400000">
            <a:off x="9382327" y="3733609"/>
            <a:ext cx="678014" cy="254178"/>
            <a:chOff x="8420100" y="2601686"/>
            <a:chExt cx="664029" cy="152400"/>
          </a:xfrm>
        </p:grpSpPr>
        <p:cxnSp>
          <p:nvCxnSpPr>
            <p:cNvPr id="96" name="Straight Arrow Connector 95">
              <a:extLst>
                <a:ext uri="{FF2B5EF4-FFF2-40B4-BE49-F238E27FC236}">
                  <a16:creationId xmlns:a16="http://schemas.microsoft.com/office/drawing/2014/main" id="{339E2889-9B45-FD49-8A01-AAD8E931B834}"/>
                </a:ext>
              </a:extLst>
            </p:cNvPr>
            <p:cNvCxnSpPr/>
            <p:nvPr/>
          </p:nvCxnSpPr>
          <p:spPr>
            <a:xfrm>
              <a:off x="8463643" y="2601686"/>
              <a:ext cx="620486" cy="0"/>
            </a:xfrm>
            <a:prstGeom prst="straightConnector1">
              <a:avLst/>
            </a:prstGeom>
            <a:ln w="57150">
              <a:solidFill>
                <a:srgbClr val="29425E"/>
              </a:solidFill>
              <a:tailEnd type="triangle"/>
            </a:ln>
          </p:spPr>
          <p:style>
            <a:lnRef idx="1">
              <a:schemeClr val="accent1"/>
            </a:lnRef>
            <a:fillRef idx="0">
              <a:schemeClr val="accent1"/>
            </a:fillRef>
            <a:effectRef idx="0">
              <a:schemeClr val="accent1"/>
            </a:effectRef>
            <a:fontRef idx="minor">
              <a:schemeClr val="tx1"/>
            </a:fontRef>
          </p:style>
        </p:cxnSp>
        <p:cxnSp>
          <p:nvCxnSpPr>
            <p:cNvPr id="97" name="Straight Arrow Connector 96">
              <a:extLst>
                <a:ext uri="{FF2B5EF4-FFF2-40B4-BE49-F238E27FC236}">
                  <a16:creationId xmlns:a16="http://schemas.microsoft.com/office/drawing/2014/main" id="{E2E06A15-1D1E-F94C-8787-55BAEF306E4A}"/>
                </a:ext>
              </a:extLst>
            </p:cNvPr>
            <p:cNvCxnSpPr>
              <a:cxnSpLocks/>
            </p:cNvCxnSpPr>
            <p:nvPr/>
          </p:nvCxnSpPr>
          <p:spPr>
            <a:xfrm flipH="1">
              <a:off x="8420100" y="2754086"/>
              <a:ext cx="620486" cy="0"/>
            </a:xfrm>
            <a:prstGeom prst="straightConnector1">
              <a:avLst/>
            </a:prstGeom>
            <a:ln w="57150">
              <a:solidFill>
                <a:srgbClr val="29425E"/>
              </a:solidFill>
              <a:tailEnd type="triangle"/>
            </a:ln>
          </p:spPr>
          <p:style>
            <a:lnRef idx="1">
              <a:schemeClr val="accent1"/>
            </a:lnRef>
            <a:fillRef idx="0">
              <a:schemeClr val="accent1"/>
            </a:fillRef>
            <a:effectRef idx="0">
              <a:schemeClr val="accent1"/>
            </a:effectRef>
            <a:fontRef idx="minor">
              <a:schemeClr val="tx1"/>
            </a:fontRef>
          </p:style>
        </p:cxnSp>
      </p:grpSp>
      <p:sp>
        <p:nvSpPr>
          <p:cNvPr id="98" name="TextBox 97">
            <a:extLst>
              <a:ext uri="{FF2B5EF4-FFF2-40B4-BE49-F238E27FC236}">
                <a16:creationId xmlns:a16="http://schemas.microsoft.com/office/drawing/2014/main" id="{1BBB2104-FA40-D04E-B48E-18E82D7140AE}"/>
              </a:ext>
            </a:extLst>
          </p:cNvPr>
          <p:cNvSpPr txBox="1"/>
          <p:nvPr/>
        </p:nvSpPr>
        <p:spPr>
          <a:xfrm>
            <a:off x="7645970" y="4368409"/>
            <a:ext cx="4185261" cy="584775"/>
          </a:xfrm>
          <a:prstGeom prst="rect">
            <a:avLst/>
          </a:prstGeom>
          <a:noFill/>
        </p:spPr>
        <p:txBody>
          <a:bodyPr wrap="square" rtlCol="0">
            <a:spAutoFit/>
          </a:bodyPr>
          <a:lstStyle/>
          <a:p>
            <a:pPr algn="ctr">
              <a:spcBef>
                <a:spcPts val="1200"/>
              </a:spcBef>
            </a:pPr>
            <a:r>
              <a:rPr lang="en-US" sz="3200" dirty="0">
                <a:latin typeface="Century Gothic" panose="020B0502020202020204" pitchFamily="34" charset="0"/>
              </a:rPr>
              <a:t>Heart Failure</a:t>
            </a:r>
          </a:p>
        </p:txBody>
      </p:sp>
      <p:sp>
        <p:nvSpPr>
          <p:cNvPr id="5" name="Slide Number Placeholder 4">
            <a:extLst>
              <a:ext uri="{FF2B5EF4-FFF2-40B4-BE49-F238E27FC236}">
                <a16:creationId xmlns:a16="http://schemas.microsoft.com/office/drawing/2014/main" id="{CE4A1152-A236-B7D3-A37D-B2CBEC493A0A}"/>
              </a:ext>
            </a:extLst>
          </p:cNvPr>
          <p:cNvSpPr>
            <a:spLocks noGrp="1"/>
          </p:cNvSpPr>
          <p:nvPr>
            <p:ph type="sldNum" sz="quarter" idx="12"/>
          </p:nvPr>
        </p:nvSpPr>
        <p:spPr/>
        <p:txBody>
          <a:bodyPr/>
          <a:lstStyle/>
          <a:p>
            <a:fld id="{21D51F98-DEF0-4E23-AE94-24E7CFC19B28}" type="slidenum">
              <a:rPr lang="en-US" smtClean="0"/>
              <a:t>43</a:t>
            </a:fld>
            <a:endParaRPr lang="en-US"/>
          </a:p>
        </p:txBody>
      </p:sp>
      <p:sp>
        <p:nvSpPr>
          <p:cNvPr id="8" name="Footer Placeholder 5">
            <a:extLst>
              <a:ext uri="{FF2B5EF4-FFF2-40B4-BE49-F238E27FC236}">
                <a16:creationId xmlns:a16="http://schemas.microsoft.com/office/drawing/2014/main" id="{757E6D89-2A8B-4DD3-0923-C36E21C56DAF}"/>
              </a:ext>
            </a:extLst>
          </p:cNvPr>
          <p:cNvSpPr>
            <a:spLocks noGrp="1"/>
          </p:cNvSpPr>
          <p:nvPr>
            <p:ph type="ftr" sz="quarter" idx="11"/>
          </p:nvPr>
        </p:nvSpPr>
        <p:spPr>
          <a:xfrm>
            <a:off x="3684598" y="6459785"/>
            <a:ext cx="4822804" cy="365125"/>
          </a:xfrm>
        </p:spPr>
        <p:txBody>
          <a:bodyPr/>
          <a:lstStyle/>
          <a:p>
            <a:r>
              <a:rPr lang="en-US" dirty="0"/>
              <a:t>MAF1937 Rev E</a:t>
            </a:r>
          </a:p>
        </p:txBody>
      </p:sp>
    </p:spTree>
    <p:extLst>
      <p:ext uri="{BB962C8B-B14F-4D97-AF65-F5344CB8AC3E}">
        <p14:creationId xmlns:p14="http://schemas.microsoft.com/office/powerpoint/2010/main" val="1682508131"/>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3"/>
          <p:cNvPicPr>
            <a:picLocks noChangeAspect="1" noChangeArrowheads="1"/>
          </p:cNvPicPr>
          <p:nvPr/>
        </p:nvPicPr>
        <p:blipFill rotWithShape="1">
          <a:blip r:embed="rId3" cstate="hqprint">
            <a:extLst>
              <a:ext uri="{28A0092B-C50C-407E-A947-70E740481C1C}">
                <a14:useLocalDpi xmlns:a14="http://schemas.microsoft.com/office/drawing/2010/main"/>
              </a:ext>
            </a:extLst>
          </a:blip>
          <a:srcRect/>
          <a:stretch/>
        </p:blipFill>
        <p:spPr bwMode="auto">
          <a:xfrm>
            <a:off x="6096000" y="1120805"/>
            <a:ext cx="4487134" cy="489726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5" name="Picture 14"/>
          <p:cNvPicPr>
            <a:picLocks noChangeAspect="1"/>
          </p:cNvPicPr>
          <p:nvPr/>
        </p:nvPicPr>
        <p:blipFill rotWithShape="1">
          <a:blip r:embed="rId4" cstate="hqprint">
            <a:extLst>
              <a:ext uri="{28A0092B-C50C-407E-A947-70E740481C1C}">
                <a14:useLocalDpi xmlns:a14="http://schemas.microsoft.com/office/drawing/2010/main"/>
              </a:ext>
            </a:extLst>
          </a:blip>
          <a:srcRect/>
          <a:stretch/>
        </p:blipFill>
        <p:spPr>
          <a:xfrm>
            <a:off x="864454" y="1135101"/>
            <a:ext cx="4594877" cy="4868669"/>
          </a:xfrm>
          <a:prstGeom prst="rect">
            <a:avLst/>
          </a:prstGeom>
        </p:spPr>
      </p:pic>
      <p:grpSp>
        <p:nvGrpSpPr>
          <p:cNvPr id="28" name="Group 27"/>
          <p:cNvGrpSpPr/>
          <p:nvPr/>
        </p:nvGrpSpPr>
        <p:grpSpPr>
          <a:xfrm>
            <a:off x="7057346" y="3015021"/>
            <a:ext cx="1728108" cy="338554"/>
            <a:chOff x="1704541" y="3322798"/>
            <a:chExt cx="1728108" cy="338554"/>
          </a:xfrm>
        </p:grpSpPr>
        <p:sp>
          <p:nvSpPr>
            <p:cNvPr id="18" name="TextBox 17"/>
            <p:cNvSpPr txBox="1">
              <a:spLocks noChangeAspect="1"/>
            </p:cNvSpPr>
            <p:nvPr/>
          </p:nvSpPr>
          <p:spPr>
            <a:xfrm>
              <a:off x="1704541" y="3322798"/>
              <a:ext cx="1680084" cy="338554"/>
            </a:xfrm>
            <a:prstGeom prst="rect">
              <a:avLst/>
            </a:prstGeom>
            <a:noFill/>
          </p:spPr>
          <p:txBody>
            <a:bodyPr wrap="square" rtlCol="0">
              <a:spAutoFit/>
            </a:bodyPr>
            <a:lstStyle/>
            <a:p>
              <a:r>
                <a:rPr lang="en-US" sz="1600" dirty="0">
                  <a:solidFill>
                    <a:schemeClr val="bg1"/>
                  </a:solidFill>
                </a:rPr>
                <a:t>Stimulation Lead</a:t>
              </a:r>
            </a:p>
          </p:txBody>
        </p:sp>
        <p:cxnSp>
          <p:nvCxnSpPr>
            <p:cNvPr id="19" name="Straight Connector 18"/>
            <p:cNvCxnSpPr>
              <a:cxnSpLocks noChangeAspect="1"/>
            </p:cNvCxnSpPr>
            <p:nvPr/>
          </p:nvCxnSpPr>
          <p:spPr>
            <a:xfrm flipV="1">
              <a:off x="3295489" y="3486567"/>
              <a:ext cx="137160" cy="1"/>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29" name="Group 28"/>
          <p:cNvGrpSpPr/>
          <p:nvPr/>
        </p:nvGrpSpPr>
        <p:grpSpPr>
          <a:xfrm>
            <a:off x="9092716" y="3967403"/>
            <a:ext cx="1522400" cy="338554"/>
            <a:chOff x="3770620" y="4298375"/>
            <a:chExt cx="1522400" cy="338554"/>
          </a:xfrm>
        </p:grpSpPr>
        <p:sp>
          <p:nvSpPr>
            <p:cNvPr id="22" name="TextBox 21"/>
            <p:cNvSpPr txBox="1">
              <a:spLocks noChangeAspect="1"/>
            </p:cNvSpPr>
            <p:nvPr/>
          </p:nvSpPr>
          <p:spPr>
            <a:xfrm>
              <a:off x="3859755" y="4298375"/>
              <a:ext cx="1433265" cy="338554"/>
            </a:xfrm>
            <a:prstGeom prst="rect">
              <a:avLst/>
            </a:prstGeom>
            <a:noFill/>
          </p:spPr>
          <p:txBody>
            <a:bodyPr wrap="square" rtlCol="0">
              <a:spAutoFit/>
            </a:bodyPr>
            <a:lstStyle/>
            <a:p>
              <a:r>
                <a:rPr lang="en-US" sz="1600" dirty="0">
                  <a:solidFill>
                    <a:schemeClr val="bg1"/>
                  </a:solidFill>
                </a:rPr>
                <a:t>Phrenic Nerve</a:t>
              </a:r>
            </a:p>
          </p:txBody>
        </p:sp>
        <p:cxnSp>
          <p:nvCxnSpPr>
            <p:cNvPr id="23" name="Straight Connector 22"/>
            <p:cNvCxnSpPr>
              <a:cxnSpLocks noChangeAspect="1"/>
            </p:cNvCxnSpPr>
            <p:nvPr/>
          </p:nvCxnSpPr>
          <p:spPr>
            <a:xfrm flipV="1">
              <a:off x="3770620" y="4452263"/>
              <a:ext cx="137160" cy="1"/>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9" name="Title 3"/>
          <p:cNvSpPr>
            <a:spLocks noGrp="1"/>
          </p:cNvSpPr>
          <p:nvPr>
            <p:ph type="title" idx="4294967295"/>
          </p:nvPr>
        </p:nvSpPr>
        <p:spPr>
          <a:xfrm>
            <a:off x="573088" y="193389"/>
            <a:ext cx="11618912" cy="828675"/>
          </a:xfrm>
        </p:spPr>
        <p:txBody>
          <a:bodyPr vert="horz" lIns="91440" tIns="45720" rIns="91440" bIns="45720" rtlCol="0" anchor="ctr">
            <a:noAutofit/>
          </a:bodyPr>
          <a:lstStyle/>
          <a:p>
            <a:r>
              <a:rPr lang="en-US" sz="3200" b="1" dirty="0">
                <a:solidFill>
                  <a:schemeClr val="accent2"/>
                </a:solidFill>
                <a:latin typeface="+mn-lt"/>
              </a:rPr>
              <a:t>The rem</a:t>
            </a:r>
            <a:r>
              <a:rPr lang="en-US" sz="3200" dirty="0">
                <a:solidFill>
                  <a:schemeClr val="accent2"/>
                </a:solidFill>
                <a:latin typeface="+mn-lt"/>
              </a:rPr>
              <a:t>edē</a:t>
            </a:r>
            <a:r>
              <a:rPr lang="en-US" sz="3200" b="1" dirty="0">
                <a:solidFill>
                  <a:schemeClr val="accent2"/>
                </a:solidFill>
                <a:latin typeface="+mn-lt"/>
              </a:rPr>
              <a:t> System – left stimulation lead placement</a:t>
            </a:r>
          </a:p>
        </p:txBody>
      </p:sp>
      <p:cxnSp>
        <p:nvCxnSpPr>
          <p:cNvPr id="6" name="Straight Connector 5"/>
          <p:cNvCxnSpPr>
            <a:cxnSpLocks/>
          </p:cNvCxnSpPr>
          <p:nvPr/>
        </p:nvCxnSpPr>
        <p:spPr>
          <a:xfrm flipH="1">
            <a:off x="3507129" y="1120805"/>
            <a:ext cx="2588871" cy="1298304"/>
          </a:xfrm>
          <a:prstGeom prst="line">
            <a:avLst/>
          </a:prstGeom>
          <a:ln w="19050">
            <a:prstDash val="dash"/>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a:cxnSpLocks/>
          </p:cNvCxnSpPr>
          <p:nvPr/>
        </p:nvCxnSpPr>
        <p:spPr>
          <a:xfrm flipH="1" flipV="1">
            <a:off x="3808701" y="3784922"/>
            <a:ext cx="2287299" cy="2218848"/>
          </a:xfrm>
          <a:prstGeom prst="line">
            <a:avLst/>
          </a:prstGeom>
          <a:ln w="19050">
            <a:prstDash val="dash"/>
          </a:ln>
        </p:spPr>
        <p:style>
          <a:lnRef idx="1">
            <a:schemeClr val="accent1"/>
          </a:lnRef>
          <a:fillRef idx="0">
            <a:schemeClr val="accent1"/>
          </a:fillRef>
          <a:effectRef idx="0">
            <a:schemeClr val="accent1"/>
          </a:effectRef>
          <a:fontRef idx="minor">
            <a:schemeClr val="tx1"/>
          </a:fontRef>
        </p:style>
      </p:cxnSp>
      <p:grpSp>
        <p:nvGrpSpPr>
          <p:cNvPr id="7" name="Group 6"/>
          <p:cNvGrpSpPr/>
          <p:nvPr/>
        </p:nvGrpSpPr>
        <p:grpSpPr>
          <a:xfrm>
            <a:off x="6553201" y="2515021"/>
            <a:ext cx="2140858" cy="338554"/>
            <a:chOff x="1092334" y="2445762"/>
            <a:chExt cx="2140858" cy="338554"/>
          </a:xfrm>
        </p:grpSpPr>
        <p:sp>
          <p:nvSpPr>
            <p:cNvPr id="24" name="TextBox 23"/>
            <p:cNvSpPr txBox="1">
              <a:spLocks noChangeAspect="1"/>
            </p:cNvSpPr>
            <p:nvPr/>
          </p:nvSpPr>
          <p:spPr>
            <a:xfrm>
              <a:off x="1092334" y="2445762"/>
              <a:ext cx="2140858" cy="338554"/>
            </a:xfrm>
            <a:prstGeom prst="rect">
              <a:avLst/>
            </a:prstGeom>
            <a:noFill/>
          </p:spPr>
          <p:txBody>
            <a:bodyPr wrap="square" rtlCol="0">
              <a:spAutoFit/>
            </a:bodyPr>
            <a:lstStyle/>
            <a:p>
              <a:r>
                <a:rPr lang="en-US" sz="1600" dirty="0" err="1">
                  <a:solidFill>
                    <a:schemeClr val="bg1"/>
                  </a:solidFill>
                </a:rPr>
                <a:t>Pericardiophrenic</a:t>
              </a:r>
              <a:r>
                <a:rPr lang="en-US" sz="1600" dirty="0">
                  <a:solidFill>
                    <a:schemeClr val="bg1"/>
                  </a:solidFill>
                </a:rPr>
                <a:t> Vein</a:t>
              </a:r>
            </a:p>
          </p:txBody>
        </p:sp>
        <p:cxnSp>
          <p:nvCxnSpPr>
            <p:cNvPr id="25" name="Straight Connector 24"/>
            <p:cNvCxnSpPr>
              <a:cxnSpLocks noChangeAspect="1"/>
            </p:cNvCxnSpPr>
            <p:nvPr/>
          </p:nvCxnSpPr>
          <p:spPr>
            <a:xfrm flipV="1">
              <a:off x="3073171" y="2621741"/>
              <a:ext cx="91440" cy="2"/>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20" name="Rectangle 19">
            <a:extLst>
              <a:ext uri="{FF2B5EF4-FFF2-40B4-BE49-F238E27FC236}">
                <a16:creationId xmlns:a16="http://schemas.microsoft.com/office/drawing/2014/main" id="{4B48D114-C094-4514-94C2-AE4EFD850C29}"/>
              </a:ext>
            </a:extLst>
          </p:cNvPr>
          <p:cNvSpPr/>
          <p:nvPr/>
        </p:nvSpPr>
        <p:spPr>
          <a:xfrm>
            <a:off x="794102" y="6108667"/>
            <a:ext cx="1487908" cy="246221"/>
          </a:xfrm>
          <a:prstGeom prst="rect">
            <a:avLst/>
          </a:prstGeom>
        </p:spPr>
        <p:txBody>
          <a:bodyPr wrap="none">
            <a:spAutoFit/>
          </a:bodyPr>
          <a:lstStyle/>
          <a:p>
            <a:r>
              <a:rPr lang="en-US" sz="1000" dirty="0">
                <a:solidFill>
                  <a:srgbClr val="33363E"/>
                </a:solidFill>
              </a:rPr>
              <a:t>Courtesy Respicardia, Inc</a:t>
            </a:r>
            <a:endParaRPr lang="en-US" dirty="0"/>
          </a:p>
        </p:txBody>
      </p:sp>
      <p:sp>
        <p:nvSpPr>
          <p:cNvPr id="3" name="Slide Number Placeholder 2">
            <a:extLst>
              <a:ext uri="{FF2B5EF4-FFF2-40B4-BE49-F238E27FC236}">
                <a16:creationId xmlns:a16="http://schemas.microsoft.com/office/drawing/2014/main" id="{4B0F53B0-E1F2-815A-A2A4-7B010B4BA91C}"/>
              </a:ext>
            </a:extLst>
          </p:cNvPr>
          <p:cNvSpPr>
            <a:spLocks noGrp="1"/>
          </p:cNvSpPr>
          <p:nvPr>
            <p:ph type="sldNum" sz="quarter" idx="12"/>
          </p:nvPr>
        </p:nvSpPr>
        <p:spPr/>
        <p:txBody>
          <a:bodyPr/>
          <a:lstStyle/>
          <a:p>
            <a:fld id="{21D51F98-DEF0-4E23-AE94-24E7CFC19B28}" type="slidenum">
              <a:rPr lang="en-US" smtClean="0"/>
              <a:t>44</a:t>
            </a:fld>
            <a:endParaRPr lang="en-US"/>
          </a:p>
        </p:txBody>
      </p:sp>
      <p:sp>
        <p:nvSpPr>
          <p:cNvPr id="5" name="Footer Placeholder 5">
            <a:extLst>
              <a:ext uri="{FF2B5EF4-FFF2-40B4-BE49-F238E27FC236}">
                <a16:creationId xmlns:a16="http://schemas.microsoft.com/office/drawing/2014/main" id="{EABD66C3-22B6-8A08-5D02-063893F49DCE}"/>
              </a:ext>
            </a:extLst>
          </p:cNvPr>
          <p:cNvSpPr>
            <a:spLocks noGrp="1"/>
          </p:cNvSpPr>
          <p:nvPr>
            <p:ph type="ftr" sz="quarter" idx="11"/>
          </p:nvPr>
        </p:nvSpPr>
        <p:spPr>
          <a:xfrm>
            <a:off x="3684598" y="6459785"/>
            <a:ext cx="4822804" cy="365125"/>
          </a:xfrm>
        </p:spPr>
        <p:txBody>
          <a:bodyPr/>
          <a:lstStyle/>
          <a:p>
            <a:r>
              <a:rPr lang="en-US" dirty="0"/>
              <a:t>MAF1937 Rev E</a:t>
            </a:r>
          </a:p>
        </p:txBody>
      </p:sp>
    </p:spTree>
    <p:extLst>
      <p:ext uri="{BB962C8B-B14F-4D97-AF65-F5344CB8AC3E}">
        <p14:creationId xmlns:p14="http://schemas.microsoft.com/office/powerpoint/2010/main" val="2064075895"/>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p:cNvPicPr>
            <a:picLocks noChangeAspect="1"/>
          </p:cNvPicPr>
          <p:nvPr/>
        </p:nvPicPr>
        <p:blipFill rotWithShape="1">
          <a:blip r:embed="rId3" cstate="hqprint">
            <a:extLst>
              <a:ext uri="{28A0092B-C50C-407E-A947-70E740481C1C}">
                <a14:useLocalDpi xmlns:a14="http://schemas.microsoft.com/office/drawing/2010/main"/>
              </a:ext>
            </a:extLst>
          </a:blip>
          <a:srcRect/>
          <a:stretch/>
        </p:blipFill>
        <p:spPr>
          <a:xfrm>
            <a:off x="7407662" y="1418638"/>
            <a:ext cx="3900017" cy="4132404"/>
          </a:xfrm>
          <a:prstGeom prst="rect">
            <a:avLst/>
          </a:prstGeom>
        </p:spPr>
      </p:pic>
      <p:sp>
        <p:nvSpPr>
          <p:cNvPr id="9" name="Title 3"/>
          <p:cNvSpPr>
            <a:spLocks noGrp="1"/>
          </p:cNvSpPr>
          <p:nvPr>
            <p:ph type="title" idx="4294967295"/>
          </p:nvPr>
        </p:nvSpPr>
        <p:spPr>
          <a:xfrm>
            <a:off x="679352" y="210321"/>
            <a:ext cx="10515600" cy="719137"/>
          </a:xfrm>
        </p:spPr>
        <p:txBody>
          <a:bodyPr vert="horz" lIns="91440" tIns="45720" rIns="91440" bIns="45720" rtlCol="0" anchor="ctr">
            <a:noAutofit/>
          </a:bodyPr>
          <a:lstStyle/>
          <a:p>
            <a:r>
              <a:rPr lang="en-US" sz="3200" b="1" dirty="0">
                <a:solidFill>
                  <a:schemeClr val="accent2"/>
                </a:solidFill>
                <a:latin typeface="+mn-lt"/>
              </a:rPr>
              <a:t>The rem</a:t>
            </a:r>
            <a:r>
              <a:rPr lang="en-US" sz="3200" dirty="0">
                <a:solidFill>
                  <a:schemeClr val="accent2"/>
                </a:solidFill>
                <a:latin typeface="+mn-lt"/>
              </a:rPr>
              <a:t>edē</a:t>
            </a:r>
            <a:r>
              <a:rPr lang="en-US" sz="3200" b="1" dirty="0">
                <a:solidFill>
                  <a:schemeClr val="accent2"/>
                </a:solidFill>
                <a:latin typeface="+mn-lt"/>
              </a:rPr>
              <a:t> System – right stimulation lead placement</a:t>
            </a:r>
          </a:p>
        </p:txBody>
      </p:sp>
      <p:cxnSp>
        <p:nvCxnSpPr>
          <p:cNvPr id="6" name="Straight Connector 5"/>
          <p:cNvCxnSpPr>
            <a:cxnSpLocks/>
          </p:cNvCxnSpPr>
          <p:nvPr/>
        </p:nvCxnSpPr>
        <p:spPr>
          <a:xfrm>
            <a:off x="6323093" y="1162915"/>
            <a:ext cx="2818953" cy="1311719"/>
          </a:xfrm>
          <a:prstGeom prst="line">
            <a:avLst/>
          </a:prstGeom>
          <a:ln w="19050">
            <a:prstDash val="dash"/>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a:cxnSpLocks/>
          </p:cNvCxnSpPr>
          <p:nvPr/>
        </p:nvCxnSpPr>
        <p:spPr>
          <a:xfrm flipH="1">
            <a:off x="6265308" y="3389046"/>
            <a:ext cx="2809626" cy="2226131"/>
          </a:xfrm>
          <a:prstGeom prst="line">
            <a:avLst/>
          </a:prstGeom>
          <a:ln w="19050">
            <a:prstDash val="dash"/>
          </a:ln>
        </p:spPr>
        <p:style>
          <a:lnRef idx="1">
            <a:schemeClr val="accent1"/>
          </a:lnRef>
          <a:fillRef idx="0">
            <a:schemeClr val="accent1"/>
          </a:fillRef>
          <a:effectRef idx="0">
            <a:schemeClr val="accent1"/>
          </a:effectRef>
          <a:fontRef idx="minor">
            <a:schemeClr val="tx1"/>
          </a:fontRef>
        </p:style>
      </p:cxnSp>
      <p:pic>
        <p:nvPicPr>
          <p:cNvPr id="12" name="Picture 11"/>
          <p:cNvPicPr>
            <a:picLocks noChangeAspect="1"/>
          </p:cNvPicPr>
          <p:nvPr/>
        </p:nvPicPr>
        <p:blipFill rotWithShape="1">
          <a:blip r:embed="rId4" cstate="hqprint">
            <a:extLst>
              <a:ext uri="{28A0092B-C50C-407E-A947-70E740481C1C}">
                <a14:useLocalDpi xmlns:a14="http://schemas.microsoft.com/office/drawing/2010/main"/>
              </a:ext>
            </a:extLst>
          </a:blip>
          <a:srcRect/>
          <a:stretch/>
        </p:blipFill>
        <p:spPr>
          <a:xfrm>
            <a:off x="774718" y="1162915"/>
            <a:ext cx="5548375" cy="4452262"/>
          </a:xfrm>
          <a:prstGeom prst="rect">
            <a:avLst/>
          </a:prstGeom>
        </p:spPr>
      </p:pic>
      <p:grpSp>
        <p:nvGrpSpPr>
          <p:cNvPr id="27" name="Group 26"/>
          <p:cNvGrpSpPr/>
          <p:nvPr/>
        </p:nvGrpSpPr>
        <p:grpSpPr>
          <a:xfrm>
            <a:off x="3237686" y="2462262"/>
            <a:ext cx="1887253" cy="338554"/>
            <a:chOff x="2981914" y="3664531"/>
            <a:chExt cx="1553711" cy="338554"/>
          </a:xfrm>
        </p:grpSpPr>
        <p:sp>
          <p:nvSpPr>
            <p:cNvPr id="28" name="TextBox 27"/>
            <p:cNvSpPr txBox="1">
              <a:spLocks noChangeAspect="1"/>
            </p:cNvSpPr>
            <p:nvPr/>
          </p:nvSpPr>
          <p:spPr>
            <a:xfrm>
              <a:off x="3102360" y="3664531"/>
              <a:ext cx="1433265" cy="338554"/>
            </a:xfrm>
            <a:prstGeom prst="rect">
              <a:avLst/>
            </a:prstGeom>
            <a:noFill/>
          </p:spPr>
          <p:txBody>
            <a:bodyPr wrap="square" rtlCol="0">
              <a:spAutoFit/>
            </a:bodyPr>
            <a:lstStyle/>
            <a:p>
              <a:r>
                <a:rPr lang="en-US" sz="1600" dirty="0">
                  <a:solidFill>
                    <a:schemeClr val="bg1"/>
                  </a:solidFill>
                </a:rPr>
                <a:t>Stimulation Lead</a:t>
              </a:r>
            </a:p>
          </p:txBody>
        </p:sp>
        <p:cxnSp>
          <p:nvCxnSpPr>
            <p:cNvPr id="29" name="Straight Connector 28"/>
            <p:cNvCxnSpPr>
              <a:cxnSpLocks noChangeAspect="1"/>
            </p:cNvCxnSpPr>
            <p:nvPr/>
          </p:nvCxnSpPr>
          <p:spPr>
            <a:xfrm flipV="1">
              <a:off x="2981914" y="3833808"/>
              <a:ext cx="137160" cy="1"/>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30" name="Group 29"/>
          <p:cNvGrpSpPr/>
          <p:nvPr/>
        </p:nvGrpSpPr>
        <p:grpSpPr>
          <a:xfrm>
            <a:off x="1151675" y="3786353"/>
            <a:ext cx="1488657" cy="338554"/>
            <a:chOff x="2878906" y="4330648"/>
            <a:chExt cx="1488657" cy="338554"/>
          </a:xfrm>
        </p:grpSpPr>
        <p:sp>
          <p:nvSpPr>
            <p:cNvPr id="31" name="TextBox 30"/>
            <p:cNvSpPr txBox="1">
              <a:spLocks noChangeAspect="1"/>
            </p:cNvSpPr>
            <p:nvPr/>
          </p:nvSpPr>
          <p:spPr>
            <a:xfrm>
              <a:off x="2878906" y="4330648"/>
              <a:ext cx="1433265" cy="338554"/>
            </a:xfrm>
            <a:prstGeom prst="rect">
              <a:avLst/>
            </a:prstGeom>
            <a:noFill/>
          </p:spPr>
          <p:txBody>
            <a:bodyPr wrap="square" rtlCol="0">
              <a:spAutoFit/>
            </a:bodyPr>
            <a:lstStyle/>
            <a:p>
              <a:r>
                <a:rPr lang="en-US" sz="1600" dirty="0">
                  <a:solidFill>
                    <a:schemeClr val="bg1"/>
                  </a:solidFill>
                </a:rPr>
                <a:t>Phrenic Nerve</a:t>
              </a:r>
            </a:p>
          </p:txBody>
        </p:sp>
        <p:cxnSp>
          <p:nvCxnSpPr>
            <p:cNvPr id="32" name="Straight Connector 31"/>
            <p:cNvCxnSpPr>
              <a:cxnSpLocks noChangeAspect="1"/>
            </p:cNvCxnSpPr>
            <p:nvPr/>
          </p:nvCxnSpPr>
          <p:spPr>
            <a:xfrm flipV="1">
              <a:off x="4230403" y="4546643"/>
              <a:ext cx="137160" cy="1"/>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33" name="Group 32"/>
          <p:cNvGrpSpPr/>
          <p:nvPr/>
        </p:nvGrpSpPr>
        <p:grpSpPr>
          <a:xfrm>
            <a:off x="929436" y="2182247"/>
            <a:ext cx="1642254" cy="584774"/>
            <a:chOff x="2341686" y="2445762"/>
            <a:chExt cx="1748255" cy="471590"/>
          </a:xfrm>
        </p:grpSpPr>
        <p:sp>
          <p:nvSpPr>
            <p:cNvPr id="34" name="TextBox 33"/>
            <p:cNvSpPr txBox="1">
              <a:spLocks noChangeAspect="1"/>
            </p:cNvSpPr>
            <p:nvPr/>
          </p:nvSpPr>
          <p:spPr>
            <a:xfrm>
              <a:off x="2341686" y="2445762"/>
              <a:ext cx="1600457" cy="471590"/>
            </a:xfrm>
            <a:prstGeom prst="rect">
              <a:avLst/>
            </a:prstGeom>
            <a:noFill/>
          </p:spPr>
          <p:txBody>
            <a:bodyPr wrap="square" rtlCol="0">
              <a:spAutoFit/>
            </a:bodyPr>
            <a:lstStyle/>
            <a:p>
              <a:pPr algn="ctr"/>
              <a:r>
                <a:rPr lang="en-US" sz="1600" dirty="0">
                  <a:solidFill>
                    <a:schemeClr val="bg1"/>
                  </a:solidFill>
                </a:rPr>
                <a:t>Brachiocephalic Vein</a:t>
              </a:r>
            </a:p>
          </p:txBody>
        </p:sp>
        <p:cxnSp>
          <p:nvCxnSpPr>
            <p:cNvPr id="35" name="Straight Connector 34"/>
            <p:cNvCxnSpPr>
              <a:cxnSpLocks noChangeAspect="1"/>
            </p:cNvCxnSpPr>
            <p:nvPr/>
          </p:nvCxnSpPr>
          <p:spPr>
            <a:xfrm flipV="1">
              <a:off x="3895257" y="2612914"/>
              <a:ext cx="194684" cy="3"/>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23" name="Rectangle 22">
            <a:extLst>
              <a:ext uri="{FF2B5EF4-FFF2-40B4-BE49-F238E27FC236}">
                <a16:creationId xmlns:a16="http://schemas.microsoft.com/office/drawing/2014/main" id="{E4F5D321-1BC2-49EC-8E42-35E220358424}"/>
              </a:ext>
            </a:extLst>
          </p:cNvPr>
          <p:cNvSpPr/>
          <p:nvPr/>
        </p:nvSpPr>
        <p:spPr>
          <a:xfrm>
            <a:off x="774718" y="5740912"/>
            <a:ext cx="1231427" cy="215444"/>
          </a:xfrm>
          <a:prstGeom prst="rect">
            <a:avLst/>
          </a:prstGeom>
        </p:spPr>
        <p:txBody>
          <a:bodyPr wrap="none">
            <a:spAutoFit/>
          </a:bodyPr>
          <a:lstStyle/>
          <a:p>
            <a:r>
              <a:rPr lang="en-US" sz="800" dirty="0">
                <a:solidFill>
                  <a:srgbClr val="33363E"/>
                </a:solidFill>
              </a:rPr>
              <a:t>Courtesy Respicardia, Inc</a:t>
            </a:r>
            <a:endParaRPr lang="en-US" sz="1400" dirty="0"/>
          </a:p>
        </p:txBody>
      </p:sp>
      <p:sp>
        <p:nvSpPr>
          <p:cNvPr id="3" name="Slide Number Placeholder 2">
            <a:extLst>
              <a:ext uri="{FF2B5EF4-FFF2-40B4-BE49-F238E27FC236}">
                <a16:creationId xmlns:a16="http://schemas.microsoft.com/office/drawing/2014/main" id="{FAB26773-26BD-A920-FBBC-5745CE96060F}"/>
              </a:ext>
            </a:extLst>
          </p:cNvPr>
          <p:cNvSpPr>
            <a:spLocks noGrp="1"/>
          </p:cNvSpPr>
          <p:nvPr>
            <p:ph type="sldNum" sz="quarter" idx="12"/>
          </p:nvPr>
        </p:nvSpPr>
        <p:spPr/>
        <p:txBody>
          <a:bodyPr/>
          <a:lstStyle/>
          <a:p>
            <a:fld id="{21D51F98-DEF0-4E23-AE94-24E7CFC19B28}" type="slidenum">
              <a:rPr lang="en-US" smtClean="0"/>
              <a:t>45</a:t>
            </a:fld>
            <a:endParaRPr lang="en-US"/>
          </a:p>
        </p:txBody>
      </p:sp>
      <p:sp>
        <p:nvSpPr>
          <p:cNvPr id="5" name="Footer Placeholder 5">
            <a:extLst>
              <a:ext uri="{FF2B5EF4-FFF2-40B4-BE49-F238E27FC236}">
                <a16:creationId xmlns:a16="http://schemas.microsoft.com/office/drawing/2014/main" id="{F327AA34-0701-0BB4-52A9-7CA6DF014F64}"/>
              </a:ext>
            </a:extLst>
          </p:cNvPr>
          <p:cNvSpPr>
            <a:spLocks noGrp="1"/>
          </p:cNvSpPr>
          <p:nvPr>
            <p:ph type="ftr" sz="quarter" idx="11"/>
          </p:nvPr>
        </p:nvSpPr>
        <p:spPr>
          <a:xfrm>
            <a:off x="3684598" y="6459785"/>
            <a:ext cx="4822804" cy="365125"/>
          </a:xfrm>
        </p:spPr>
        <p:txBody>
          <a:bodyPr/>
          <a:lstStyle/>
          <a:p>
            <a:r>
              <a:rPr lang="en-US" dirty="0"/>
              <a:t>MAF1937 Rev E</a:t>
            </a:r>
          </a:p>
        </p:txBody>
      </p:sp>
    </p:spTree>
    <p:extLst>
      <p:ext uri="{BB962C8B-B14F-4D97-AF65-F5344CB8AC3E}">
        <p14:creationId xmlns:p14="http://schemas.microsoft.com/office/powerpoint/2010/main" val="3239389270"/>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255588" y="276225"/>
            <a:ext cx="11936412" cy="534988"/>
          </a:xfrm>
        </p:spPr>
        <p:txBody>
          <a:bodyPr>
            <a:normAutofit/>
          </a:bodyPr>
          <a:lstStyle/>
          <a:p>
            <a:r>
              <a:rPr lang="en-US" sz="3000" b="1" dirty="0">
                <a:solidFill>
                  <a:schemeClr val="accent2"/>
                </a:solidFill>
                <a:latin typeface="+mn-lt"/>
              </a:rPr>
              <a:t>rem</a:t>
            </a:r>
            <a:r>
              <a:rPr lang="en-US" sz="3000" dirty="0">
                <a:solidFill>
                  <a:schemeClr val="accent2"/>
                </a:solidFill>
                <a:latin typeface="+mn-lt"/>
              </a:rPr>
              <a:t>edē</a:t>
            </a:r>
            <a:r>
              <a:rPr lang="en-US" sz="3000" b="1" dirty="0">
                <a:solidFill>
                  <a:schemeClr val="accent2"/>
                </a:solidFill>
                <a:latin typeface="+mn-lt"/>
              </a:rPr>
              <a:t>® System therapy uses stimulation pulses to mimic normal breathing</a:t>
            </a:r>
            <a:endParaRPr lang="en-US" sz="3000" b="1" i="1" dirty="0">
              <a:solidFill>
                <a:schemeClr val="accent2"/>
              </a:solidFill>
              <a:latin typeface="+mn-lt"/>
            </a:endParaRPr>
          </a:p>
        </p:txBody>
      </p:sp>
      <p:sp>
        <p:nvSpPr>
          <p:cNvPr id="144" name="Content Placeholder 1"/>
          <p:cNvSpPr>
            <a:spLocks noGrp="1"/>
          </p:cNvSpPr>
          <p:nvPr>
            <p:ph sz="quarter" idx="4294967295"/>
          </p:nvPr>
        </p:nvSpPr>
        <p:spPr>
          <a:xfrm>
            <a:off x="8428187" y="1642703"/>
            <a:ext cx="3455987" cy="2396723"/>
          </a:xfrm>
        </p:spPr>
        <p:txBody>
          <a:bodyPr>
            <a:normAutofit/>
          </a:bodyPr>
          <a:lstStyle/>
          <a:p>
            <a:pPr marL="0" indent="0">
              <a:buNone/>
            </a:pPr>
            <a:r>
              <a:rPr lang="en-US" sz="2000" dirty="0">
                <a:latin typeface="Calibri" panose="020F0502020204030204" pitchFamily="34" charset="0"/>
              </a:rPr>
              <a:t>Stimulation pulse setting ranges:</a:t>
            </a:r>
          </a:p>
          <a:p>
            <a:r>
              <a:rPr lang="en-US" sz="2000" dirty="0">
                <a:latin typeface="Calibri" panose="020F0502020204030204" pitchFamily="34" charset="0"/>
              </a:rPr>
              <a:t>Amplitude: 0.1 mA – 10 mA</a:t>
            </a:r>
          </a:p>
          <a:p>
            <a:r>
              <a:rPr lang="en-US" sz="2000" dirty="0">
                <a:latin typeface="Calibri" panose="020F0502020204030204" pitchFamily="34" charset="0"/>
              </a:rPr>
              <a:t>Pulse width: 60 µsec – 300 µsec</a:t>
            </a:r>
          </a:p>
          <a:p>
            <a:r>
              <a:rPr lang="en-US" sz="2000" dirty="0">
                <a:latin typeface="Calibri" panose="020F0502020204030204" pitchFamily="34" charset="0"/>
              </a:rPr>
              <a:t>Frequency: 10-40 Hz</a:t>
            </a:r>
          </a:p>
        </p:txBody>
      </p:sp>
      <p:sp>
        <p:nvSpPr>
          <p:cNvPr id="47" name="TextBox 46"/>
          <p:cNvSpPr txBox="1"/>
          <p:nvPr/>
        </p:nvSpPr>
        <p:spPr>
          <a:xfrm>
            <a:off x="346485" y="6067797"/>
            <a:ext cx="5625193" cy="246221"/>
          </a:xfrm>
          <a:prstGeom prst="rect">
            <a:avLst/>
          </a:prstGeom>
          <a:noFill/>
        </p:spPr>
        <p:txBody>
          <a:bodyPr wrap="square" rtlCol="0">
            <a:spAutoFit/>
          </a:bodyPr>
          <a:lstStyle/>
          <a:p>
            <a:r>
              <a:rPr lang="en-US" sz="1000" dirty="0"/>
              <a:t>Abraham WT et al. JACC HF 2015;5:360-369</a:t>
            </a:r>
          </a:p>
        </p:txBody>
      </p:sp>
      <p:sp>
        <p:nvSpPr>
          <p:cNvPr id="48" name="Left-Right Arrow 47"/>
          <p:cNvSpPr>
            <a:spLocks/>
          </p:cNvSpPr>
          <p:nvPr/>
        </p:nvSpPr>
        <p:spPr>
          <a:xfrm>
            <a:off x="1939824" y="4262222"/>
            <a:ext cx="1537731" cy="429768"/>
          </a:xfrm>
          <a:prstGeom prst="leftRightArrow">
            <a:avLst/>
          </a:prstGeom>
          <a:solidFill>
            <a:schemeClr val="accent1">
              <a:lumMod val="60000"/>
              <a:lumOff val="40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solidFill>
                  <a:schemeClr val="tx1"/>
                </a:solidFill>
                <a:latin typeface="Calibri" pitchFamily="34" charset="0"/>
              </a:rPr>
              <a:t>Inspiration</a:t>
            </a:r>
          </a:p>
        </p:txBody>
      </p:sp>
      <p:sp>
        <p:nvSpPr>
          <p:cNvPr id="52" name="TextBox 51"/>
          <p:cNvSpPr txBox="1"/>
          <p:nvPr/>
        </p:nvSpPr>
        <p:spPr>
          <a:xfrm>
            <a:off x="7549501" y="5816187"/>
            <a:ext cx="570990" cy="338554"/>
          </a:xfrm>
          <a:prstGeom prst="rect">
            <a:avLst/>
          </a:prstGeom>
          <a:noFill/>
        </p:spPr>
        <p:txBody>
          <a:bodyPr wrap="none" rtlCol="0">
            <a:spAutoFit/>
          </a:bodyPr>
          <a:lstStyle/>
          <a:p>
            <a:pPr algn="ctr"/>
            <a:r>
              <a:rPr lang="en-US" sz="1600" b="1" i="1" dirty="0"/>
              <a:t>time</a:t>
            </a:r>
          </a:p>
        </p:txBody>
      </p:sp>
      <p:sp>
        <p:nvSpPr>
          <p:cNvPr id="53" name="TextBox 52"/>
          <p:cNvSpPr txBox="1"/>
          <p:nvPr/>
        </p:nvSpPr>
        <p:spPr>
          <a:xfrm>
            <a:off x="399894" y="4060281"/>
            <a:ext cx="1022011" cy="338554"/>
          </a:xfrm>
          <a:prstGeom prst="rect">
            <a:avLst/>
          </a:prstGeom>
          <a:noFill/>
        </p:spPr>
        <p:txBody>
          <a:bodyPr wrap="none" rtlCol="0">
            <a:spAutoFit/>
          </a:bodyPr>
          <a:lstStyle/>
          <a:p>
            <a:pPr algn="ctr"/>
            <a:r>
              <a:rPr lang="en-US" sz="1600" b="1" dirty="0"/>
              <a:t>Milliamps</a:t>
            </a:r>
          </a:p>
        </p:txBody>
      </p:sp>
      <p:cxnSp>
        <p:nvCxnSpPr>
          <p:cNvPr id="55" name="Straight Connector 54"/>
          <p:cNvCxnSpPr/>
          <p:nvPr/>
        </p:nvCxnSpPr>
        <p:spPr>
          <a:xfrm flipV="1">
            <a:off x="1504636" y="4256226"/>
            <a:ext cx="0" cy="1663800"/>
          </a:xfrm>
          <a:prstGeom prst="line">
            <a:avLst/>
          </a:prstGeom>
          <a:ln w="28575">
            <a:solidFill>
              <a:schemeClr val="tx1"/>
            </a:solidFill>
            <a:tailEnd type="triangle"/>
          </a:ln>
          <a:effectLst/>
        </p:spPr>
        <p:style>
          <a:lnRef idx="1">
            <a:schemeClr val="accent1"/>
          </a:lnRef>
          <a:fillRef idx="0">
            <a:schemeClr val="accent1"/>
          </a:fillRef>
          <a:effectRef idx="0">
            <a:schemeClr val="accent1"/>
          </a:effectRef>
          <a:fontRef idx="minor">
            <a:schemeClr val="tx1"/>
          </a:fontRef>
        </p:style>
      </p:cxnSp>
      <p:sp>
        <p:nvSpPr>
          <p:cNvPr id="56" name="TextBox 55"/>
          <p:cNvSpPr txBox="1"/>
          <p:nvPr/>
        </p:nvSpPr>
        <p:spPr>
          <a:xfrm>
            <a:off x="516821" y="5539933"/>
            <a:ext cx="627095" cy="338554"/>
          </a:xfrm>
          <a:prstGeom prst="rect">
            <a:avLst/>
          </a:prstGeom>
          <a:noFill/>
        </p:spPr>
        <p:txBody>
          <a:bodyPr wrap="none" rtlCol="0">
            <a:spAutoFit/>
          </a:bodyPr>
          <a:lstStyle/>
          <a:p>
            <a:pPr algn="ctr"/>
            <a:r>
              <a:rPr lang="en-US" sz="1600" b="1" dirty="0"/>
              <a:t>0 mA</a:t>
            </a:r>
          </a:p>
        </p:txBody>
      </p:sp>
      <p:sp>
        <p:nvSpPr>
          <p:cNvPr id="57" name="TextBox 56"/>
          <p:cNvSpPr txBox="1"/>
          <p:nvPr/>
        </p:nvSpPr>
        <p:spPr>
          <a:xfrm>
            <a:off x="341730" y="4564013"/>
            <a:ext cx="1149675" cy="338554"/>
          </a:xfrm>
          <a:prstGeom prst="rect">
            <a:avLst/>
          </a:prstGeom>
          <a:noFill/>
        </p:spPr>
        <p:txBody>
          <a:bodyPr wrap="none" rtlCol="0">
            <a:spAutoFit/>
          </a:bodyPr>
          <a:lstStyle/>
          <a:p>
            <a:pPr algn="ctr"/>
            <a:r>
              <a:rPr lang="en-US" sz="1600" b="1" dirty="0"/>
              <a:t>0.1 - 10 mA</a:t>
            </a:r>
          </a:p>
        </p:txBody>
      </p:sp>
      <p:cxnSp>
        <p:nvCxnSpPr>
          <p:cNvPr id="58" name="Straight Connector 57"/>
          <p:cNvCxnSpPr/>
          <p:nvPr/>
        </p:nvCxnSpPr>
        <p:spPr>
          <a:xfrm>
            <a:off x="1337383" y="4727047"/>
            <a:ext cx="288206" cy="4858"/>
          </a:xfrm>
          <a:prstGeom prst="line">
            <a:avLst/>
          </a:prstGeom>
          <a:ln w="19050">
            <a:solidFill>
              <a:schemeClr val="tx1"/>
            </a:solidFill>
            <a:tailEnd type="none"/>
          </a:ln>
          <a:effectLst/>
        </p:spPr>
        <p:style>
          <a:lnRef idx="1">
            <a:schemeClr val="accent1"/>
          </a:lnRef>
          <a:fillRef idx="0">
            <a:schemeClr val="accent1"/>
          </a:fillRef>
          <a:effectRef idx="0">
            <a:schemeClr val="accent1"/>
          </a:effectRef>
          <a:fontRef idx="minor">
            <a:schemeClr val="tx1"/>
          </a:fontRef>
        </p:style>
      </p:cxnSp>
      <p:grpSp>
        <p:nvGrpSpPr>
          <p:cNvPr id="68" name="Group 67"/>
          <p:cNvGrpSpPr/>
          <p:nvPr/>
        </p:nvGrpSpPr>
        <p:grpSpPr>
          <a:xfrm>
            <a:off x="1962902" y="4746030"/>
            <a:ext cx="1493571" cy="948311"/>
            <a:chOff x="6303311" y="3547652"/>
            <a:chExt cx="1493571" cy="886269"/>
          </a:xfrm>
        </p:grpSpPr>
        <p:cxnSp>
          <p:nvCxnSpPr>
            <p:cNvPr id="69" name="Straight Connector 68"/>
            <p:cNvCxnSpPr/>
            <p:nvPr/>
          </p:nvCxnSpPr>
          <p:spPr>
            <a:xfrm>
              <a:off x="7796882" y="3788596"/>
              <a:ext cx="0" cy="645325"/>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70" name="Straight Connector 69"/>
            <p:cNvCxnSpPr/>
            <p:nvPr/>
          </p:nvCxnSpPr>
          <p:spPr>
            <a:xfrm flipH="1">
              <a:off x="7718564" y="3705225"/>
              <a:ext cx="483" cy="72542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71" name="Straight Connector 70"/>
            <p:cNvCxnSpPr/>
            <p:nvPr/>
          </p:nvCxnSpPr>
          <p:spPr>
            <a:xfrm>
              <a:off x="7758542" y="3748723"/>
              <a:ext cx="0" cy="683759"/>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72" name="Straight Connector 71"/>
            <p:cNvCxnSpPr/>
            <p:nvPr/>
          </p:nvCxnSpPr>
          <p:spPr>
            <a:xfrm>
              <a:off x="7567089" y="3547925"/>
              <a:ext cx="0" cy="885996"/>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73" name="Straight Connector 72"/>
            <p:cNvCxnSpPr/>
            <p:nvPr/>
          </p:nvCxnSpPr>
          <p:spPr>
            <a:xfrm>
              <a:off x="7681612" y="3657600"/>
              <a:ext cx="0" cy="772237"/>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74" name="Straight Connector 73"/>
            <p:cNvCxnSpPr/>
            <p:nvPr/>
          </p:nvCxnSpPr>
          <p:spPr>
            <a:xfrm>
              <a:off x="7607102" y="3568065"/>
              <a:ext cx="0" cy="864451"/>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75" name="Straight Connector 74"/>
            <p:cNvCxnSpPr/>
            <p:nvPr/>
          </p:nvCxnSpPr>
          <p:spPr>
            <a:xfrm>
              <a:off x="7643272" y="3605374"/>
              <a:ext cx="0" cy="828547"/>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76" name="Straight Connector 75"/>
            <p:cNvCxnSpPr/>
            <p:nvPr/>
          </p:nvCxnSpPr>
          <p:spPr>
            <a:xfrm>
              <a:off x="7490072" y="3547925"/>
              <a:ext cx="2961" cy="88272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77" name="Straight Connector 76"/>
            <p:cNvCxnSpPr/>
            <p:nvPr/>
          </p:nvCxnSpPr>
          <p:spPr>
            <a:xfrm>
              <a:off x="7527146" y="3547925"/>
              <a:ext cx="1631" cy="884591"/>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7337525" y="3547993"/>
              <a:ext cx="0" cy="88249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7452048" y="3547652"/>
              <a:ext cx="0" cy="88249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7373728" y="3547993"/>
              <a:ext cx="0" cy="88249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7413708" y="3547993"/>
              <a:ext cx="0" cy="88249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7223002" y="3547925"/>
              <a:ext cx="0" cy="88249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7337525" y="3549364"/>
              <a:ext cx="0" cy="88249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7259205" y="3547925"/>
              <a:ext cx="0" cy="88249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7299185" y="3547925"/>
              <a:ext cx="0" cy="88249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7107732" y="3547959"/>
              <a:ext cx="0" cy="88249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7143935" y="3547988"/>
              <a:ext cx="0" cy="88249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7183915" y="3547959"/>
              <a:ext cx="0" cy="88249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7029641" y="3548113"/>
              <a:ext cx="0" cy="88249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7069621" y="3547988"/>
              <a:ext cx="0" cy="88249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6878168" y="3548147"/>
              <a:ext cx="0" cy="88249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6992691" y="3547652"/>
              <a:ext cx="0" cy="88249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3" name="Straight Connector 92"/>
            <p:cNvCxnSpPr/>
            <p:nvPr/>
          </p:nvCxnSpPr>
          <p:spPr>
            <a:xfrm>
              <a:off x="6916276" y="3548022"/>
              <a:ext cx="0" cy="88249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4" name="Straight Connector 93"/>
            <p:cNvCxnSpPr/>
            <p:nvPr/>
          </p:nvCxnSpPr>
          <p:spPr>
            <a:xfrm>
              <a:off x="6954351" y="3548147"/>
              <a:ext cx="0" cy="88249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5" name="Straight Connector 94"/>
            <p:cNvCxnSpPr/>
            <p:nvPr/>
          </p:nvCxnSpPr>
          <p:spPr>
            <a:xfrm>
              <a:off x="6763413" y="3547959"/>
              <a:ext cx="0" cy="88249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6" name="Straight Connector 95"/>
            <p:cNvCxnSpPr/>
            <p:nvPr/>
          </p:nvCxnSpPr>
          <p:spPr>
            <a:xfrm>
              <a:off x="6801521" y="3548113"/>
              <a:ext cx="0" cy="88249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7" name="Straight Connector 96"/>
            <p:cNvCxnSpPr/>
            <p:nvPr/>
          </p:nvCxnSpPr>
          <p:spPr>
            <a:xfrm>
              <a:off x="6839596" y="3548113"/>
              <a:ext cx="0" cy="88249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8" name="Straight Connector 97"/>
            <p:cNvCxnSpPr/>
            <p:nvPr/>
          </p:nvCxnSpPr>
          <p:spPr>
            <a:xfrm>
              <a:off x="6685444" y="3568065"/>
              <a:ext cx="807" cy="864485"/>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9" name="Straight Connector 98"/>
            <p:cNvCxnSpPr/>
            <p:nvPr/>
          </p:nvCxnSpPr>
          <p:spPr>
            <a:xfrm>
              <a:off x="6724326" y="3550052"/>
              <a:ext cx="0" cy="88249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0" name="Straight Connector 99"/>
            <p:cNvCxnSpPr/>
            <p:nvPr/>
          </p:nvCxnSpPr>
          <p:spPr>
            <a:xfrm>
              <a:off x="6648143" y="3589630"/>
              <a:ext cx="229" cy="840395"/>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1" name="Straight Connector 100"/>
            <p:cNvCxnSpPr/>
            <p:nvPr/>
          </p:nvCxnSpPr>
          <p:spPr>
            <a:xfrm>
              <a:off x="6569676" y="3634398"/>
              <a:ext cx="4186" cy="795713"/>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2" name="Straight Connector 101"/>
            <p:cNvCxnSpPr/>
            <p:nvPr/>
          </p:nvCxnSpPr>
          <p:spPr>
            <a:xfrm>
              <a:off x="6610032" y="3609184"/>
              <a:ext cx="0" cy="821461"/>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3" name="Straight Connector 102"/>
            <p:cNvCxnSpPr/>
            <p:nvPr/>
          </p:nvCxnSpPr>
          <p:spPr>
            <a:xfrm>
              <a:off x="6418579" y="3727617"/>
              <a:ext cx="0" cy="702874"/>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4" name="Straight Connector 103"/>
            <p:cNvCxnSpPr/>
            <p:nvPr/>
          </p:nvCxnSpPr>
          <p:spPr>
            <a:xfrm>
              <a:off x="6533102" y="3657600"/>
              <a:ext cx="0" cy="774364"/>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5" name="Straight Connector 104"/>
            <p:cNvCxnSpPr/>
            <p:nvPr/>
          </p:nvCxnSpPr>
          <p:spPr>
            <a:xfrm>
              <a:off x="6454712" y="3705225"/>
              <a:ext cx="70" cy="727359"/>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6" name="Straight Connector 105"/>
            <p:cNvCxnSpPr/>
            <p:nvPr/>
          </p:nvCxnSpPr>
          <p:spPr>
            <a:xfrm>
              <a:off x="6494762" y="3682023"/>
              <a:ext cx="0" cy="750561"/>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7" name="Straight Connector 106"/>
            <p:cNvCxnSpPr/>
            <p:nvPr/>
          </p:nvCxnSpPr>
          <p:spPr>
            <a:xfrm>
              <a:off x="6342164" y="3773805"/>
              <a:ext cx="0" cy="658711"/>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8" name="Straight Connector 107"/>
            <p:cNvCxnSpPr/>
            <p:nvPr/>
          </p:nvCxnSpPr>
          <p:spPr>
            <a:xfrm>
              <a:off x="6380239" y="3748723"/>
              <a:ext cx="0" cy="683793"/>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9" name="Straight Connector 108"/>
            <p:cNvCxnSpPr/>
            <p:nvPr/>
          </p:nvCxnSpPr>
          <p:spPr>
            <a:xfrm flipH="1">
              <a:off x="6303311" y="3788596"/>
              <a:ext cx="1512" cy="643334"/>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110" name="Group 109"/>
          <p:cNvGrpSpPr/>
          <p:nvPr/>
        </p:nvGrpSpPr>
        <p:grpSpPr>
          <a:xfrm>
            <a:off x="5051987" y="4740399"/>
            <a:ext cx="1493571" cy="948361"/>
            <a:chOff x="6303311" y="3547605"/>
            <a:chExt cx="1493571" cy="886316"/>
          </a:xfrm>
        </p:grpSpPr>
        <p:cxnSp>
          <p:nvCxnSpPr>
            <p:cNvPr id="111" name="Straight Connector 110"/>
            <p:cNvCxnSpPr/>
            <p:nvPr/>
          </p:nvCxnSpPr>
          <p:spPr>
            <a:xfrm>
              <a:off x="7796882" y="3788596"/>
              <a:ext cx="0" cy="645325"/>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12" name="Straight Connector 111"/>
            <p:cNvCxnSpPr/>
            <p:nvPr/>
          </p:nvCxnSpPr>
          <p:spPr>
            <a:xfrm flipH="1">
              <a:off x="7718564" y="3705225"/>
              <a:ext cx="483" cy="72542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13" name="Straight Connector 112"/>
            <p:cNvCxnSpPr/>
            <p:nvPr/>
          </p:nvCxnSpPr>
          <p:spPr>
            <a:xfrm>
              <a:off x="7758542" y="3748723"/>
              <a:ext cx="0" cy="683759"/>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14" name="Straight Connector 113"/>
            <p:cNvCxnSpPr/>
            <p:nvPr/>
          </p:nvCxnSpPr>
          <p:spPr>
            <a:xfrm>
              <a:off x="7563279" y="3547925"/>
              <a:ext cx="0" cy="885996"/>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15" name="Straight Connector 114"/>
            <p:cNvCxnSpPr/>
            <p:nvPr/>
          </p:nvCxnSpPr>
          <p:spPr>
            <a:xfrm>
              <a:off x="7681612" y="3657600"/>
              <a:ext cx="0" cy="772237"/>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16" name="Straight Connector 115"/>
            <p:cNvCxnSpPr/>
            <p:nvPr/>
          </p:nvCxnSpPr>
          <p:spPr>
            <a:xfrm>
              <a:off x="7603292" y="3568065"/>
              <a:ext cx="0" cy="864451"/>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17" name="Straight Connector 116"/>
            <p:cNvCxnSpPr/>
            <p:nvPr/>
          </p:nvCxnSpPr>
          <p:spPr>
            <a:xfrm>
              <a:off x="7643272" y="3605374"/>
              <a:ext cx="0" cy="828547"/>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18" name="Straight Connector 117"/>
            <p:cNvCxnSpPr/>
            <p:nvPr/>
          </p:nvCxnSpPr>
          <p:spPr>
            <a:xfrm>
              <a:off x="7490072" y="3547925"/>
              <a:ext cx="2961" cy="88272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19" name="Straight Connector 118"/>
            <p:cNvCxnSpPr/>
            <p:nvPr/>
          </p:nvCxnSpPr>
          <p:spPr>
            <a:xfrm>
              <a:off x="7527347" y="3547925"/>
              <a:ext cx="1631" cy="884591"/>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20" name="Straight Connector 119"/>
            <p:cNvCxnSpPr/>
            <p:nvPr/>
          </p:nvCxnSpPr>
          <p:spPr>
            <a:xfrm>
              <a:off x="7337525" y="3547993"/>
              <a:ext cx="0" cy="88249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21" name="Straight Connector 120"/>
            <p:cNvCxnSpPr/>
            <p:nvPr/>
          </p:nvCxnSpPr>
          <p:spPr>
            <a:xfrm>
              <a:off x="7452048" y="3549432"/>
              <a:ext cx="0" cy="88249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22" name="Straight Connector 121"/>
            <p:cNvCxnSpPr/>
            <p:nvPr/>
          </p:nvCxnSpPr>
          <p:spPr>
            <a:xfrm>
              <a:off x="7373728" y="3547993"/>
              <a:ext cx="0" cy="88249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23" name="Straight Connector 122"/>
            <p:cNvCxnSpPr/>
            <p:nvPr/>
          </p:nvCxnSpPr>
          <p:spPr>
            <a:xfrm>
              <a:off x="7413708" y="3547993"/>
              <a:ext cx="0" cy="88249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24" name="Straight Connector 123"/>
            <p:cNvCxnSpPr/>
            <p:nvPr/>
          </p:nvCxnSpPr>
          <p:spPr>
            <a:xfrm>
              <a:off x="7223002" y="3547925"/>
              <a:ext cx="0" cy="88249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25" name="Straight Connector 124"/>
            <p:cNvCxnSpPr/>
            <p:nvPr/>
          </p:nvCxnSpPr>
          <p:spPr>
            <a:xfrm>
              <a:off x="7337525" y="3549364"/>
              <a:ext cx="0" cy="88249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26" name="Straight Connector 125"/>
            <p:cNvCxnSpPr/>
            <p:nvPr/>
          </p:nvCxnSpPr>
          <p:spPr>
            <a:xfrm>
              <a:off x="7259205" y="3547925"/>
              <a:ext cx="0" cy="88249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27" name="Straight Connector 126"/>
            <p:cNvCxnSpPr/>
            <p:nvPr/>
          </p:nvCxnSpPr>
          <p:spPr>
            <a:xfrm>
              <a:off x="7299185" y="3547925"/>
              <a:ext cx="0" cy="88249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28" name="Straight Connector 127"/>
            <p:cNvCxnSpPr/>
            <p:nvPr/>
          </p:nvCxnSpPr>
          <p:spPr>
            <a:xfrm>
              <a:off x="7107732" y="3547959"/>
              <a:ext cx="0" cy="88249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29" name="Straight Connector 128"/>
            <p:cNvCxnSpPr/>
            <p:nvPr/>
          </p:nvCxnSpPr>
          <p:spPr>
            <a:xfrm>
              <a:off x="7143935" y="3547988"/>
              <a:ext cx="0" cy="88249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30" name="Straight Connector 129"/>
            <p:cNvCxnSpPr/>
            <p:nvPr/>
          </p:nvCxnSpPr>
          <p:spPr>
            <a:xfrm>
              <a:off x="7183915" y="3547959"/>
              <a:ext cx="0" cy="88249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31" name="Straight Connector 130"/>
            <p:cNvCxnSpPr/>
            <p:nvPr/>
          </p:nvCxnSpPr>
          <p:spPr>
            <a:xfrm>
              <a:off x="7029641" y="3548113"/>
              <a:ext cx="0" cy="88249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32" name="Straight Connector 131"/>
            <p:cNvCxnSpPr/>
            <p:nvPr/>
          </p:nvCxnSpPr>
          <p:spPr>
            <a:xfrm>
              <a:off x="7069621" y="3547988"/>
              <a:ext cx="0" cy="88249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33" name="Straight Connector 132"/>
            <p:cNvCxnSpPr/>
            <p:nvPr/>
          </p:nvCxnSpPr>
          <p:spPr>
            <a:xfrm>
              <a:off x="6878168" y="3548147"/>
              <a:ext cx="0" cy="88249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6992691" y="3547605"/>
              <a:ext cx="0" cy="88249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6916276" y="3548022"/>
              <a:ext cx="0" cy="88249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6954351" y="3548147"/>
              <a:ext cx="0" cy="88249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6763413" y="3547959"/>
              <a:ext cx="0" cy="88249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38" name="Straight Connector 137"/>
            <p:cNvCxnSpPr/>
            <p:nvPr/>
          </p:nvCxnSpPr>
          <p:spPr>
            <a:xfrm>
              <a:off x="6801521" y="3548113"/>
              <a:ext cx="0" cy="88249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39" name="Straight Connector 138"/>
            <p:cNvCxnSpPr/>
            <p:nvPr/>
          </p:nvCxnSpPr>
          <p:spPr>
            <a:xfrm>
              <a:off x="6839596" y="3548113"/>
              <a:ext cx="0" cy="88249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40" name="Straight Connector 139"/>
            <p:cNvCxnSpPr/>
            <p:nvPr/>
          </p:nvCxnSpPr>
          <p:spPr>
            <a:xfrm>
              <a:off x="6762666" y="3551337"/>
              <a:ext cx="0" cy="88249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41" name="Straight Connector 140"/>
            <p:cNvCxnSpPr/>
            <p:nvPr/>
          </p:nvCxnSpPr>
          <p:spPr>
            <a:xfrm>
              <a:off x="6685444" y="3568065"/>
              <a:ext cx="807" cy="864485"/>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42" name="Straight Connector 141"/>
            <p:cNvCxnSpPr/>
            <p:nvPr/>
          </p:nvCxnSpPr>
          <p:spPr>
            <a:xfrm>
              <a:off x="6724326" y="3550052"/>
              <a:ext cx="0" cy="88249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43" name="Straight Connector 142"/>
            <p:cNvCxnSpPr/>
            <p:nvPr/>
          </p:nvCxnSpPr>
          <p:spPr>
            <a:xfrm>
              <a:off x="6648143" y="3589630"/>
              <a:ext cx="229" cy="840395"/>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6569676" y="3634398"/>
              <a:ext cx="4186" cy="795713"/>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6610032" y="3609184"/>
              <a:ext cx="0" cy="821461"/>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6418579" y="3727617"/>
              <a:ext cx="0" cy="702874"/>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6533102" y="3657600"/>
              <a:ext cx="0" cy="774364"/>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90" name="Straight Connector 189"/>
            <p:cNvCxnSpPr/>
            <p:nvPr/>
          </p:nvCxnSpPr>
          <p:spPr>
            <a:xfrm>
              <a:off x="6454712" y="3705225"/>
              <a:ext cx="70" cy="727359"/>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91" name="Straight Connector 190"/>
            <p:cNvCxnSpPr/>
            <p:nvPr/>
          </p:nvCxnSpPr>
          <p:spPr>
            <a:xfrm>
              <a:off x="6494762" y="3682023"/>
              <a:ext cx="0" cy="750561"/>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92" name="Straight Connector 191"/>
            <p:cNvCxnSpPr/>
            <p:nvPr/>
          </p:nvCxnSpPr>
          <p:spPr>
            <a:xfrm>
              <a:off x="6342164" y="3773805"/>
              <a:ext cx="0" cy="658711"/>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93" name="Straight Connector 192"/>
            <p:cNvCxnSpPr/>
            <p:nvPr/>
          </p:nvCxnSpPr>
          <p:spPr>
            <a:xfrm>
              <a:off x="6380239" y="3748723"/>
              <a:ext cx="0" cy="683793"/>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94" name="Straight Connector 193"/>
            <p:cNvCxnSpPr/>
            <p:nvPr/>
          </p:nvCxnSpPr>
          <p:spPr>
            <a:xfrm flipH="1">
              <a:off x="6303311" y="3788596"/>
              <a:ext cx="1512" cy="643334"/>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grpSp>
      <p:cxnSp>
        <p:nvCxnSpPr>
          <p:cNvPr id="195" name="Straight Connector 194"/>
          <p:cNvCxnSpPr/>
          <p:nvPr/>
        </p:nvCxnSpPr>
        <p:spPr>
          <a:xfrm>
            <a:off x="1341082" y="5690452"/>
            <a:ext cx="6775912" cy="3369"/>
          </a:xfrm>
          <a:prstGeom prst="line">
            <a:avLst/>
          </a:prstGeom>
          <a:ln w="28575">
            <a:solidFill>
              <a:schemeClr val="tx1"/>
            </a:solidFill>
            <a:tailEnd type="triangle"/>
          </a:ln>
          <a:effectLst/>
        </p:spPr>
        <p:style>
          <a:lnRef idx="1">
            <a:schemeClr val="accent1"/>
          </a:lnRef>
          <a:fillRef idx="0">
            <a:schemeClr val="accent1"/>
          </a:fillRef>
          <a:effectRef idx="0">
            <a:schemeClr val="accent1"/>
          </a:effectRef>
          <a:fontRef idx="minor">
            <a:schemeClr val="tx1"/>
          </a:fontRef>
        </p:style>
      </p:cxnSp>
      <p:sp>
        <p:nvSpPr>
          <p:cNvPr id="196" name="Oval 195"/>
          <p:cNvSpPr/>
          <p:nvPr/>
        </p:nvSpPr>
        <p:spPr>
          <a:xfrm flipV="1">
            <a:off x="5912269" y="4647477"/>
            <a:ext cx="191224" cy="1271967"/>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97" name="Straight Connector 196"/>
          <p:cNvCxnSpPr/>
          <p:nvPr/>
        </p:nvCxnSpPr>
        <p:spPr>
          <a:xfrm flipV="1">
            <a:off x="5990408" y="4114084"/>
            <a:ext cx="2204164" cy="648207"/>
          </a:xfrm>
          <a:prstGeom prst="line">
            <a:avLst/>
          </a:prstGeom>
          <a:ln>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98" name="Straight Connector 197"/>
          <p:cNvCxnSpPr/>
          <p:nvPr/>
        </p:nvCxnSpPr>
        <p:spPr>
          <a:xfrm flipH="1" flipV="1">
            <a:off x="3633062" y="4098081"/>
            <a:ext cx="2357348" cy="664210"/>
          </a:xfrm>
          <a:prstGeom prst="line">
            <a:avLst/>
          </a:prstGeom>
          <a:ln>
            <a:solidFill>
              <a:srgbClr val="FF0000"/>
            </a:solidFill>
          </a:ln>
        </p:spPr>
        <p:style>
          <a:lnRef idx="1">
            <a:schemeClr val="accent1"/>
          </a:lnRef>
          <a:fillRef idx="0">
            <a:schemeClr val="accent1"/>
          </a:fillRef>
          <a:effectRef idx="0">
            <a:schemeClr val="accent1"/>
          </a:effectRef>
          <a:fontRef idx="minor">
            <a:schemeClr val="tx1"/>
          </a:fontRef>
        </p:style>
      </p:cxnSp>
      <p:grpSp>
        <p:nvGrpSpPr>
          <p:cNvPr id="199" name="Group 198"/>
          <p:cNvGrpSpPr/>
          <p:nvPr/>
        </p:nvGrpSpPr>
        <p:grpSpPr>
          <a:xfrm>
            <a:off x="3606048" y="1773761"/>
            <a:ext cx="4261858" cy="2267548"/>
            <a:chOff x="5319491" y="3880339"/>
            <a:chExt cx="4149505" cy="1870010"/>
          </a:xfrm>
        </p:grpSpPr>
        <p:sp>
          <p:nvSpPr>
            <p:cNvPr id="200" name="Rectangle 199"/>
            <p:cNvSpPr/>
            <p:nvPr/>
          </p:nvSpPr>
          <p:spPr>
            <a:xfrm flipH="1">
              <a:off x="7088891" y="3880339"/>
              <a:ext cx="96039" cy="95696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01" name="Straight Connector 200"/>
            <p:cNvCxnSpPr/>
            <p:nvPr/>
          </p:nvCxnSpPr>
          <p:spPr>
            <a:xfrm flipV="1">
              <a:off x="5357917" y="4837300"/>
              <a:ext cx="4071215" cy="22170"/>
            </a:xfrm>
            <a:prstGeom prst="line">
              <a:avLst/>
            </a:prstGeom>
            <a:ln w="28575">
              <a:tailEnd type="stealth"/>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202" name="Straight Arrow Connector 201"/>
            <p:cNvCxnSpPr/>
            <p:nvPr/>
          </p:nvCxnSpPr>
          <p:spPr>
            <a:xfrm>
              <a:off x="6839781" y="3880339"/>
              <a:ext cx="0" cy="929448"/>
            </a:xfrm>
            <a:prstGeom prst="straightConnector1">
              <a:avLst/>
            </a:prstGeom>
            <a:ln w="12700">
              <a:headEnd type="arrow"/>
              <a:tailEnd type="arrow"/>
            </a:ln>
          </p:spPr>
          <p:style>
            <a:lnRef idx="1">
              <a:schemeClr val="accent1"/>
            </a:lnRef>
            <a:fillRef idx="0">
              <a:schemeClr val="accent1"/>
            </a:fillRef>
            <a:effectRef idx="0">
              <a:schemeClr val="accent1"/>
            </a:effectRef>
            <a:fontRef idx="minor">
              <a:schemeClr val="tx1"/>
            </a:fontRef>
          </p:style>
        </p:cxnSp>
        <p:sp>
          <p:nvSpPr>
            <p:cNvPr id="203" name="TextBox 202"/>
            <p:cNvSpPr txBox="1"/>
            <p:nvPr/>
          </p:nvSpPr>
          <p:spPr>
            <a:xfrm>
              <a:off x="5319491" y="3986670"/>
              <a:ext cx="1539206" cy="685310"/>
            </a:xfrm>
            <a:prstGeom prst="rect">
              <a:avLst/>
            </a:prstGeom>
            <a:noFill/>
            <a:ln w="12700">
              <a:noFill/>
            </a:ln>
          </p:spPr>
          <p:txBody>
            <a:bodyPr wrap="none" rtlCol="0">
              <a:spAutoFit/>
            </a:bodyPr>
            <a:lstStyle/>
            <a:p>
              <a:pPr algn="ctr"/>
              <a:r>
                <a:rPr lang="en-US" sz="1600" b="1" dirty="0"/>
                <a:t>Stimulation </a:t>
              </a:r>
            </a:p>
            <a:p>
              <a:pPr algn="ctr"/>
              <a:r>
                <a:rPr lang="en-US" sz="1600" b="1" dirty="0"/>
                <a:t>Pulse Amplitude</a:t>
              </a:r>
            </a:p>
            <a:p>
              <a:pPr algn="ctr"/>
              <a:r>
                <a:rPr lang="en-US" sz="1600" b="1" dirty="0"/>
                <a:t>(</a:t>
              </a:r>
              <a:r>
                <a:rPr lang="en-US" sz="1600" b="1" dirty="0" err="1"/>
                <a:t>milliAmps</a:t>
              </a:r>
              <a:r>
                <a:rPr lang="en-US" sz="1600" b="1" dirty="0"/>
                <a:t>)</a:t>
              </a:r>
            </a:p>
          </p:txBody>
        </p:sp>
        <p:cxnSp>
          <p:nvCxnSpPr>
            <p:cNvPr id="204" name="Straight Arrow Connector 203"/>
            <p:cNvCxnSpPr/>
            <p:nvPr/>
          </p:nvCxnSpPr>
          <p:spPr>
            <a:xfrm>
              <a:off x="7543880" y="5010257"/>
              <a:ext cx="394769" cy="0"/>
            </a:xfrm>
            <a:prstGeom prst="straightConnector1">
              <a:avLst/>
            </a:prstGeom>
            <a:ln w="12700">
              <a:headEnd type="arrow"/>
              <a:tailEnd type="arrow"/>
            </a:ln>
          </p:spPr>
          <p:style>
            <a:lnRef idx="1">
              <a:schemeClr val="accent1"/>
            </a:lnRef>
            <a:fillRef idx="0">
              <a:schemeClr val="accent1"/>
            </a:fillRef>
            <a:effectRef idx="0">
              <a:schemeClr val="accent1"/>
            </a:effectRef>
            <a:fontRef idx="minor">
              <a:schemeClr val="tx1"/>
            </a:fontRef>
          </p:style>
        </p:cxnSp>
        <p:sp>
          <p:nvSpPr>
            <p:cNvPr id="205" name="TextBox 204"/>
            <p:cNvSpPr txBox="1"/>
            <p:nvPr/>
          </p:nvSpPr>
          <p:spPr>
            <a:xfrm>
              <a:off x="7533057" y="5065039"/>
              <a:ext cx="1184605" cy="685310"/>
            </a:xfrm>
            <a:prstGeom prst="rect">
              <a:avLst/>
            </a:prstGeom>
            <a:noFill/>
          </p:spPr>
          <p:txBody>
            <a:bodyPr wrap="none" rtlCol="0">
              <a:spAutoFit/>
            </a:bodyPr>
            <a:lstStyle/>
            <a:p>
              <a:pPr algn="ctr"/>
              <a:r>
                <a:rPr lang="en-US" sz="1600" b="1" dirty="0"/>
                <a:t>Stimulation </a:t>
              </a:r>
            </a:p>
            <a:p>
              <a:pPr algn="ctr"/>
              <a:r>
                <a:rPr lang="en-US" sz="1600" b="1" dirty="0"/>
                <a:t>Frequency</a:t>
              </a:r>
            </a:p>
            <a:p>
              <a:pPr algn="ctr"/>
              <a:r>
                <a:rPr lang="en-US" sz="1600" b="1" dirty="0"/>
                <a:t>(Hertz)</a:t>
              </a:r>
            </a:p>
          </p:txBody>
        </p:sp>
        <p:cxnSp>
          <p:nvCxnSpPr>
            <p:cNvPr id="206" name="Straight Arrow Connector 205"/>
            <p:cNvCxnSpPr/>
            <p:nvPr/>
          </p:nvCxnSpPr>
          <p:spPr>
            <a:xfrm>
              <a:off x="7193398" y="5005111"/>
              <a:ext cx="144593" cy="0"/>
            </a:xfrm>
            <a:prstGeom prst="straightConnector1">
              <a:avLst/>
            </a:prstGeom>
            <a:ln w="12700">
              <a:headEnd type="arrow" w="med" len="med"/>
              <a:tailEnd type="none" w="med" len="med"/>
            </a:ln>
          </p:spPr>
          <p:style>
            <a:lnRef idx="1">
              <a:schemeClr val="accent1"/>
            </a:lnRef>
            <a:fillRef idx="0">
              <a:schemeClr val="accent1"/>
            </a:fillRef>
            <a:effectRef idx="0">
              <a:schemeClr val="accent1"/>
            </a:effectRef>
            <a:fontRef idx="minor">
              <a:schemeClr val="tx1"/>
            </a:fontRef>
          </p:style>
        </p:cxnSp>
        <p:sp>
          <p:nvSpPr>
            <p:cNvPr id="207" name="TextBox 206"/>
            <p:cNvSpPr txBox="1"/>
            <p:nvPr/>
          </p:nvSpPr>
          <p:spPr>
            <a:xfrm>
              <a:off x="6076671" y="5052284"/>
              <a:ext cx="1442128" cy="685310"/>
            </a:xfrm>
            <a:prstGeom prst="rect">
              <a:avLst/>
            </a:prstGeom>
            <a:noFill/>
          </p:spPr>
          <p:txBody>
            <a:bodyPr wrap="none" rtlCol="0">
              <a:spAutoFit/>
            </a:bodyPr>
            <a:lstStyle/>
            <a:p>
              <a:pPr algn="ctr"/>
              <a:r>
                <a:rPr lang="en-US" sz="1600" b="1" dirty="0"/>
                <a:t>Stimulation </a:t>
              </a:r>
            </a:p>
            <a:p>
              <a:pPr algn="ctr"/>
              <a:r>
                <a:rPr lang="en-US" sz="1600" b="1" dirty="0"/>
                <a:t>Pulse Width</a:t>
              </a:r>
            </a:p>
            <a:p>
              <a:pPr algn="ctr"/>
              <a:r>
                <a:rPr lang="en-US" sz="1600" b="1" dirty="0"/>
                <a:t>(microseconds)</a:t>
              </a:r>
            </a:p>
          </p:txBody>
        </p:sp>
        <p:sp>
          <p:nvSpPr>
            <p:cNvPr id="208" name="TextBox 207"/>
            <p:cNvSpPr txBox="1"/>
            <p:nvPr/>
          </p:nvSpPr>
          <p:spPr>
            <a:xfrm>
              <a:off x="8880283" y="4912754"/>
              <a:ext cx="588713" cy="279200"/>
            </a:xfrm>
            <a:prstGeom prst="rect">
              <a:avLst/>
            </a:prstGeom>
            <a:noFill/>
          </p:spPr>
          <p:txBody>
            <a:bodyPr wrap="none" rtlCol="0">
              <a:spAutoFit/>
            </a:bodyPr>
            <a:lstStyle/>
            <a:p>
              <a:pPr algn="ctr"/>
              <a:r>
                <a:rPr lang="en-US" sz="1600" b="1" dirty="0"/>
                <a:t>Time</a:t>
              </a:r>
            </a:p>
          </p:txBody>
        </p:sp>
        <p:sp>
          <p:nvSpPr>
            <p:cNvPr id="209" name="Rectangle 208"/>
            <p:cNvSpPr/>
            <p:nvPr/>
          </p:nvSpPr>
          <p:spPr>
            <a:xfrm flipH="1">
              <a:off x="7490820" y="3880339"/>
              <a:ext cx="98941" cy="95060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0" name="Rectangle 209"/>
            <p:cNvSpPr/>
            <p:nvPr/>
          </p:nvSpPr>
          <p:spPr>
            <a:xfrm flipH="1">
              <a:off x="7884787" y="3880339"/>
              <a:ext cx="98941" cy="95060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11" name="Straight Arrow Connector 210"/>
            <p:cNvCxnSpPr/>
            <p:nvPr/>
          </p:nvCxnSpPr>
          <p:spPr>
            <a:xfrm flipH="1">
              <a:off x="6916709" y="5005111"/>
              <a:ext cx="172183" cy="5146"/>
            </a:xfrm>
            <a:prstGeom prst="straightConnector1">
              <a:avLst/>
            </a:prstGeom>
            <a:ln w="12700">
              <a:headEnd type="arrow"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212" name="Rectangle 211"/>
          <p:cNvSpPr/>
          <p:nvPr/>
        </p:nvSpPr>
        <p:spPr>
          <a:xfrm>
            <a:off x="3596784" y="1669980"/>
            <a:ext cx="4669780" cy="2396723"/>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3" name="TextBox 212"/>
          <p:cNvSpPr txBox="1"/>
          <p:nvPr/>
        </p:nvSpPr>
        <p:spPr>
          <a:xfrm>
            <a:off x="2613942" y="1085564"/>
            <a:ext cx="3626890" cy="400110"/>
          </a:xfrm>
          <a:prstGeom prst="rect">
            <a:avLst/>
          </a:prstGeom>
          <a:noFill/>
        </p:spPr>
        <p:txBody>
          <a:bodyPr wrap="none" rtlCol="0">
            <a:spAutoFit/>
          </a:bodyPr>
          <a:lstStyle/>
          <a:p>
            <a:pPr>
              <a:defRPr/>
            </a:pPr>
            <a:r>
              <a:rPr lang="en-US" sz="2000" dirty="0" err="1">
                <a:latin typeface="Calibri" panose="020F0502020204030204"/>
              </a:rPr>
              <a:t>Neurostimulation</a:t>
            </a:r>
            <a:r>
              <a:rPr lang="en-US" sz="2000" dirty="0">
                <a:latin typeface="Calibri" panose="020F0502020204030204"/>
              </a:rPr>
              <a:t> characteristics </a:t>
            </a:r>
          </a:p>
        </p:txBody>
      </p:sp>
      <p:sp>
        <p:nvSpPr>
          <p:cNvPr id="51" name="Left-Right Arrow 50"/>
          <p:cNvSpPr>
            <a:spLocks/>
          </p:cNvSpPr>
          <p:nvPr/>
        </p:nvSpPr>
        <p:spPr>
          <a:xfrm>
            <a:off x="3477556" y="4262222"/>
            <a:ext cx="1578525" cy="429768"/>
          </a:xfrm>
          <a:prstGeom prst="leftRightArrow">
            <a:avLst/>
          </a:prstGeom>
          <a:solidFill>
            <a:schemeClr val="accent1">
              <a:lumMod val="60000"/>
              <a:lumOff val="40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solidFill>
                  <a:schemeClr val="tx1"/>
                </a:solidFill>
                <a:latin typeface="Calibri" pitchFamily="34" charset="0"/>
              </a:rPr>
              <a:t>Expiration</a:t>
            </a:r>
          </a:p>
        </p:txBody>
      </p:sp>
      <p:sp>
        <p:nvSpPr>
          <p:cNvPr id="3" name="Slide Number Placeholder 2">
            <a:extLst>
              <a:ext uri="{FF2B5EF4-FFF2-40B4-BE49-F238E27FC236}">
                <a16:creationId xmlns:a16="http://schemas.microsoft.com/office/drawing/2014/main" id="{2C18945A-F832-3AC1-6B53-1A3A3C367BF8}"/>
              </a:ext>
            </a:extLst>
          </p:cNvPr>
          <p:cNvSpPr>
            <a:spLocks noGrp="1"/>
          </p:cNvSpPr>
          <p:nvPr>
            <p:ph type="sldNum" sz="quarter" idx="12"/>
          </p:nvPr>
        </p:nvSpPr>
        <p:spPr/>
        <p:txBody>
          <a:bodyPr/>
          <a:lstStyle/>
          <a:p>
            <a:fld id="{21D51F98-DEF0-4E23-AE94-24E7CFC19B28}" type="slidenum">
              <a:rPr lang="en-US" smtClean="0"/>
              <a:t>46</a:t>
            </a:fld>
            <a:endParaRPr lang="en-US"/>
          </a:p>
        </p:txBody>
      </p:sp>
      <p:sp>
        <p:nvSpPr>
          <p:cNvPr id="6" name="Footer Placeholder 5">
            <a:extLst>
              <a:ext uri="{FF2B5EF4-FFF2-40B4-BE49-F238E27FC236}">
                <a16:creationId xmlns:a16="http://schemas.microsoft.com/office/drawing/2014/main" id="{FB87012C-090C-8C3D-4A5F-6FAB5E9B3EFD}"/>
              </a:ext>
            </a:extLst>
          </p:cNvPr>
          <p:cNvSpPr>
            <a:spLocks noGrp="1"/>
          </p:cNvSpPr>
          <p:nvPr>
            <p:ph type="ftr" sz="quarter" idx="11"/>
          </p:nvPr>
        </p:nvSpPr>
        <p:spPr>
          <a:xfrm>
            <a:off x="3684598" y="6459785"/>
            <a:ext cx="4822804" cy="365125"/>
          </a:xfrm>
        </p:spPr>
        <p:txBody>
          <a:bodyPr/>
          <a:lstStyle/>
          <a:p>
            <a:r>
              <a:rPr lang="en-US" dirty="0"/>
              <a:t>MAF1937 Rev E</a:t>
            </a:r>
          </a:p>
        </p:txBody>
      </p:sp>
    </p:spTree>
    <p:extLst>
      <p:ext uri="{BB962C8B-B14F-4D97-AF65-F5344CB8AC3E}">
        <p14:creationId xmlns:p14="http://schemas.microsoft.com/office/powerpoint/2010/main" val="3574696467"/>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5" imgH="476" progId="TCLayout.ActiveDocument.1">
                  <p:embed/>
                </p:oleObj>
              </mc:Choice>
              <mc:Fallback>
                <p:oleObj name="think-cell Slide" r:id="rId4" imgW="475" imgH="476"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i="1" dirty="0">
              <a:latin typeface="Calibri" panose="020F0502020204030204" pitchFamily="34" charset="0"/>
              <a:ea typeface="+mj-ea"/>
              <a:cs typeface="+mj-cs"/>
              <a:sym typeface="Calibri" panose="020F0502020204030204" pitchFamily="34" charset="0"/>
            </a:endParaRPr>
          </a:p>
        </p:txBody>
      </p:sp>
      <p:sp>
        <p:nvSpPr>
          <p:cNvPr id="16" name="Title 15">
            <a:extLst>
              <a:ext uri="{FF2B5EF4-FFF2-40B4-BE49-F238E27FC236}">
                <a16:creationId xmlns:a16="http://schemas.microsoft.com/office/drawing/2014/main" id="{16FF93C6-034E-4965-B49C-12FBBC60B1D1}"/>
              </a:ext>
            </a:extLst>
          </p:cNvPr>
          <p:cNvSpPr>
            <a:spLocks noGrp="1"/>
          </p:cNvSpPr>
          <p:nvPr>
            <p:ph type="title" idx="4294967295"/>
          </p:nvPr>
        </p:nvSpPr>
        <p:spPr>
          <a:xfrm>
            <a:off x="597763" y="242857"/>
            <a:ext cx="11887200" cy="906122"/>
          </a:xfrm>
        </p:spPr>
        <p:txBody>
          <a:bodyPr>
            <a:noAutofit/>
          </a:bodyPr>
          <a:lstStyle/>
          <a:p>
            <a:r>
              <a:rPr lang="en-US" sz="3200" b="1" dirty="0">
                <a:solidFill>
                  <a:schemeClr val="accent2"/>
                </a:solidFill>
                <a:latin typeface="+mn-lt"/>
              </a:rPr>
              <a:t>Consistent AHI reduction with phrenic nerve stimulation across </a:t>
            </a:r>
            <a:br>
              <a:rPr lang="en-US" sz="3200" b="1" dirty="0">
                <a:solidFill>
                  <a:schemeClr val="accent2"/>
                </a:solidFill>
                <a:latin typeface="+mn-lt"/>
              </a:rPr>
            </a:br>
            <a:r>
              <a:rPr lang="en-US" sz="3200" b="1" dirty="0">
                <a:solidFill>
                  <a:schemeClr val="accent2"/>
                </a:solidFill>
                <a:latin typeface="+mn-lt"/>
              </a:rPr>
              <a:t>multiple studies</a:t>
            </a:r>
            <a:endParaRPr lang="en-US" sz="3200" b="1" i="1" dirty="0">
              <a:solidFill>
                <a:schemeClr val="accent2"/>
              </a:solidFill>
              <a:latin typeface="+mn-lt"/>
            </a:endParaRPr>
          </a:p>
        </p:txBody>
      </p:sp>
      <p:pic>
        <p:nvPicPr>
          <p:cNvPr id="5" name="Picture 4"/>
          <p:cNvPicPr>
            <a:picLocks noChangeAspect="1"/>
          </p:cNvPicPr>
          <p:nvPr/>
        </p:nvPicPr>
        <p:blipFill>
          <a:blip r:embed="rId6"/>
          <a:stretch>
            <a:fillRect/>
          </a:stretch>
        </p:blipFill>
        <p:spPr>
          <a:xfrm>
            <a:off x="894874" y="1426199"/>
            <a:ext cx="10118166" cy="4292555"/>
          </a:xfrm>
          <a:prstGeom prst="rect">
            <a:avLst/>
          </a:prstGeom>
        </p:spPr>
      </p:pic>
      <p:sp>
        <p:nvSpPr>
          <p:cNvPr id="8" name="Rectangle 7"/>
          <p:cNvSpPr/>
          <p:nvPr/>
        </p:nvSpPr>
        <p:spPr>
          <a:xfrm>
            <a:off x="335701" y="5995974"/>
            <a:ext cx="9564757" cy="261610"/>
          </a:xfrm>
          <a:prstGeom prst="rect">
            <a:avLst/>
          </a:prstGeom>
        </p:spPr>
        <p:txBody>
          <a:bodyPr wrap="square">
            <a:spAutoFit/>
          </a:bodyPr>
          <a:lstStyle/>
          <a:p>
            <a:pPr lvl="0">
              <a:defRPr/>
            </a:pPr>
            <a:r>
              <a:rPr lang="en-US" sz="1050" dirty="0" err="1"/>
              <a:t>Luni</a:t>
            </a:r>
            <a:r>
              <a:rPr lang="en-US" sz="1050" dirty="0"/>
              <a:t> FK, et al. The American Journal of Cardiology. 2020 Jun;125(11):1738-1744. DOI: 10.1016/j.amjcard.2020.02.012.</a:t>
            </a:r>
          </a:p>
        </p:txBody>
      </p:sp>
      <p:sp>
        <p:nvSpPr>
          <p:cNvPr id="4" name="Slide Number Placeholder 3">
            <a:extLst>
              <a:ext uri="{FF2B5EF4-FFF2-40B4-BE49-F238E27FC236}">
                <a16:creationId xmlns:a16="http://schemas.microsoft.com/office/drawing/2014/main" id="{01A687B3-F7EC-518C-73C3-42EB5F5C6BB9}"/>
              </a:ext>
            </a:extLst>
          </p:cNvPr>
          <p:cNvSpPr>
            <a:spLocks noGrp="1"/>
          </p:cNvSpPr>
          <p:nvPr>
            <p:ph type="sldNum" sz="quarter" idx="12"/>
          </p:nvPr>
        </p:nvSpPr>
        <p:spPr/>
        <p:txBody>
          <a:bodyPr/>
          <a:lstStyle/>
          <a:p>
            <a:fld id="{21D51F98-DEF0-4E23-AE94-24E7CFC19B28}" type="slidenum">
              <a:rPr lang="en-US" smtClean="0"/>
              <a:t>47</a:t>
            </a:fld>
            <a:endParaRPr lang="en-US"/>
          </a:p>
        </p:txBody>
      </p:sp>
      <p:sp>
        <p:nvSpPr>
          <p:cNvPr id="9" name="Footer Placeholder 5">
            <a:extLst>
              <a:ext uri="{FF2B5EF4-FFF2-40B4-BE49-F238E27FC236}">
                <a16:creationId xmlns:a16="http://schemas.microsoft.com/office/drawing/2014/main" id="{D7F581F2-411C-3665-0EBA-950A7CBE4568}"/>
              </a:ext>
            </a:extLst>
          </p:cNvPr>
          <p:cNvSpPr>
            <a:spLocks noGrp="1"/>
          </p:cNvSpPr>
          <p:nvPr>
            <p:ph type="ftr" sz="quarter" idx="11"/>
          </p:nvPr>
        </p:nvSpPr>
        <p:spPr>
          <a:xfrm>
            <a:off x="3684598" y="6459785"/>
            <a:ext cx="4822804" cy="365125"/>
          </a:xfrm>
        </p:spPr>
        <p:txBody>
          <a:bodyPr/>
          <a:lstStyle/>
          <a:p>
            <a:r>
              <a:rPr lang="en-US" dirty="0"/>
              <a:t>MAF1937 Rev E</a:t>
            </a:r>
          </a:p>
        </p:txBody>
      </p:sp>
    </p:spTree>
    <p:extLst>
      <p:ext uri="{BB962C8B-B14F-4D97-AF65-F5344CB8AC3E}">
        <p14:creationId xmlns:p14="http://schemas.microsoft.com/office/powerpoint/2010/main" val="1425556912"/>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6" imgH="396" progId="TCLayout.ActiveDocument.1">
                  <p:embed/>
                </p:oleObj>
              </mc:Choice>
              <mc:Fallback>
                <p:oleObj name="think-cell Slide" r:id="rId3" imgW="396" imgH="396" progId="TCLayout.ActiveDocument.1">
                  <p:embed/>
                  <p:pic>
                    <p:nvPicPr>
                      <p:cNvPr id="18" name="Object 17" hidden="1"/>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30" name="Straight Arrow Connector 29"/>
          <p:cNvCxnSpPr>
            <a:stCxn id="4" idx="2"/>
            <a:endCxn id="5" idx="0"/>
          </p:cNvCxnSpPr>
          <p:nvPr/>
        </p:nvCxnSpPr>
        <p:spPr>
          <a:xfrm>
            <a:off x="1649842" y="2414602"/>
            <a:ext cx="0" cy="2209871"/>
          </a:xfrm>
          <a:prstGeom prst="straightConnector1">
            <a:avLst/>
          </a:prstGeom>
          <a:ln w="38100">
            <a:headEnd type="triangle"/>
            <a:tailEnd type="triangle"/>
          </a:ln>
        </p:spPr>
        <p:style>
          <a:lnRef idx="1">
            <a:schemeClr val="dk1"/>
          </a:lnRef>
          <a:fillRef idx="0">
            <a:schemeClr val="dk1"/>
          </a:fillRef>
          <a:effectRef idx="0">
            <a:schemeClr val="dk1"/>
          </a:effectRef>
          <a:fontRef idx="minor">
            <a:schemeClr val="tx1"/>
          </a:fontRef>
        </p:style>
      </p:cxnSp>
      <p:sp>
        <p:nvSpPr>
          <p:cNvPr id="17" name="Rectangle 16"/>
          <p:cNvSpPr/>
          <p:nvPr/>
        </p:nvSpPr>
        <p:spPr>
          <a:xfrm>
            <a:off x="2706260" y="4666173"/>
            <a:ext cx="3178178" cy="1304582"/>
          </a:xfrm>
          <a:prstGeom prst="rect">
            <a:avLst/>
          </a:prstGeom>
          <a:solidFill>
            <a:schemeClr val="accent2">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ounded Rectangle 3"/>
          <p:cNvSpPr/>
          <p:nvPr/>
        </p:nvSpPr>
        <p:spPr>
          <a:xfrm>
            <a:off x="860570" y="1110020"/>
            <a:ext cx="1578544" cy="1304582"/>
          </a:xfrm>
          <a:prstGeom prst="roundRect">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t>Treatment</a:t>
            </a:r>
          </a:p>
          <a:p>
            <a:pPr algn="ctr"/>
            <a:r>
              <a:rPr lang="en-US" sz="2000" b="1" dirty="0"/>
              <a:t>n=73</a:t>
            </a:r>
          </a:p>
        </p:txBody>
      </p:sp>
      <p:sp>
        <p:nvSpPr>
          <p:cNvPr id="5" name="Rounded Rectangle 4"/>
          <p:cNvSpPr/>
          <p:nvPr/>
        </p:nvSpPr>
        <p:spPr>
          <a:xfrm>
            <a:off x="860570" y="4624473"/>
            <a:ext cx="1578544" cy="1304582"/>
          </a:xfrm>
          <a:prstGeom prst="roundRect">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t>Control</a:t>
            </a:r>
          </a:p>
          <a:p>
            <a:pPr algn="ctr"/>
            <a:r>
              <a:rPr lang="en-US" sz="2000" b="1" dirty="0"/>
              <a:t>n=78</a:t>
            </a:r>
          </a:p>
        </p:txBody>
      </p:sp>
      <p:sp>
        <p:nvSpPr>
          <p:cNvPr id="6" name="Rounded Rectangle 5"/>
          <p:cNvSpPr/>
          <p:nvPr/>
        </p:nvSpPr>
        <p:spPr>
          <a:xfrm>
            <a:off x="694823" y="3195128"/>
            <a:ext cx="1910038" cy="1078167"/>
          </a:xfrm>
          <a:prstGeom prst="roundRect">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t>Enrolled</a:t>
            </a:r>
          </a:p>
          <a:p>
            <a:pPr algn="ctr"/>
            <a:r>
              <a:rPr lang="en-US" sz="2000" b="1" dirty="0"/>
              <a:t>n=151</a:t>
            </a:r>
          </a:p>
        </p:txBody>
      </p:sp>
      <p:sp>
        <p:nvSpPr>
          <p:cNvPr id="7" name="Rectangle 6"/>
          <p:cNvSpPr/>
          <p:nvPr/>
        </p:nvSpPr>
        <p:spPr>
          <a:xfrm>
            <a:off x="2715337" y="1110020"/>
            <a:ext cx="6657977" cy="1304582"/>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Box 7"/>
          <p:cNvSpPr txBox="1"/>
          <p:nvPr/>
        </p:nvSpPr>
        <p:spPr>
          <a:xfrm>
            <a:off x="2439114" y="1187259"/>
            <a:ext cx="1828800" cy="646331"/>
          </a:xfrm>
          <a:prstGeom prst="rect">
            <a:avLst/>
          </a:prstGeom>
          <a:noFill/>
        </p:spPr>
        <p:txBody>
          <a:bodyPr wrap="square" rtlCol="0">
            <a:spAutoFit/>
          </a:bodyPr>
          <a:lstStyle/>
          <a:p>
            <a:pPr algn="ctr"/>
            <a:r>
              <a:rPr lang="en-US" b="1" dirty="0"/>
              <a:t>Therapy</a:t>
            </a:r>
          </a:p>
          <a:p>
            <a:pPr algn="ctr"/>
            <a:r>
              <a:rPr lang="en-US" b="1" dirty="0"/>
              <a:t>On</a:t>
            </a:r>
          </a:p>
        </p:txBody>
      </p:sp>
      <p:sp>
        <p:nvSpPr>
          <p:cNvPr id="9" name="Cross 8"/>
          <p:cNvSpPr/>
          <p:nvPr/>
        </p:nvSpPr>
        <p:spPr>
          <a:xfrm>
            <a:off x="3119834" y="1864278"/>
            <a:ext cx="442227" cy="442227"/>
          </a:xfrm>
          <a:prstGeom prst="plus">
            <a:avLst>
              <a:gd name="adj" fmla="val 35156"/>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Pentagon 9"/>
          <p:cNvSpPr/>
          <p:nvPr/>
        </p:nvSpPr>
        <p:spPr>
          <a:xfrm>
            <a:off x="2700365" y="3195127"/>
            <a:ext cx="7204076" cy="1078167"/>
          </a:xfrm>
          <a:prstGeom prst="homePlate">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Box 11"/>
          <p:cNvSpPr txBox="1"/>
          <p:nvPr/>
        </p:nvSpPr>
        <p:spPr>
          <a:xfrm>
            <a:off x="2715337" y="2610758"/>
            <a:ext cx="1828800" cy="646331"/>
          </a:xfrm>
          <a:prstGeom prst="rect">
            <a:avLst/>
          </a:prstGeom>
          <a:noFill/>
        </p:spPr>
        <p:txBody>
          <a:bodyPr wrap="square" rtlCol="0">
            <a:spAutoFit/>
          </a:bodyPr>
          <a:lstStyle/>
          <a:p>
            <a:r>
              <a:rPr lang="en-US" b="1" dirty="0">
                <a:solidFill>
                  <a:sysClr val="windowText" lastClr="000000"/>
                </a:solidFill>
              </a:rPr>
              <a:t>Therapy</a:t>
            </a:r>
          </a:p>
          <a:p>
            <a:r>
              <a:rPr lang="en-US" b="1" dirty="0">
                <a:solidFill>
                  <a:sysClr val="windowText" lastClr="000000"/>
                </a:solidFill>
              </a:rPr>
              <a:t>initiation visit</a:t>
            </a:r>
          </a:p>
        </p:txBody>
      </p:sp>
      <p:sp>
        <p:nvSpPr>
          <p:cNvPr id="13" name="TextBox 12"/>
          <p:cNvSpPr txBox="1"/>
          <p:nvPr/>
        </p:nvSpPr>
        <p:spPr>
          <a:xfrm>
            <a:off x="5097805" y="2610758"/>
            <a:ext cx="2355536" cy="646331"/>
          </a:xfrm>
          <a:prstGeom prst="rect">
            <a:avLst/>
          </a:prstGeom>
          <a:noFill/>
        </p:spPr>
        <p:txBody>
          <a:bodyPr wrap="square" rtlCol="0">
            <a:spAutoFit/>
          </a:bodyPr>
          <a:lstStyle/>
          <a:p>
            <a:r>
              <a:rPr lang="en-US" b="1" dirty="0">
                <a:solidFill>
                  <a:sysClr val="windowText" lastClr="000000"/>
                </a:solidFill>
              </a:rPr>
              <a:t>Primary effectiveness endpoint</a:t>
            </a:r>
          </a:p>
        </p:txBody>
      </p:sp>
      <p:sp>
        <p:nvSpPr>
          <p:cNvPr id="14" name="TextBox 13"/>
          <p:cNvSpPr txBox="1"/>
          <p:nvPr/>
        </p:nvSpPr>
        <p:spPr>
          <a:xfrm>
            <a:off x="7682584" y="2610758"/>
            <a:ext cx="1828800" cy="646331"/>
          </a:xfrm>
          <a:prstGeom prst="rect">
            <a:avLst/>
          </a:prstGeom>
          <a:noFill/>
        </p:spPr>
        <p:txBody>
          <a:bodyPr wrap="square" rtlCol="0">
            <a:spAutoFit/>
          </a:bodyPr>
          <a:lstStyle/>
          <a:p>
            <a:r>
              <a:rPr lang="en-US" b="1" dirty="0">
                <a:solidFill>
                  <a:sysClr val="windowText" lastClr="000000"/>
                </a:solidFill>
              </a:rPr>
              <a:t>Primary safety endpoint</a:t>
            </a:r>
          </a:p>
        </p:txBody>
      </p:sp>
      <p:sp>
        <p:nvSpPr>
          <p:cNvPr id="15" name="TextBox 14"/>
          <p:cNvSpPr txBox="1"/>
          <p:nvPr/>
        </p:nvSpPr>
        <p:spPr>
          <a:xfrm>
            <a:off x="2479733" y="4713388"/>
            <a:ext cx="1828800" cy="646331"/>
          </a:xfrm>
          <a:prstGeom prst="rect">
            <a:avLst/>
          </a:prstGeom>
          <a:noFill/>
        </p:spPr>
        <p:txBody>
          <a:bodyPr wrap="square" rtlCol="0">
            <a:spAutoFit/>
          </a:bodyPr>
          <a:lstStyle/>
          <a:p>
            <a:pPr algn="ctr"/>
            <a:r>
              <a:rPr lang="en-US" b="1" dirty="0"/>
              <a:t>Therapy</a:t>
            </a:r>
          </a:p>
          <a:p>
            <a:pPr algn="ctr"/>
            <a:r>
              <a:rPr lang="en-US" b="1" dirty="0"/>
              <a:t>Off</a:t>
            </a:r>
          </a:p>
        </p:txBody>
      </p:sp>
      <p:sp>
        <p:nvSpPr>
          <p:cNvPr id="19" name="TextBox 18"/>
          <p:cNvSpPr txBox="1"/>
          <p:nvPr/>
        </p:nvSpPr>
        <p:spPr>
          <a:xfrm>
            <a:off x="5818665" y="4730653"/>
            <a:ext cx="1828800" cy="646331"/>
          </a:xfrm>
          <a:prstGeom prst="rect">
            <a:avLst/>
          </a:prstGeom>
          <a:noFill/>
        </p:spPr>
        <p:txBody>
          <a:bodyPr wrap="square" rtlCol="0">
            <a:spAutoFit/>
          </a:bodyPr>
          <a:lstStyle/>
          <a:p>
            <a:pPr algn="ctr"/>
            <a:r>
              <a:rPr lang="en-US" b="1" dirty="0"/>
              <a:t>Therapy</a:t>
            </a:r>
          </a:p>
          <a:p>
            <a:pPr algn="ctr"/>
            <a:r>
              <a:rPr lang="en-US" b="1" dirty="0"/>
              <a:t>On</a:t>
            </a:r>
          </a:p>
        </p:txBody>
      </p:sp>
      <p:sp>
        <p:nvSpPr>
          <p:cNvPr id="20" name="Cross 19"/>
          <p:cNvSpPr/>
          <p:nvPr/>
        </p:nvSpPr>
        <p:spPr>
          <a:xfrm>
            <a:off x="6536674" y="5441464"/>
            <a:ext cx="442227" cy="442227"/>
          </a:xfrm>
          <a:prstGeom prst="plus">
            <a:avLst>
              <a:gd name="adj" fmla="val 35156"/>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TextBox 20"/>
          <p:cNvSpPr txBox="1"/>
          <p:nvPr/>
        </p:nvSpPr>
        <p:spPr>
          <a:xfrm>
            <a:off x="2853980" y="3550744"/>
            <a:ext cx="1828800" cy="400110"/>
          </a:xfrm>
          <a:prstGeom prst="rect">
            <a:avLst/>
          </a:prstGeom>
          <a:noFill/>
        </p:spPr>
        <p:txBody>
          <a:bodyPr wrap="square" rtlCol="0">
            <a:spAutoFit/>
          </a:bodyPr>
          <a:lstStyle/>
          <a:p>
            <a:r>
              <a:rPr lang="en-US" sz="2000" b="1" dirty="0">
                <a:solidFill>
                  <a:schemeClr val="bg1"/>
                </a:solidFill>
              </a:rPr>
              <a:t>1 month</a:t>
            </a:r>
          </a:p>
        </p:txBody>
      </p:sp>
      <p:sp>
        <p:nvSpPr>
          <p:cNvPr id="22" name="TextBox 21"/>
          <p:cNvSpPr txBox="1"/>
          <p:nvPr/>
        </p:nvSpPr>
        <p:spPr>
          <a:xfrm>
            <a:off x="5192874" y="3550744"/>
            <a:ext cx="1828800" cy="400110"/>
          </a:xfrm>
          <a:prstGeom prst="rect">
            <a:avLst/>
          </a:prstGeom>
          <a:noFill/>
        </p:spPr>
        <p:txBody>
          <a:bodyPr wrap="square" rtlCol="0">
            <a:spAutoFit/>
          </a:bodyPr>
          <a:lstStyle/>
          <a:p>
            <a:r>
              <a:rPr lang="en-US" sz="2000" b="1" dirty="0">
                <a:solidFill>
                  <a:schemeClr val="bg1"/>
                </a:solidFill>
              </a:rPr>
              <a:t>6 months</a:t>
            </a:r>
          </a:p>
        </p:txBody>
      </p:sp>
      <p:sp>
        <p:nvSpPr>
          <p:cNvPr id="24" name="TextBox 23"/>
          <p:cNvSpPr txBox="1"/>
          <p:nvPr/>
        </p:nvSpPr>
        <p:spPr>
          <a:xfrm>
            <a:off x="7785196" y="3550744"/>
            <a:ext cx="1828800" cy="400110"/>
          </a:xfrm>
          <a:prstGeom prst="rect">
            <a:avLst/>
          </a:prstGeom>
          <a:noFill/>
        </p:spPr>
        <p:txBody>
          <a:bodyPr wrap="square" rtlCol="0">
            <a:spAutoFit/>
          </a:bodyPr>
          <a:lstStyle/>
          <a:p>
            <a:r>
              <a:rPr lang="en-US" sz="2000" b="1" dirty="0">
                <a:solidFill>
                  <a:schemeClr val="bg1"/>
                </a:solidFill>
              </a:rPr>
              <a:t>12 months</a:t>
            </a:r>
          </a:p>
        </p:txBody>
      </p:sp>
      <p:sp>
        <p:nvSpPr>
          <p:cNvPr id="25" name="Rectangle 24"/>
          <p:cNvSpPr/>
          <p:nvPr/>
        </p:nvSpPr>
        <p:spPr>
          <a:xfrm>
            <a:off x="6058376" y="4610550"/>
            <a:ext cx="3178178" cy="1304582"/>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TextBox 25"/>
          <p:cNvSpPr txBox="1"/>
          <p:nvPr/>
        </p:nvSpPr>
        <p:spPr>
          <a:xfrm>
            <a:off x="9999945" y="3281572"/>
            <a:ext cx="1828800" cy="923330"/>
          </a:xfrm>
          <a:prstGeom prst="rect">
            <a:avLst/>
          </a:prstGeom>
          <a:noFill/>
        </p:spPr>
        <p:txBody>
          <a:bodyPr wrap="square" rtlCol="0">
            <a:spAutoFit/>
          </a:bodyPr>
          <a:lstStyle/>
          <a:p>
            <a:r>
              <a:rPr lang="en-US" b="1" dirty="0">
                <a:solidFill>
                  <a:sysClr val="windowText" lastClr="000000"/>
                </a:solidFill>
              </a:rPr>
              <a:t>Therapy ongoing</a:t>
            </a:r>
          </a:p>
          <a:p>
            <a:r>
              <a:rPr lang="en-US" dirty="0">
                <a:solidFill>
                  <a:sysClr val="windowText" lastClr="000000"/>
                </a:solidFill>
              </a:rPr>
              <a:t>(follow-up every 3 months)</a:t>
            </a:r>
          </a:p>
        </p:txBody>
      </p:sp>
      <p:sp>
        <p:nvSpPr>
          <p:cNvPr id="27" name="Minus 26"/>
          <p:cNvSpPr/>
          <p:nvPr/>
        </p:nvSpPr>
        <p:spPr>
          <a:xfrm>
            <a:off x="3122186" y="5372969"/>
            <a:ext cx="507551" cy="556086"/>
          </a:xfrm>
          <a:prstGeom prst="mathMinus">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TextBox 27"/>
          <p:cNvSpPr txBox="1"/>
          <p:nvPr/>
        </p:nvSpPr>
        <p:spPr>
          <a:xfrm>
            <a:off x="7762881" y="4735971"/>
            <a:ext cx="1358257" cy="923330"/>
          </a:xfrm>
          <a:prstGeom prst="rect">
            <a:avLst/>
          </a:prstGeom>
          <a:noFill/>
        </p:spPr>
        <p:txBody>
          <a:bodyPr wrap="square" rtlCol="0">
            <a:spAutoFit/>
          </a:bodyPr>
          <a:lstStyle/>
          <a:p>
            <a:r>
              <a:rPr lang="en-US" b="1" dirty="0">
                <a:solidFill>
                  <a:sysClr val="windowText" lastClr="000000"/>
                </a:solidFill>
              </a:rPr>
              <a:t>Former control group</a:t>
            </a:r>
          </a:p>
        </p:txBody>
      </p:sp>
      <p:sp>
        <p:nvSpPr>
          <p:cNvPr id="2" name="Title 1"/>
          <p:cNvSpPr>
            <a:spLocks noGrp="1"/>
          </p:cNvSpPr>
          <p:nvPr>
            <p:ph type="title" idx="4294967295"/>
          </p:nvPr>
        </p:nvSpPr>
        <p:spPr>
          <a:xfrm>
            <a:off x="727218" y="218453"/>
            <a:ext cx="11618912" cy="827087"/>
          </a:xfrm>
        </p:spPr>
        <p:txBody>
          <a:bodyPr>
            <a:noAutofit/>
          </a:bodyPr>
          <a:lstStyle/>
          <a:p>
            <a:r>
              <a:rPr lang="en-US" sz="3600" b="1" dirty="0">
                <a:solidFill>
                  <a:schemeClr val="accent2"/>
                </a:solidFill>
                <a:latin typeface="+mn-lt"/>
                <a:cs typeface="Calibri" panose="020F0502020204030204" pitchFamily="34" charset="0"/>
              </a:rPr>
              <a:t>The rem</a:t>
            </a:r>
            <a:r>
              <a:rPr lang="en-US" sz="3600" dirty="0">
                <a:solidFill>
                  <a:schemeClr val="accent2"/>
                </a:solidFill>
                <a:latin typeface="+mn-lt"/>
                <a:cs typeface="Calibri" panose="020F0502020204030204" pitchFamily="34" charset="0"/>
              </a:rPr>
              <a:t>edē</a:t>
            </a:r>
            <a:r>
              <a:rPr lang="en-US" sz="3600" b="1" dirty="0">
                <a:solidFill>
                  <a:schemeClr val="accent2"/>
                </a:solidFill>
                <a:latin typeface="+mn-lt"/>
                <a:cs typeface="Calibri" panose="020F0502020204030204" pitchFamily="34" charset="0"/>
              </a:rPr>
              <a:t>® System Pivotal Trial </a:t>
            </a:r>
            <a:br>
              <a:rPr lang="en-US" sz="3600" b="1" dirty="0">
                <a:solidFill>
                  <a:schemeClr val="accent2"/>
                </a:solidFill>
                <a:latin typeface="+mn-lt"/>
                <a:cs typeface="Calibri" panose="020F0502020204030204" pitchFamily="34" charset="0"/>
              </a:rPr>
            </a:br>
            <a:r>
              <a:rPr lang="en-US" sz="3200" b="1" i="1" dirty="0">
                <a:solidFill>
                  <a:schemeClr val="accent2"/>
                </a:solidFill>
                <a:latin typeface="+mn-lt"/>
              </a:rPr>
              <a:t>Study design</a:t>
            </a:r>
            <a:endParaRPr lang="en-US" sz="3200" b="1" dirty="0">
              <a:solidFill>
                <a:schemeClr val="accent2"/>
              </a:solidFill>
              <a:latin typeface="+mn-lt"/>
            </a:endParaRPr>
          </a:p>
        </p:txBody>
      </p:sp>
      <p:sp>
        <p:nvSpPr>
          <p:cNvPr id="29" name="Content Placeholder 1"/>
          <p:cNvSpPr txBox="1">
            <a:spLocks/>
          </p:cNvSpPr>
          <p:nvPr/>
        </p:nvSpPr>
        <p:spPr>
          <a:xfrm>
            <a:off x="400750" y="6105911"/>
            <a:ext cx="8117926" cy="230832"/>
          </a:xfrm>
          <a:prstGeom prst="rect">
            <a:avLst/>
          </a:prstGeom>
        </p:spPr>
        <p:txBody>
          <a:bodyPr vert="horz" wrap="square" lIns="91440" tIns="45720" rIns="91440" bIns="45720" rtlCol="0">
            <a:spAutoFit/>
          </a:bodyPr>
          <a:lstStyle>
            <a:lvl1pPr marL="228600" indent="-228600" algn="l" defTabSz="914400" rtl="0" eaLnBrk="1" latinLnBrk="0" hangingPunct="1">
              <a:lnSpc>
                <a:spcPct val="90000"/>
              </a:lnSpc>
              <a:spcBef>
                <a:spcPts val="1000"/>
              </a:spcBef>
              <a:buClr>
                <a:schemeClr val="accent1"/>
              </a:buClr>
              <a:buSzPct val="90000"/>
              <a:buFont typeface="Wingdings" charset="2"/>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Clr>
                <a:schemeClr val="accent6">
                  <a:lumMod val="75000"/>
                </a:schemeClr>
              </a:buClr>
              <a:buSzPct val="80000"/>
              <a:buFont typeface="Arial" charset="0"/>
              <a:buChar char="•"/>
              <a:defRPr sz="22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accent1"/>
              </a:buClr>
              <a:buSzPct val="70000"/>
              <a:buFont typeface="Wingdings" charset="2"/>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accent6">
                  <a:lumMod val="75000"/>
                </a:schemeClr>
              </a:buClr>
              <a:buSzPct val="70000"/>
              <a:buFont typeface="Arial"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accent5"/>
              </a:buClr>
              <a:buSzPct val="60000"/>
              <a:buFont typeface="Wingdings" charset="2"/>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Wingdings" charset="2"/>
              <a:buNone/>
            </a:pPr>
            <a:r>
              <a:rPr lang="it-IT" sz="1000" dirty="0"/>
              <a:t>Costanzo MR, et al. Am J Cardiol 2018;,121:1400-1408. </a:t>
            </a:r>
            <a:endParaRPr lang="en-US" sz="1600" dirty="0"/>
          </a:p>
        </p:txBody>
      </p:sp>
      <p:sp>
        <p:nvSpPr>
          <p:cNvPr id="11" name="Slide Number Placeholder 10">
            <a:extLst>
              <a:ext uri="{FF2B5EF4-FFF2-40B4-BE49-F238E27FC236}">
                <a16:creationId xmlns:a16="http://schemas.microsoft.com/office/drawing/2014/main" id="{1A4306A2-5355-5C92-D52C-2B7795FAB07E}"/>
              </a:ext>
            </a:extLst>
          </p:cNvPr>
          <p:cNvSpPr>
            <a:spLocks noGrp="1"/>
          </p:cNvSpPr>
          <p:nvPr>
            <p:ph type="sldNum" sz="quarter" idx="12"/>
          </p:nvPr>
        </p:nvSpPr>
        <p:spPr>
          <a:xfrm>
            <a:off x="10140155" y="6402649"/>
            <a:ext cx="1312025" cy="365125"/>
          </a:xfrm>
        </p:spPr>
        <p:txBody>
          <a:bodyPr/>
          <a:lstStyle/>
          <a:p>
            <a:fld id="{21D51F98-DEF0-4E23-AE94-24E7CFC19B28}" type="slidenum">
              <a:rPr lang="en-US" smtClean="0"/>
              <a:t>48</a:t>
            </a:fld>
            <a:endParaRPr lang="en-US"/>
          </a:p>
        </p:txBody>
      </p:sp>
      <p:sp>
        <p:nvSpPr>
          <p:cNvPr id="23" name="Footer Placeholder 5">
            <a:extLst>
              <a:ext uri="{FF2B5EF4-FFF2-40B4-BE49-F238E27FC236}">
                <a16:creationId xmlns:a16="http://schemas.microsoft.com/office/drawing/2014/main" id="{C651A104-FAB0-188F-DC06-95F9D29258E1}"/>
              </a:ext>
            </a:extLst>
          </p:cNvPr>
          <p:cNvSpPr>
            <a:spLocks noGrp="1"/>
          </p:cNvSpPr>
          <p:nvPr>
            <p:ph type="ftr" sz="quarter" idx="11"/>
          </p:nvPr>
        </p:nvSpPr>
        <p:spPr>
          <a:xfrm>
            <a:off x="3684598" y="6459785"/>
            <a:ext cx="4822804" cy="365125"/>
          </a:xfrm>
        </p:spPr>
        <p:txBody>
          <a:bodyPr/>
          <a:lstStyle/>
          <a:p>
            <a:r>
              <a:rPr lang="en-US" dirty="0"/>
              <a:t>MAF1937 Rev E</a:t>
            </a:r>
          </a:p>
        </p:txBody>
      </p:sp>
    </p:spTree>
    <p:extLst>
      <p:ext uri="{BB962C8B-B14F-4D97-AF65-F5344CB8AC3E}">
        <p14:creationId xmlns:p14="http://schemas.microsoft.com/office/powerpoint/2010/main" val="1154403617"/>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6" imgH="396" progId="TCLayout.ActiveDocument.1">
                  <p:embed/>
                </p:oleObj>
              </mc:Choice>
              <mc:Fallback>
                <p:oleObj name="think-cell Slide" r:id="rId5" imgW="396" imgH="396" progId="TCLayout.ActiveDocument.1">
                  <p:embed/>
                  <p:pic>
                    <p:nvPicPr>
                      <p:cNvPr id="6" name="Object 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2400" b="1" i="1" dirty="0">
              <a:latin typeface="Calibri" panose="020F0502020204030204" pitchFamily="34" charset="0"/>
              <a:ea typeface="+mj-ea"/>
              <a:cs typeface="+mj-cs"/>
              <a:sym typeface="Calibri" panose="020F0502020204030204" pitchFamily="34" charset="0"/>
            </a:endParaRPr>
          </a:p>
        </p:txBody>
      </p:sp>
      <p:sp>
        <p:nvSpPr>
          <p:cNvPr id="5" name="Title 1"/>
          <p:cNvSpPr>
            <a:spLocks noGrp="1"/>
          </p:cNvSpPr>
          <p:nvPr>
            <p:ph type="title" idx="4294967295"/>
          </p:nvPr>
        </p:nvSpPr>
        <p:spPr>
          <a:xfrm>
            <a:off x="573088" y="355600"/>
            <a:ext cx="11618912" cy="827088"/>
          </a:xfrm>
        </p:spPr>
        <p:txBody>
          <a:bodyPr anchor="ctr">
            <a:noAutofit/>
          </a:bodyPr>
          <a:lstStyle/>
          <a:p>
            <a:pPr lvl="0" fontAlgn="base">
              <a:spcAft>
                <a:spcPct val="0"/>
              </a:spcAft>
            </a:pPr>
            <a:r>
              <a:rPr lang="en-US" sz="3600" b="1" dirty="0">
                <a:solidFill>
                  <a:schemeClr val="accent2"/>
                </a:solidFill>
              </a:rPr>
              <a:t>The remedē System Pivotal Trial </a:t>
            </a:r>
            <a:br>
              <a:rPr lang="en-US" sz="3600" b="1" dirty="0">
                <a:solidFill>
                  <a:schemeClr val="accent2"/>
                </a:solidFill>
              </a:rPr>
            </a:br>
            <a:r>
              <a:rPr lang="en-US" sz="3200" b="1" i="1" dirty="0">
                <a:solidFill>
                  <a:schemeClr val="accent2"/>
                </a:solidFill>
              </a:rPr>
              <a:t>Baseline demographics</a:t>
            </a:r>
          </a:p>
        </p:txBody>
      </p:sp>
      <p:graphicFrame>
        <p:nvGraphicFramePr>
          <p:cNvPr id="7" name="Table 6"/>
          <p:cNvGraphicFramePr>
            <a:graphicFrameLocks noGrp="1"/>
          </p:cNvGraphicFramePr>
          <p:nvPr>
            <p:extLst>
              <p:ext uri="{D42A27DB-BD31-4B8C-83A1-F6EECF244321}">
                <p14:modId xmlns:p14="http://schemas.microsoft.com/office/powerpoint/2010/main" val="1221016169"/>
              </p:ext>
            </p:extLst>
          </p:nvPr>
        </p:nvGraphicFramePr>
        <p:xfrm>
          <a:off x="643881" y="1306705"/>
          <a:ext cx="10469945" cy="3564636"/>
        </p:xfrm>
        <a:graphic>
          <a:graphicData uri="http://schemas.openxmlformats.org/drawingml/2006/table">
            <a:tbl>
              <a:tblPr firstRow="1" bandRow="1">
                <a:tableStyleId>{6E25E649-3F16-4E02-A733-19D2CDBF48F0}</a:tableStyleId>
              </a:tblPr>
              <a:tblGrid>
                <a:gridCol w="4278042">
                  <a:extLst>
                    <a:ext uri="{9D8B030D-6E8A-4147-A177-3AD203B41FA5}">
                      <a16:colId xmlns:a16="http://schemas.microsoft.com/office/drawing/2014/main" val="20000"/>
                    </a:ext>
                  </a:extLst>
                </a:gridCol>
                <a:gridCol w="1260897">
                  <a:extLst>
                    <a:ext uri="{9D8B030D-6E8A-4147-A177-3AD203B41FA5}">
                      <a16:colId xmlns:a16="http://schemas.microsoft.com/office/drawing/2014/main" val="20001"/>
                    </a:ext>
                  </a:extLst>
                </a:gridCol>
                <a:gridCol w="172623">
                  <a:extLst>
                    <a:ext uri="{9D8B030D-6E8A-4147-A177-3AD203B41FA5}">
                      <a16:colId xmlns:a16="http://schemas.microsoft.com/office/drawing/2014/main" val="20003"/>
                    </a:ext>
                  </a:extLst>
                </a:gridCol>
                <a:gridCol w="1380982">
                  <a:extLst>
                    <a:ext uri="{9D8B030D-6E8A-4147-A177-3AD203B41FA5}">
                      <a16:colId xmlns:a16="http://schemas.microsoft.com/office/drawing/2014/main" val="20004"/>
                    </a:ext>
                  </a:extLst>
                </a:gridCol>
                <a:gridCol w="1576120">
                  <a:extLst>
                    <a:ext uri="{9D8B030D-6E8A-4147-A177-3AD203B41FA5}">
                      <a16:colId xmlns:a16="http://schemas.microsoft.com/office/drawing/2014/main" val="20002"/>
                    </a:ext>
                  </a:extLst>
                </a:gridCol>
                <a:gridCol w="172623">
                  <a:extLst>
                    <a:ext uri="{9D8B030D-6E8A-4147-A177-3AD203B41FA5}">
                      <a16:colId xmlns:a16="http://schemas.microsoft.com/office/drawing/2014/main" val="20005"/>
                    </a:ext>
                  </a:extLst>
                </a:gridCol>
                <a:gridCol w="1628658">
                  <a:extLst>
                    <a:ext uri="{9D8B030D-6E8A-4147-A177-3AD203B41FA5}">
                      <a16:colId xmlns:a16="http://schemas.microsoft.com/office/drawing/2014/main" val="20006"/>
                    </a:ext>
                  </a:extLst>
                </a:gridCol>
              </a:tblGrid>
              <a:tr h="351536">
                <a:tc>
                  <a:txBody>
                    <a:bodyPr/>
                    <a:lstStyle/>
                    <a:p>
                      <a:pPr marL="0" marR="0" algn="ctr" defTabSz="914400" rtl="0" eaLnBrk="1" latinLnBrk="0" hangingPunct="1">
                        <a:lnSpc>
                          <a:spcPts val="2400"/>
                        </a:lnSpc>
                        <a:spcBef>
                          <a:spcPts val="0"/>
                        </a:spcBef>
                        <a:spcAft>
                          <a:spcPts val="0"/>
                        </a:spcAft>
                      </a:pPr>
                      <a:r>
                        <a:rPr lang="en-US" sz="2000" kern="1200" dirty="0">
                          <a:effectLst/>
                        </a:rPr>
                        <a:t>VARIABLE</a:t>
                      </a:r>
                      <a:endParaRPr lang="en-US" sz="2000" b="1" kern="1200" dirty="0">
                        <a:solidFill>
                          <a:schemeClr val="lt1"/>
                        </a:solidFill>
                        <a:effectLst/>
                        <a:latin typeface="+mj-lt"/>
                        <a:ea typeface="+mn-ea"/>
                        <a:cs typeface="+mn-cs"/>
                      </a:endParaRPr>
                    </a:p>
                  </a:txBody>
                  <a:tcPr marL="121920" marR="121920" marT="12192" marB="12192" anchor="ctr">
                    <a:solidFill>
                      <a:schemeClr val="accent2"/>
                    </a:solidFill>
                  </a:tcPr>
                </a:tc>
                <a:tc gridSpan="3">
                  <a:txBody>
                    <a:bodyPr/>
                    <a:lstStyle/>
                    <a:p>
                      <a:pPr marL="0" marR="0" algn="ctr" defTabSz="914400" rtl="0" eaLnBrk="1" latinLnBrk="0" hangingPunct="1">
                        <a:lnSpc>
                          <a:spcPts val="2400"/>
                        </a:lnSpc>
                        <a:spcBef>
                          <a:spcPts val="0"/>
                        </a:spcBef>
                        <a:spcAft>
                          <a:spcPts val="0"/>
                        </a:spcAft>
                      </a:pPr>
                      <a:r>
                        <a:rPr lang="en-US" sz="2000" kern="1200" dirty="0">
                          <a:effectLst/>
                        </a:rPr>
                        <a:t>TREATMENT (N=73)</a:t>
                      </a:r>
                      <a:endParaRPr lang="en-US" sz="2000" b="1" kern="1200" dirty="0">
                        <a:solidFill>
                          <a:schemeClr val="lt1"/>
                        </a:solidFill>
                        <a:effectLst/>
                        <a:latin typeface="+mj-lt"/>
                        <a:ea typeface="+mn-ea"/>
                        <a:cs typeface="+mn-cs"/>
                      </a:endParaRPr>
                    </a:p>
                  </a:txBody>
                  <a:tcPr marL="121920" marR="121920" marT="12192" marB="12192" anchor="ctr">
                    <a:solidFill>
                      <a:schemeClr val="accent2"/>
                    </a:solidFill>
                  </a:tcPr>
                </a:tc>
                <a:tc hMerge="1">
                  <a:txBody>
                    <a:bodyPr/>
                    <a:lstStyle/>
                    <a:p>
                      <a:endParaRPr lang="en-US"/>
                    </a:p>
                  </a:txBody>
                  <a:tcPr/>
                </a:tc>
                <a:tc hMerge="1">
                  <a:txBody>
                    <a:bodyPr/>
                    <a:lstStyle/>
                    <a:p>
                      <a:endParaRPr lang="en-US"/>
                    </a:p>
                  </a:txBody>
                  <a:tcPr/>
                </a:tc>
                <a:tc gridSpan="3">
                  <a:txBody>
                    <a:bodyPr/>
                    <a:lstStyle/>
                    <a:p>
                      <a:pPr marL="0" marR="0" algn="ctr">
                        <a:lnSpc>
                          <a:spcPts val="2400"/>
                        </a:lnSpc>
                        <a:spcBef>
                          <a:spcPts val="0"/>
                        </a:spcBef>
                        <a:spcAft>
                          <a:spcPts val="0"/>
                        </a:spcAft>
                      </a:pPr>
                      <a:r>
                        <a:rPr lang="en-US" sz="2000" dirty="0">
                          <a:effectLst/>
                        </a:rPr>
                        <a:t>CONTROL </a:t>
                      </a:r>
                      <a:r>
                        <a:rPr lang="en-US" sz="2000" baseline="0" dirty="0">
                          <a:effectLst/>
                        </a:rPr>
                        <a:t>(</a:t>
                      </a:r>
                      <a:r>
                        <a:rPr lang="en-US" sz="2000" dirty="0">
                          <a:effectLst/>
                        </a:rPr>
                        <a:t>N=78)</a:t>
                      </a:r>
                      <a:endParaRPr lang="en-US" sz="2000" b="0" dirty="0">
                        <a:effectLst/>
                        <a:latin typeface="+mj-lt"/>
                        <a:ea typeface="Times New Roman"/>
                      </a:endParaRPr>
                    </a:p>
                  </a:txBody>
                  <a:tcPr marL="121920" marR="121920" marT="12192" marB="12192" anchor="ctr">
                    <a:solidFill>
                      <a:schemeClr val="accent2"/>
                    </a:solid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0"/>
                  </a:ext>
                </a:extLst>
              </a:tr>
              <a:tr h="269748">
                <a:tc>
                  <a:txBody>
                    <a:bodyPr/>
                    <a:lstStyle/>
                    <a:p>
                      <a:pPr marL="91440" marR="0">
                        <a:lnSpc>
                          <a:spcPct val="115000"/>
                        </a:lnSpc>
                        <a:spcBef>
                          <a:spcPts val="300"/>
                        </a:spcBef>
                        <a:spcAft>
                          <a:spcPts val="300"/>
                        </a:spcAft>
                      </a:pPr>
                      <a:r>
                        <a:rPr lang="en-US" sz="1800" dirty="0">
                          <a:effectLst/>
                        </a:rPr>
                        <a:t>Age (years)</a:t>
                      </a:r>
                      <a:endParaRPr lang="en-US" sz="1800" b="0" dirty="0">
                        <a:solidFill>
                          <a:srgbClr val="0E262C"/>
                        </a:solidFill>
                        <a:effectLst/>
                        <a:latin typeface="+mn-lt"/>
                        <a:ea typeface="Times New Roman"/>
                        <a:cs typeface="Arial" panose="020B0604020202020204" pitchFamily="34" charset="0"/>
                      </a:endParaRPr>
                    </a:p>
                  </a:txBody>
                  <a:tcPr marL="121920" marR="121920" marT="12192" marB="12192" anchor="ctr"/>
                </a:tc>
                <a:tc>
                  <a:txBody>
                    <a:bodyPr/>
                    <a:lstStyle/>
                    <a:p>
                      <a:pPr marL="0" marR="0" algn="r">
                        <a:lnSpc>
                          <a:spcPct val="115000"/>
                        </a:lnSpc>
                        <a:spcBef>
                          <a:spcPts val="300"/>
                        </a:spcBef>
                        <a:spcAft>
                          <a:spcPts val="300"/>
                        </a:spcAft>
                      </a:pPr>
                      <a:r>
                        <a:rPr lang="en-US" sz="1800" dirty="0">
                          <a:effectLst/>
                        </a:rPr>
                        <a:t>65</a:t>
                      </a:r>
                      <a:endParaRPr lang="en-US" sz="1800" b="0" dirty="0">
                        <a:solidFill>
                          <a:srgbClr val="0E262C"/>
                        </a:solidFill>
                        <a:effectLst/>
                        <a:latin typeface="+mn-lt"/>
                        <a:ea typeface="Times New Roman"/>
                        <a:cs typeface="Arial" panose="020B0604020202020204" pitchFamily="34" charset="0"/>
                      </a:endParaRPr>
                    </a:p>
                  </a:txBody>
                  <a:tcPr marL="121920" marR="60960" marT="12192" marB="12192" anchor="ctr"/>
                </a:tc>
                <a:tc>
                  <a:txBody>
                    <a:bodyPr/>
                    <a:lstStyle/>
                    <a:p>
                      <a:pPr marL="0" marR="0" indent="0" algn="ctr" defTabSz="914400" rtl="0" eaLnBrk="1" fontAlgn="auto" latinLnBrk="0" hangingPunct="1">
                        <a:lnSpc>
                          <a:spcPct val="115000"/>
                        </a:lnSpc>
                        <a:spcBef>
                          <a:spcPts val="300"/>
                        </a:spcBef>
                        <a:spcAft>
                          <a:spcPts val="300"/>
                        </a:spcAft>
                        <a:buClrTx/>
                        <a:buSzTx/>
                        <a:buFontTx/>
                        <a:buNone/>
                        <a:tabLst>
                          <a:tab pos="0" algn="l"/>
                        </a:tabLst>
                        <a:defRPr/>
                      </a:pPr>
                      <a:r>
                        <a:rPr lang="en-US" sz="1800" dirty="0">
                          <a:effectLst/>
                        </a:rPr>
                        <a:t>±</a:t>
                      </a:r>
                      <a:endParaRPr lang="en-US" sz="1800" b="0" dirty="0">
                        <a:solidFill>
                          <a:srgbClr val="0E262C"/>
                        </a:solidFill>
                        <a:effectLst/>
                        <a:latin typeface="+mn-lt"/>
                        <a:ea typeface="Times New Roman"/>
                        <a:cs typeface="Arial" panose="020B0604020202020204" pitchFamily="34" charset="0"/>
                      </a:endParaRPr>
                    </a:p>
                  </a:txBody>
                  <a:tcPr marL="60960" marR="60960" marT="12192" marB="12192" anchor="ctr"/>
                </a:tc>
                <a:tc>
                  <a:txBody>
                    <a:bodyPr/>
                    <a:lstStyle/>
                    <a:p>
                      <a:pPr marL="0" marR="0" indent="0" algn="l" defTabSz="914400" rtl="0" eaLnBrk="1" fontAlgn="auto" latinLnBrk="0" hangingPunct="1">
                        <a:lnSpc>
                          <a:spcPct val="115000"/>
                        </a:lnSpc>
                        <a:spcBef>
                          <a:spcPts val="300"/>
                        </a:spcBef>
                        <a:spcAft>
                          <a:spcPts val="300"/>
                        </a:spcAft>
                        <a:buClrTx/>
                        <a:buSzTx/>
                        <a:buFontTx/>
                        <a:buNone/>
                        <a:tabLst/>
                        <a:defRPr/>
                      </a:pPr>
                      <a:r>
                        <a:rPr lang="en-US" sz="1800" dirty="0">
                          <a:effectLst/>
                        </a:rPr>
                        <a:t>12</a:t>
                      </a:r>
                      <a:endParaRPr lang="en-US" sz="1800" b="0" dirty="0">
                        <a:solidFill>
                          <a:srgbClr val="0E262C"/>
                        </a:solidFill>
                        <a:effectLst/>
                        <a:latin typeface="+mn-lt"/>
                        <a:ea typeface="Times New Roman"/>
                        <a:cs typeface="Arial" panose="020B0604020202020204" pitchFamily="34" charset="0"/>
                      </a:endParaRPr>
                    </a:p>
                  </a:txBody>
                  <a:tcPr marL="60960" marR="121920" marT="12192" marB="12192" anchor="ctr"/>
                </a:tc>
                <a:tc>
                  <a:txBody>
                    <a:bodyPr/>
                    <a:lstStyle/>
                    <a:p>
                      <a:pPr marL="0" marR="0" algn="r">
                        <a:lnSpc>
                          <a:spcPct val="115000"/>
                        </a:lnSpc>
                        <a:spcBef>
                          <a:spcPts val="300"/>
                        </a:spcBef>
                        <a:spcAft>
                          <a:spcPts val="300"/>
                        </a:spcAft>
                      </a:pPr>
                      <a:r>
                        <a:rPr lang="en-US" sz="1800" dirty="0">
                          <a:effectLst/>
                        </a:rPr>
                        <a:t>65</a:t>
                      </a:r>
                      <a:endParaRPr lang="en-US" sz="1800" b="0" dirty="0">
                        <a:solidFill>
                          <a:srgbClr val="0E262C"/>
                        </a:solidFill>
                        <a:effectLst/>
                        <a:latin typeface="+mn-lt"/>
                        <a:ea typeface="Times New Roman"/>
                        <a:cs typeface="Arial" panose="020B0604020202020204" pitchFamily="34" charset="0"/>
                      </a:endParaRPr>
                    </a:p>
                  </a:txBody>
                  <a:tcPr marL="121920" marR="60960" marT="12192" marB="12192" anchor="ctr"/>
                </a:tc>
                <a:tc>
                  <a:txBody>
                    <a:bodyPr/>
                    <a:lstStyle/>
                    <a:p>
                      <a:pPr marL="0" marR="0" algn="ctr">
                        <a:lnSpc>
                          <a:spcPct val="115000"/>
                        </a:lnSpc>
                        <a:spcBef>
                          <a:spcPts val="300"/>
                        </a:spcBef>
                        <a:spcAft>
                          <a:spcPts val="300"/>
                        </a:spcAft>
                      </a:pPr>
                      <a:r>
                        <a:rPr lang="en-US" sz="1800" dirty="0">
                          <a:effectLst/>
                        </a:rPr>
                        <a:t>±</a:t>
                      </a:r>
                      <a:endParaRPr lang="en-US" sz="1800" b="0" dirty="0">
                        <a:solidFill>
                          <a:srgbClr val="0E262C"/>
                        </a:solidFill>
                        <a:effectLst/>
                        <a:latin typeface="+mn-lt"/>
                        <a:ea typeface="Times New Roman"/>
                        <a:cs typeface="Arial" panose="020B0604020202020204" pitchFamily="34" charset="0"/>
                      </a:endParaRPr>
                    </a:p>
                  </a:txBody>
                  <a:tcPr marL="60960" marR="60960" marT="12192" marB="12192" anchor="ctr"/>
                </a:tc>
                <a:tc>
                  <a:txBody>
                    <a:bodyPr/>
                    <a:lstStyle/>
                    <a:p>
                      <a:pPr marL="0" marR="0" algn="l">
                        <a:lnSpc>
                          <a:spcPct val="115000"/>
                        </a:lnSpc>
                        <a:spcBef>
                          <a:spcPts val="300"/>
                        </a:spcBef>
                        <a:spcAft>
                          <a:spcPts val="300"/>
                        </a:spcAft>
                      </a:pPr>
                      <a:r>
                        <a:rPr lang="en-US" sz="1800" dirty="0">
                          <a:effectLst/>
                        </a:rPr>
                        <a:t>13</a:t>
                      </a:r>
                      <a:endParaRPr lang="en-US" sz="1800" b="0" dirty="0">
                        <a:solidFill>
                          <a:srgbClr val="0E262C"/>
                        </a:solidFill>
                        <a:effectLst/>
                        <a:latin typeface="+mn-lt"/>
                        <a:ea typeface="Times New Roman"/>
                        <a:cs typeface="Arial" panose="020B0604020202020204" pitchFamily="34" charset="0"/>
                      </a:endParaRPr>
                    </a:p>
                  </a:txBody>
                  <a:tcPr marL="60960" marR="121920" marT="12192" marB="12192" anchor="ctr"/>
                </a:tc>
                <a:extLst>
                  <a:ext uri="{0D108BD9-81ED-4DB2-BD59-A6C34878D82A}">
                    <a16:rowId xmlns:a16="http://schemas.microsoft.com/office/drawing/2014/main" val="10001"/>
                  </a:ext>
                </a:extLst>
              </a:tr>
              <a:tr h="269748">
                <a:tc>
                  <a:txBody>
                    <a:bodyPr/>
                    <a:lstStyle/>
                    <a:p>
                      <a:pPr marL="91440" marR="0">
                        <a:lnSpc>
                          <a:spcPct val="115000"/>
                        </a:lnSpc>
                        <a:spcBef>
                          <a:spcPts val="300"/>
                        </a:spcBef>
                        <a:spcAft>
                          <a:spcPts val="300"/>
                        </a:spcAft>
                      </a:pPr>
                      <a:r>
                        <a:rPr lang="en-US" sz="1800" dirty="0">
                          <a:effectLst/>
                        </a:rPr>
                        <a:t>Male gender</a:t>
                      </a:r>
                      <a:endParaRPr lang="en-US" sz="1800" b="1" dirty="0">
                        <a:solidFill>
                          <a:schemeClr val="tx1"/>
                        </a:solidFill>
                        <a:effectLst/>
                        <a:latin typeface="+mn-lt"/>
                        <a:cs typeface="Arial" panose="020B0604020202020204" pitchFamily="34" charset="0"/>
                      </a:endParaRPr>
                    </a:p>
                  </a:txBody>
                  <a:tcPr marL="121920" marR="121920" marT="12192" marB="12192" anchor="ctr"/>
                </a:tc>
                <a:tc gridSpan="3">
                  <a:txBody>
                    <a:bodyPr/>
                    <a:lstStyle/>
                    <a:p>
                      <a:pPr marL="0" marR="0" algn="ctr">
                        <a:lnSpc>
                          <a:spcPct val="115000"/>
                        </a:lnSpc>
                        <a:spcBef>
                          <a:spcPts val="300"/>
                        </a:spcBef>
                        <a:spcAft>
                          <a:spcPts val="300"/>
                        </a:spcAft>
                      </a:pPr>
                      <a:r>
                        <a:rPr lang="en-US" sz="1800" dirty="0">
                          <a:effectLst/>
                        </a:rPr>
                        <a:t>86%</a:t>
                      </a:r>
                      <a:endParaRPr lang="en-US" sz="1800" dirty="0">
                        <a:solidFill>
                          <a:schemeClr val="tx1"/>
                        </a:solidFill>
                        <a:effectLst/>
                        <a:latin typeface="+mn-lt"/>
                        <a:ea typeface="Times New Roman"/>
                        <a:cs typeface="Arial" panose="020B0604020202020204" pitchFamily="34" charset="0"/>
                      </a:endParaRPr>
                    </a:p>
                  </a:txBody>
                  <a:tcPr marL="121920" marR="121920" marT="12192" marB="12192" anchor="ctr"/>
                </a:tc>
                <a:tc hMerge="1">
                  <a:txBody>
                    <a:bodyPr/>
                    <a:lstStyle/>
                    <a:p>
                      <a:endParaRPr lang="en-US"/>
                    </a:p>
                  </a:txBody>
                  <a:tcPr/>
                </a:tc>
                <a:tc hMerge="1">
                  <a:txBody>
                    <a:bodyPr/>
                    <a:lstStyle/>
                    <a:p>
                      <a:endParaRPr lang="en-US"/>
                    </a:p>
                  </a:txBody>
                  <a:tcPr/>
                </a:tc>
                <a:tc gridSpan="3">
                  <a:txBody>
                    <a:bodyPr/>
                    <a:lstStyle/>
                    <a:p>
                      <a:pPr marL="0" marR="0" algn="ctr">
                        <a:lnSpc>
                          <a:spcPct val="115000"/>
                        </a:lnSpc>
                        <a:spcBef>
                          <a:spcPts val="300"/>
                        </a:spcBef>
                        <a:spcAft>
                          <a:spcPts val="300"/>
                        </a:spcAft>
                      </a:pPr>
                      <a:r>
                        <a:rPr lang="en-US" sz="1800" dirty="0">
                          <a:effectLst/>
                        </a:rPr>
                        <a:t>92%</a:t>
                      </a:r>
                      <a:endParaRPr lang="en-US" sz="1800" dirty="0">
                        <a:solidFill>
                          <a:schemeClr val="tx1"/>
                        </a:solidFill>
                        <a:effectLst/>
                        <a:latin typeface="+mn-lt"/>
                        <a:ea typeface="Times New Roman"/>
                        <a:cs typeface="Arial" panose="020B0604020202020204" pitchFamily="34" charset="0"/>
                      </a:endParaRPr>
                    </a:p>
                  </a:txBody>
                  <a:tcPr marL="121920" marR="121920" marT="12192" marB="12192" anchor="ct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2"/>
                  </a:ext>
                </a:extLst>
              </a:tr>
              <a:tr h="269748">
                <a:tc>
                  <a:txBody>
                    <a:bodyPr/>
                    <a:lstStyle/>
                    <a:p>
                      <a:pPr marL="91440" marR="0">
                        <a:lnSpc>
                          <a:spcPct val="115000"/>
                        </a:lnSpc>
                        <a:spcBef>
                          <a:spcPts val="300"/>
                        </a:spcBef>
                        <a:spcAft>
                          <a:spcPts val="300"/>
                        </a:spcAft>
                      </a:pPr>
                      <a:r>
                        <a:rPr lang="en-US" sz="1800" dirty="0">
                          <a:effectLst/>
                        </a:rPr>
                        <a:t>Body mass index (kg/m</a:t>
                      </a:r>
                      <a:r>
                        <a:rPr lang="en-US" sz="1800" baseline="30000" dirty="0">
                          <a:effectLst/>
                        </a:rPr>
                        <a:t>2</a:t>
                      </a:r>
                      <a:r>
                        <a:rPr lang="en-US" sz="1800" dirty="0">
                          <a:effectLst/>
                        </a:rPr>
                        <a:t>)</a:t>
                      </a:r>
                      <a:endParaRPr lang="en-US" sz="1800" b="0" dirty="0">
                        <a:solidFill>
                          <a:schemeClr val="tx1"/>
                        </a:solidFill>
                        <a:effectLst/>
                        <a:latin typeface="+mn-lt"/>
                        <a:ea typeface="Times New Roman"/>
                        <a:cs typeface="Arial" panose="020B0604020202020204" pitchFamily="34" charset="0"/>
                      </a:endParaRPr>
                    </a:p>
                  </a:txBody>
                  <a:tcPr marL="121920" marR="121920" marT="12192" marB="12192" anchor="ctr"/>
                </a:tc>
                <a:tc>
                  <a:txBody>
                    <a:bodyPr/>
                    <a:lstStyle/>
                    <a:p>
                      <a:pPr marL="0" marR="0" algn="r">
                        <a:lnSpc>
                          <a:spcPct val="115000"/>
                        </a:lnSpc>
                        <a:spcBef>
                          <a:spcPts val="300"/>
                        </a:spcBef>
                        <a:spcAft>
                          <a:spcPts val="300"/>
                        </a:spcAft>
                      </a:pPr>
                      <a:r>
                        <a:rPr lang="en-US" sz="1800" dirty="0">
                          <a:effectLst/>
                        </a:rPr>
                        <a:t>30.8</a:t>
                      </a:r>
                      <a:endParaRPr lang="en-US" sz="1800" b="0" dirty="0">
                        <a:solidFill>
                          <a:schemeClr val="tx1"/>
                        </a:solidFill>
                        <a:effectLst/>
                        <a:latin typeface="+mn-lt"/>
                        <a:ea typeface="Times New Roman"/>
                        <a:cs typeface="Arial" panose="020B0604020202020204" pitchFamily="34" charset="0"/>
                      </a:endParaRPr>
                    </a:p>
                  </a:txBody>
                  <a:tcPr marL="121920" marR="60960" marT="12192" marB="12192" anchor="ctr"/>
                </a:tc>
                <a:tc>
                  <a:txBody>
                    <a:bodyPr/>
                    <a:lstStyle/>
                    <a:p>
                      <a:pPr marL="0" marR="0" indent="0" algn="ctr" defTabSz="914400" rtl="0" eaLnBrk="1" fontAlgn="auto" latinLnBrk="0" hangingPunct="1">
                        <a:lnSpc>
                          <a:spcPct val="115000"/>
                        </a:lnSpc>
                        <a:spcBef>
                          <a:spcPts val="300"/>
                        </a:spcBef>
                        <a:spcAft>
                          <a:spcPts val="300"/>
                        </a:spcAft>
                        <a:buClrTx/>
                        <a:buSzTx/>
                        <a:buFontTx/>
                        <a:buNone/>
                        <a:tabLst/>
                        <a:defRPr/>
                      </a:pPr>
                      <a:r>
                        <a:rPr lang="en-US" sz="1800" dirty="0">
                          <a:effectLst/>
                        </a:rPr>
                        <a:t>±</a:t>
                      </a:r>
                      <a:endParaRPr lang="en-US" sz="1800" b="0" dirty="0">
                        <a:solidFill>
                          <a:srgbClr val="0E262C"/>
                        </a:solidFill>
                        <a:effectLst/>
                        <a:latin typeface="+mn-lt"/>
                        <a:ea typeface="Times New Roman"/>
                        <a:cs typeface="Arial" panose="020B0604020202020204" pitchFamily="34" charset="0"/>
                      </a:endParaRPr>
                    </a:p>
                  </a:txBody>
                  <a:tcPr marL="60960" marR="60960" marT="12192" marB="12192" anchor="ctr"/>
                </a:tc>
                <a:tc>
                  <a:txBody>
                    <a:bodyPr/>
                    <a:lstStyle/>
                    <a:p>
                      <a:pPr marL="0" marR="0" indent="0" algn="l" defTabSz="914400" rtl="0" eaLnBrk="1" fontAlgn="auto" latinLnBrk="0" hangingPunct="1">
                        <a:lnSpc>
                          <a:spcPct val="115000"/>
                        </a:lnSpc>
                        <a:spcBef>
                          <a:spcPts val="300"/>
                        </a:spcBef>
                        <a:spcAft>
                          <a:spcPts val="300"/>
                        </a:spcAft>
                        <a:buClrTx/>
                        <a:buSzTx/>
                        <a:buFontTx/>
                        <a:buNone/>
                        <a:tabLst/>
                        <a:defRPr/>
                      </a:pPr>
                      <a:r>
                        <a:rPr lang="en-US" sz="1800" dirty="0">
                          <a:effectLst/>
                        </a:rPr>
                        <a:t>5.3</a:t>
                      </a:r>
                      <a:endParaRPr lang="en-US" sz="1800" b="0" dirty="0">
                        <a:solidFill>
                          <a:schemeClr val="tx1"/>
                        </a:solidFill>
                        <a:effectLst/>
                        <a:latin typeface="+mn-lt"/>
                        <a:ea typeface="Times New Roman"/>
                        <a:cs typeface="Arial" panose="020B0604020202020204" pitchFamily="34" charset="0"/>
                      </a:endParaRPr>
                    </a:p>
                  </a:txBody>
                  <a:tcPr marL="60960" marR="121920" marT="12192" marB="12192" anchor="ctr"/>
                </a:tc>
                <a:tc>
                  <a:txBody>
                    <a:bodyPr/>
                    <a:lstStyle/>
                    <a:p>
                      <a:pPr marL="0" marR="0" algn="r">
                        <a:lnSpc>
                          <a:spcPct val="115000"/>
                        </a:lnSpc>
                        <a:spcBef>
                          <a:spcPts val="300"/>
                        </a:spcBef>
                        <a:spcAft>
                          <a:spcPts val="300"/>
                        </a:spcAft>
                      </a:pPr>
                      <a:r>
                        <a:rPr lang="en-US" sz="1800" dirty="0">
                          <a:effectLst/>
                        </a:rPr>
                        <a:t>31.3</a:t>
                      </a:r>
                      <a:endParaRPr lang="en-US" sz="1800" b="0" dirty="0">
                        <a:solidFill>
                          <a:schemeClr val="tx1"/>
                        </a:solidFill>
                        <a:effectLst/>
                        <a:latin typeface="+mn-lt"/>
                        <a:ea typeface="Times New Roman"/>
                        <a:cs typeface="Arial" panose="020B0604020202020204" pitchFamily="34" charset="0"/>
                      </a:endParaRPr>
                    </a:p>
                  </a:txBody>
                  <a:tcPr marL="121920" marR="60960" marT="12192" marB="12192" anchor="ctr"/>
                </a:tc>
                <a:tc>
                  <a:txBody>
                    <a:bodyPr/>
                    <a:lstStyle/>
                    <a:p>
                      <a:pPr marL="0" marR="0" algn="ctr">
                        <a:lnSpc>
                          <a:spcPct val="115000"/>
                        </a:lnSpc>
                        <a:spcBef>
                          <a:spcPts val="300"/>
                        </a:spcBef>
                        <a:spcAft>
                          <a:spcPts val="300"/>
                        </a:spcAft>
                      </a:pPr>
                      <a:r>
                        <a:rPr lang="en-US" sz="1800" dirty="0">
                          <a:effectLst/>
                        </a:rPr>
                        <a:t>±</a:t>
                      </a:r>
                      <a:endParaRPr lang="en-US" sz="1800" b="0" dirty="0">
                        <a:solidFill>
                          <a:schemeClr val="tx1"/>
                        </a:solidFill>
                        <a:effectLst/>
                        <a:latin typeface="+mn-lt"/>
                        <a:ea typeface="Times New Roman"/>
                        <a:cs typeface="Arial" panose="020B0604020202020204" pitchFamily="34" charset="0"/>
                      </a:endParaRPr>
                    </a:p>
                  </a:txBody>
                  <a:tcPr marL="60960" marR="60960" marT="12192" marB="12192" anchor="ctr"/>
                </a:tc>
                <a:tc>
                  <a:txBody>
                    <a:bodyPr/>
                    <a:lstStyle/>
                    <a:p>
                      <a:pPr marL="0" marR="0" indent="0" algn="l" defTabSz="914400" rtl="0" eaLnBrk="1" fontAlgn="auto" latinLnBrk="0" hangingPunct="1">
                        <a:lnSpc>
                          <a:spcPct val="115000"/>
                        </a:lnSpc>
                        <a:spcBef>
                          <a:spcPts val="300"/>
                        </a:spcBef>
                        <a:spcAft>
                          <a:spcPts val="300"/>
                        </a:spcAft>
                        <a:buClrTx/>
                        <a:buSzTx/>
                        <a:buFontTx/>
                        <a:buNone/>
                        <a:tabLst/>
                        <a:defRPr/>
                      </a:pPr>
                      <a:r>
                        <a:rPr lang="en-US" sz="1800" dirty="0">
                          <a:effectLst/>
                        </a:rPr>
                        <a:t>6.6</a:t>
                      </a:r>
                      <a:endParaRPr lang="en-US" sz="1800" b="0" dirty="0">
                        <a:solidFill>
                          <a:schemeClr val="tx1"/>
                        </a:solidFill>
                        <a:effectLst/>
                        <a:latin typeface="+mn-lt"/>
                        <a:ea typeface="Times New Roman"/>
                        <a:cs typeface="Arial" panose="020B0604020202020204" pitchFamily="34" charset="0"/>
                      </a:endParaRPr>
                    </a:p>
                  </a:txBody>
                  <a:tcPr marL="60960" marR="121920" marT="12192" marB="12192" anchor="ctr"/>
                </a:tc>
                <a:extLst>
                  <a:ext uri="{0D108BD9-81ED-4DB2-BD59-A6C34878D82A}">
                    <a16:rowId xmlns:a16="http://schemas.microsoft.com/office/drawing/2014/main" val="10005"/>
                  </a:ext>
                </a:extLst>
              </a:tr>
              <a:tr h="269748">
                <a:tc>
                  <a:txBody>
                    <a:bodyPr/>
                    <a:lstStyle/>
                    <a:p>
                      <a:pPr marL="91440" marR="0">
                        <a:lnSpc>
                          <a:spcPct val="115000"/>
                        </a:lnSpc>
                        <a:spcBef>
                          <a:spcPts val="300"/>
                        </a:spcBef>
                        <a:spcAft>
                          <a:spcPts val="300"/>
                        </a:spcAft>
                      </a:pPr>
                      <a:r>
                        <a:rPr lang="en-US" sz="1800" dirty="0">
                          <a:effectLst/>
                        </a:rPr>
                        <a:t>Ejection fraction (%)</a:t>
                      </a:r>
                      <a:endParaRPr lang="en-US" sz="1800" b="0" dirty="0">
                        <a:solidFill>
                          <a:srgbClr val="0E262C"/>
                        </a:solidFill>
                        <a:effectLst/>
                        <a:latin typeface="+mn-lt"/>
                        <a:ea typeface="Times New Roman"/>
                        <a:cs typeface="Arial" panose="020B0604020202020204" pitchFamily="34" charset="0"/>
                      </a:endParaRPr>
                    </a:p>
                  </a:txBody>
                  <a:tcPr marL="121920" marR="121920" marT="12192" marB="12192" anchor="ctr"/>
                </a:tc>
                <a:tc>
                  <a:txBody>
                    <a:bodyPr/>
                    <a:lstStyle/>
                    <a:p>
                      <a:pPr marL="0" marR="0" algn="r" defTabSz="914400" rtl="0" eaLnBrk="1" latinLnBrk="0" hangingPunct="1">
                        <a:lnSpc>
                          <a:spcPct val="115000"/>
                        </a:lnSpc>
                        <a:spcBef>
                          <a:spcPts val="500"/>
                        </a:spcBef>
                        <a:spcAft>
                          <a:spcPts val="500"/>
                        </a:spcAft>
                      </a:pPr>
                      <a:r>
                        <a:rPr lang="en-US" sz="1800" kern="1200" dirty="0">
                          <a:solidFill>
                            <a:schemeClr val="dk1"/>
                          </a:solidFill>
                          <a:effectLst/>
                          <a:latin typeface="+mn-lt"/>
                          <a:ea typeface="+mn-ea"/>
                          <a:cs typeface="+mn-cs"/>
                        </a:rPr>
                        <a:t>40.6</a:t>
                      </a:r>
                    </a:p>
                  </a:txBody>
                  <a:tcPr marL="121920" marR="60960" marT="12192" marB="12192" anchor="b"/>
                </a:tc>
                <a:tc>
                  <a:txBody>
                    <a:bodyPr/>
                    <a:lstStyle/>
                    <a:p>
                      <a:pPr marL="0" marR="0" algn="l" defTabSz="914400" rtl="0" eaLnBrk="1" latinLnBrk="0" hangingPunct="1">
                        <a:lnSpc>
                          <a:spcPct val="115000"/>
                        </a:lnSpc>
                        <a:spcBef>
                          <a:spcPts val="500"/>
                        </a:spcBef>
                        <a:spcAft>
                          <a:spcPts val="500"/>
                        </a:spcAft>
                      </a:pPr>
                      <a:r>
                        <a:rPr lang="en-US" sz="1800" kern="1200" dirty="0">
                          <a:solidFill>
                            <a:schemeClr val="dk1"/>
                          </a:solidFill>
                          <a:effectLst/>
                          <a:latin typeface="+mn-lt"/>
                          <a:ea typeface="+mn-ea"/>
                          <a:cs typeface="+mn-cs"/>
                        </a:rPr>
                        <a:t>±</a:t>
                      </a:r>
                    </a:p>
                  </a:txBody>
                  <a:tcPr marL="60960" marR="60960" marT="12192" marB="12192" anchor="ctr"/>
                </a:tc>
                <a:tc>
                  <a:txBody>
                    <a:bodyPr/>
                    <a:lstStyle/>
                    <a:p>
                      <a:pPr marL="0" marR="0" algn="l" defTabSz="914400" rtl="0" eaLnBrk="1" latinLnBrk="0" hangingPunct="1">
                        <a:lnSpc>
                          <a:spcPct val="115000"/>
                        </a:lnSpc>
                        <a:spcBef>
                          <a:spcPts val="500"/>
                        </a:spcBef>
                        <a:spcAft>
                          <a:spcPts val="500"/>
                        </a:spcAft>
                      </a:pPr>
                      <a:r>
                        <a:rPr lang="en-US" sz="1800" kern="1200" dirty="0">
                          <a:solidFill>
                            <a:schemeClr val="dk1"/>
                          </a:solidFill>
                          <a:effectLst/>
                          <a:latin typeface="+mn-lt"/>
                          <a:ea typeface="+mn-ea"/>
                          <a:cs typeface="+mn-cs"/>
                        </a:rPr>
                        <a:t>12.8 (n=71)</a:t>
                      </a:r>
                    </a:p>
                  </a:txBody>
                  <a:tcPr marL="60960" marR="121920" marT="12192" marB="12192" anchor="ctr"/>
                </a:tc>
                <a:tc>
                  <a:txBody>
                    <a:bodyPr/>
                    <a:lstStyle/>
                    <a:p>
                      <a:pPr marL="0" marR="0" algn="r" defTabSz="914400" rtl="0" eaLnBrk="1" latinLnBrk="0" hangingPunct="1">
                        <a:lnSpc>
                          <a:spcPct val="115000"/>
                        </a:lnSpc>
                        <a:spcBef>
                          <a:spcPts val="500"/>
                        </a:spcBef>
                        <a:spcAft>
                          <a:spcPts val="500"/>
                        </a:spcAft>
                      </a:pPr>
                      <a:r>
                        <a:rPr lang="en-US" sz="1800" kern="1200" dirty="0">
                          <a:solidFill>
                            <a:schemeClr val="dk1"/>
                          </a:solidFill>
                          <a:effectLst/>
                          <a:latin typeface="+mn-lt"/>
                          <a:ea typeface="+mn-ea"/>
                          <a:cs typeface="+mn-cs"/>
                        </a:rPr>
                        <a:t>39.4</a:t>
                      </a:r>
                    </a:p>
                  </a:txBody>
                  <a:tcPr marL="121920" marR="60960" marT="12192" marB="12192" anchor="ctr"/>
                </a:tc>
                <a:tc>
                  <a:txBody>
                    <a:bodyPr/>
                    <a:lstStyle/>
                    <a:p>
                      <a:pPr marL="0" marR="0" indent="0" algn="l" defTabSz="914400" rtl="0" eaLnBrk="1" fontAlgn="auto" latinLnBrk="0" hangingPunct="1">
                        <a:lnSpc>
                          <a:spcPct val="115000"/>
                        </a:lnSpc>
                        <a:spcBef>
                          <a:spcPts val="500"/>
                        </a:spcBef>
                        <a:spcAft>
                          <a:spcPts val="500"/>
                        </a:spcAft>
                        <a:buClrTx/>
                        <a:buSzTx/>
                        <a:buFontTx/>
                        <a:buNone/>
                        <a:tabLst/>
                        <a:defRPr/>
                      </a:pPr>
                      <a:r>
                        <a:rPr lang="en-US" sz="1800" kern="1200" dirty="0">
                          <a:solidFill>
                            <a:schemeClr val="dk1"/>
                          </a:solidFill>
                          <a:effectLst/>
                          <a:latin typeface="+mn-lt"/>
                          <a:ea typeface="+mn-ea"/>
                          <a:cs typeface="+mn-cs"/>
                        </a:rPr>
                        <a:t>±</a:t>
                      </a:r>
                    </a:p>
                  </a:txBody>
                  <a:tcPr marL="60960" marR="60960" marT="12192" marB="12192" anchor="ctr"/>
                </a:tc>
                <a:tc>
                  <a:txBody>
                    <a:bodyPr/>
                    <a:lstStyle/>
                    <a:p>
                      <a:pPr marL="0" marR="0" indent="0" algn="l" defTabSz="914400" rtl="0" eaLnBrk="1" fontAlgn="auto" latinLnBrk="0" hangingPunct="1">
                        <a:lnSpc>
                          <a:spcPct val="115000"/>
                        </a:lnSpc>
                        <a:spcBef>
                          <a:spcPts val="500"/>
                        </a:spcBef>
                        <a:spcAft>
                          <a:spcPts val="500"/>
                        </a:spcAft>
                        <a:buClrTx/>
                        <a:buSzTx/>
                        <a:buFontTx/>
                        <a:buNone/>
                        <a:tabLst/>
                        <a:defRPr/>
                      </a:pPr>
                      <a:r>
                        <a:rPr lang="en-US" sz="1800" kern="1200" dirty="0">
                          <a:solidFill>
                            <a:schemeClr val="dk1"/>
                          </a:solidFill>
                          <a:effectLst/>
                          <a:latin typeface="+mn-lt"/>
                          <a:ea typeface="+mn-ea"/>
                          <a:cs typeface="+mn-cs"/>
                        </a:rPr>
                        <a:t>12.2 (n=75)</a:t>
                      </a:r>
                    </a:p>
                  </a:txBody>
                  <a:tcPr marL="60960" marR="121920" marT="12192" marB="12192" anchor="ctr"/>
                </a:tc>
                <a:extLst>
                  <a:ext uri="{0D108BD9-81ED-4DB2-BD59-A6C34878D82A}">
                    <a16:rowId xmlns:a16="http://schemas.microsoft.com/office/drawing/2014/main" val="10006"/>
                  </a:ext>
                </a:extLst>
              </a:tr>
              <a:tr h="269748">
                <a:tc>
                  <a:txBody>
                    <a:bodyPr/>
                    <a:lstStyle/>
                    <a:p>
                      <a:pPr marL="91440" marR="0">
                        <a:lnSpc>
                          <a:spcPct val="115000"/>
                        </a:lnSpc>
                        <a:spcBef>
                          <a:spcPts val="300"/>
                        </a:spcBef>
                        <a:spcAft>
                          <a:spcPts val="300"/>
                        </a:spcAft>
                      </a:pPr>
                      <a:r>
                        <a:rPr lang="en-US" sz="1800" dirty="0">
                          <a:effectLst/>
                        </a:rPr>
                        <a:t>Heart failure</a:t>
                      </a:r>
                      <a:r>
                        <a:rPr lang="en-US" sz="1800" baseline="30000" dirty="0">
                          <a:effectLst/>
                        </a:rPr>
                        <a:t>1 </a:t>
                      </a:r>
                      <a:r>
                        <a:rPr lang="en-US" sz="1800" dirty="0">
                          <a:effectLst/>
                        </a:rPr>
                        <a:t>(% [</a:t>
                      </a:r>
                      <a:r>
                        <a:rPr lang="en-US" sz="1800" baseline="0" dirty="0">
                          <a:effectLst/>
                        </a:rPr>
                        <a:t>NYHA I / II / III / IV])</a:t>
                      </a:r>
                      <a:endParaRPr lang="en-US" sz="1800" b="0" baseline="0" dirty="0">
                        <a:solidFill>
                          <a:srgbClr val="0E262C"/>
                        </a:solidFill>
                        <a:effectLst/>
                        <a:latin typeface="+mn-lt"/>
                        <a:ea typeface="Times New Roman"/>
                        <a:cs typeface="Arial" panose="020B0604020202020204" pitchFamily="34" charset="0"/>
                      </a:endParaRPr>
                    </a:p>
                  </a:txBody>
                  <a:tcPr marL="121920" marR="121920" marT="12192" marB="12192" anchor="ctr"/>
                </a:tc>
                <a:tc gridSpan="3">
                  <a:txBody>
                    <a:bodyPr/>
                    <a:lstStyle/>
                    <a:p>
                      <a:pPr marL="0" marR="0" indent="0" algn="ctr" defTabSz="914400" rtl="0" eaLnBrk="1" fontAlgn="auto" latinLnBrk="0" hangingPunct="1">
                        <a:lnSpc>
                          <a:spcPct val="115000"/>
                        </a:lnSpc>
                        <a:spcBef>
                          <a:spcPts val="300"/>
                        </a:spcBef>
                        <a:spcAft>
                          <a:spcPts val="300"/>
                        </a:spcAft>
                        <a:buClrTx/>
                        <a:buSzTx/>
                        <a:buFontTx/>
                        <a:buNone/>
                        <a:tabLst/>
                        <a:defRPr/>
                      </a:pPr>
                      <a:r>
                        <a:rPr lang="en-US" sz="1800" dirty="0">
                          <a:effectLst/>
                        </a:rPr>
                        <a:t>66% (13 / 44 / 44 / 0%)</a:t>
                      </a:r>
                      <a:endParaRPr lang="en-US" sz="1800" b="0" dirty="0">
                        <a:solidFill>
                          <a:srgbClr val="0E262C"/>
                        </a:solidFill>
                        <a:effectLst/>
                        <a:latin typeface="+mn-lt"/>
                        <a:ea typeface="Times New Roman"/>
                        <a:cs typeface="Arial" panose="020B0604020202020204" pitchFamily="34" charset="0"/>
                      </a:endParaRPr>
                    </a:p>
                  </a:txBody>
                  <a:tcPr marL="121920" marR="121920" marT="12192" marB="12192" anchor="ctr"/>
                </a:tc>
                <a:tc hMerge="1">
                  <a:txBody>
                    <a:bodyPr/>
                    <a:lstStyle/>
                    <a:p>
                      <a:endParaRPr lang="en-US"/>
                    </a:p>
                  </a:txBody>
                  <a:tcPr/>
                </a:tc>
                <a:tc hMerge="1">
                  <a:txBody>
                    <a:bodyPr/>
                    <a:lstStyle/>
                    <a:p>
                      <a:endParaRPr lang="en-US"/>
                    </a:p>
                  </a:txBody>
                  <a:tcPr/>
                </a:tc>
                <a:tc gridSpan="3">
                  <a:txBody>
                    <a:bodyPr/>
                    <a:lstStyle/>
                    <a:p>
                      <a:pPr marL="0" marR="0" indent="0" algn="ctr" defTabSz="914400" rtl="0" eaLnBrk="1" fontAlgn="auto" latinLnBrk="0" hangingPunct="1">
                        <a:lnSpc>
                          <a:spcPct val="115000"/>
                        </a:lnSpc>
                        <a:spcBef>
                          <a:spcPts val="300"/>
                        </a:spcBef>
                        <a:spcAft>
                          <a:spcPts val="300"/>
                        </a:spcAft>
                        <a:buClrTx/>
                        <a:buSzTx/>
                        <a:buFontTx/>
                        <a:buNone/>
                        <a:tabLst/>
                        <a:defRPr/>
                      </a:pPr>
                      <a:r>
                        <a:rPr lang="en-US" sz="1800" dirty="0">
                          <a:effectLst/>
                        </a:rPr>
                        <a:t>62% (25 / 42 / 33 / 0%)</a:t>
                      </a:r>
                      <a:endParaRPr lang="en-US" sz="1800" b="0" dirty="0">
                        <a:solidFill>
                          <a:srgbClr val="0E262C"/>
                        </a:solidFill>
                        <a:effectLst/>
                        <a:latin typeface="+mn-lt"/>
                        <a:ea typeface="Times New Roman"/>
                        <a:cs typeface="Arial" panose="020B0604020202020204" pitchFamily="34" charset="0"/>
                      </a:endParaRPr>
                    </a:p>
                  </a:txBody>
                  <a:tcPr marL="121920" marR="121920" marT="12192" marB="12192" anchor="ct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7"/>
                  </a:ext>
                </a:extLst>
              </a:tr>
              <a:tr h="269748">
                <a:tc>
                  <a:txBody>
                    <a:bodyPr/>
                    <a:lstStyle/>
                    <a:p>
                      <a:pPr marL="91440" marR="0">
                        <a:lnSpc>
                          <a:spcPct val="115000"/>
                        </a:lnSpc>
                        <a:spcBef>
                          <a:spcPts val="300"/>
                        </a:spcBef>
                        <a:spcAft>
                          <a:spcPts val="300"/>
                        </a:spcAft>
                      </a:pPr>
                      <a:r>
                        <a:rPr lang="en-US" sz="1800" dirty="0">
                          <a:effectLst/>
                        </a:rPr>
                        <a:t>Atrial fibrillation</a:t>
                      </a:r>
                      <a:endParaRPr lang="en-US" sz="1800" b="1" dirty="0">
                        <a:solidFill>
                          <a:srgbClr val="0E262C"/>
                        </a:solidFill>
                        <a:effectLst/>
                        <a:latin typeface="+mn-lt"/>
                        <a:ea typeface="Times New Roman"/>
                        <a:cs typeface="Arial" panose="020B0604020202020204" pitchFamily="34" charset="0"/>
                      </a:endParaRPr>
                    </a:p>
                  </a:txBody>
                  <a:tcPr marL="121920" marR="121920" marT="12192" marB="12192" anchor="ctr"/>
                </a:tc>
                <a:tc gridSpan="3">
                  <a:txBody>
                    <a:bodyPr/>
                    <a:lstStyle/>
                    <a:p>
                      <a:pPr marL="0" marR="0" algn="ctr">
                        <a:lnSpc>
                          <a:spcPct val="115000"/>
                        </a:lnSpc>
                        <a:spcBef>
                          <a:spcPts val="300"/>
                        </a:spcBef>
                        <a:spcAft>
                          <a:spcPts val="300"/>
                        </a:spcAft>
                      </a:pPr>
                      <a:r>
                        <a:rPr lang="en-US" sz="1800" dirty="0">
                          <a:effectLst/>
                        </a:rPr>
                        <a:t>44%</a:t>
                      </a:r>
                      <a:endParaRPr lang="en-US" sz="1800" b="0" dirty="0">
                        <a:solidFill>
                          <a:srgbClr val="0E262C"/>
                        </a:solidFill>
                        <a:effectLst/>
                        <a:latin typeface="+mn-lt"/>
                        <a:ea typeface="Times New Roman"/>
                        <a:cs typeface="Arial" panose="020B0604020202020204" pitchFamily="34" charset="0"/>
                      </a:endParaRPr>
                    </a:p>
                  </a:txBody>
                  <a:tcPr marL="121920" marR="121920" marT="12192" marB="12192" anchor="ctr"/>
                </a:tc>
                <a:tc hMerge="1">
                  <a:txBody>
                    <a:bodyPr/>
                    <a:lstStyle/>
                    <a:p>
                      <a:endParaRPr lang="en-US"/>
                    </a:p>
                  </a:txBody>
                  <a:tcPr/>
                </a:tc>
                <a:tc hMerge="1">
                  <a:txBody>
                    <a:bodyPr/>
                    <a:lstStyle/>
                    <a:p>
                      <a:endParaRPr lang="en-US"/>
                    </a:p>
                  </a:txBody>
                  <a:tcPr/>
                </a:tc>
                <a:tc gridSpan="3">
                  <a:txBody>
                    <a:bodyPr/>
                    <a:lstStyle/>
                    <a:p>
                      <a:pPr marL="0" marR="0" algn="ctr">
                        <a:lnSpc>
                          <a:spcPct val="115000"/>
                        </a:lnSpc>
                        <a:spcBef>
                          <a:spcPts val="300"/>
                        </a:spcBef>
                        <a:spcAft>
                          <a:spcPts val="300"/>
                        </a:spcAft>
                      </a:pPr>
                      <a:r>
                        <a:rPr lang="en-US" sz="1800" dirty="0">
                          <a:effectLst/>
                        </a:rPr>
                        <a:t>40%</a:t>
                      </a:r>
                      <a:endParaRPr lang="en-US" sz="1800" b="0" dirty="0">
                        <a:solidFill>
                          <a:srgbClr val="0E262C"/>
                        </a:solidFill>
                        <a:effectLst/>
                        <a:latin typeface="+mn-lt"/>
                        <a:ea typeface="Times New Roman"/>
                        <a:cs typeface="Arial" panose="020B0604020202020204" pitchFamily="34" charset="0"/>
                      </a:endParaRPr>
                    </a:p>
                  </a:txBody>
                  <a:tcPr marL="121920" marR="121920" marT="12192" marB="12192" anchor="ct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9"/>
                  </a:ext>
                </a:extLst>
              </a:tr>
              <a:tr h="269748">
                <a:tc>
                  <a:txBody>
                    <a:bodyPr/>
                    <a:lstStyle/>
                    <a:p>
                      <a:pPr marL="91440" marR="0">
                        <a:lnSpc>
                          <a:spcPct val="115000"/>
                        </a:lnSpc>
                        <a:spcBef>
                          <a:spcPts val="300"/>
                        </a:spcBef>
                        <a:spcAft>
                          <a:spcPts val="300"/>
                        </a:spcAft>
                      </a:pPr>
                      <a:r>
                        <a:rPr lang="en-US" sz="1800" dirty="0">
                          <a:effectLst/>
                        </a:rPr>
                        <a:t>Concomitant cardiac device</a:t>
                      </a:r>
                      <a:endParaRPr lang="en-US" sz="1800" b="1" dirty="0">
                        <a:solidFill>
                          <a:srgbClr val="0E262C"/>
                        </a:solidFill>
                        <a:effectLst/>
                        <a:latin typeface="+mn-lt"/>
                        <a:ea typeface="Times New Roman"/>
                        <a:cs typeface="Arial" panose="020B0604020202020204" pitchFamily="34" charset="0"/>
                      </a:endParaRPr>
                    </a:p>
                  </a:txBody>
                  <a:tcPr marL="121920" marR="121920" marT="12192" marB="12192" anchor="ctr"/>
                </a:tc>
                <a:tc gridSpan="3">
                  <a:txBody>
                    <a:bodyPr/>
                    <a:lstStyle/>
                    <a:p>
                      <a:pPr marL="0" marR="0" algn="ctr">
                        <a:lnSpc>
                          <a:spcPct val="115000"/>
                        </a:lnSpc>
                        <a:spcBef>
                          <a:spcPts val="300"/>
                        </a:spcBef>
                        <a:spcAft>
                          <a:spcPts val="300"/>
                        </a:spcAft>
                      </a:pPr>
                      <a:r>
                        <a:rPr lang="en-US" sz="1800" dirty="0">
                          <a:effectLst/>
                        </a:rPr>
                        <a:t>42%</a:t>
                      </a:r>
                      <a:endParaRPr lang="en-US" sz="1800" b="0" dirty="0">
                        <a:solidFill>
                          <a:srgbClr val="0E262C"/>
                        </a:solidFill>
                        <a:effectLst/>
                        <a:latin typeface="+mn-lt"/>
                        <a:ea typeface="Times New Roman"/>
                        <a:cs typeface="Arial" panose="020B0604020202020204" pitchFamily="34" charset="0"/>
                      </a:endParaRPr>
                    </a:p>
                  </a:txBody>
                  <a:tcPr marL="121920" marR="121920" marT="12192" marB="12192" anchor="ctr"/>
                </a:tc>
                <a:tc hMerge="1">
                  <a:txBody>
                    <a:bodyPr/>
                    <a:lstStyle/>
                    <a:p>
                      <a:endParaRPr lang="en-US"/>
                    </a:p>
                  </a:txBody>
                  <a:tcPr/>
                </a:tc>
                <a:tc hMerge="1">
                  <a:txBody>
                    <a:bodyPr/>
                    <a:lstStyle/>
                    <a:p>
                      <a:endParaRPr lang="en-US"/>
                    </a:p>
                  </a:txBody>
                  <a:tcPr/>
                </a:tc>
                <a:tc gridSpan="3">
                  <a:txBody>
                    <a:bodyPr/>
                    <a:lstStyle/>
                    <a:p>
                      <a:pPr marL="0" marR="0" algn="ctr">
                        <a:lnSpc>
                          <a:spcPct val="115000"/>
                        </a:lnSpc>
                        <a:spcBef>
                          <a:spcPts val="300"/>
                        </a:spcBef>
                        <a:spcAft>
                          <a:spcPts val="300"/>
                        </a:spcAft>
                      </a:pPr>
                      <a:r>
                        <a:rPr lang="en-US" sz="1800" dirty="0">
                          <a:effectLst/>
                        </a:rPr>
                        <a:t>42%</a:t>
                      </a:r>
                      <a:endParaRPr lang="en-US" sz="1800" b="0" dirty="0">
                        <a:solidFill>
                          <a:srgbClr val="0E262C"/>
                        </a:solidFill>
                        <a:effectLst/>
                        <a:latin typeface="+mn-lt"/>
                        <a:ea typeface="Times New Roman"/>
                        <a:cs typeface="Arial" panose="020B0604020202020204" pitchFamily="34" charset="0"/>
                      </a:endParaRPr>
                    </a:p>
                  </a:txBody>
                  <a:tcPr marL="121920" marR="121920" marT="12192" marB="12192" anchor="ct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10"/>
                  </a:ext>
                </a:extLst>
              </a:tr>
              <a:tr h="269748">
                <a:tc>
                  <a:txBody>
                    <a:bodyPr/>
                    <a:lstStyle/>
                    <a:p>
                      <a:pPr marL="91440" marR="0">
                        <a:lnSpc>
                          <a:spcPct val="115000"/>
                        </a:lnSpc>
                        <a:spcBef>
                          <a:spcPts val="500"/>
                        </a:spcBef>
                        <a:spcAft>
                          <a:spcPts val="500"/>
                        </a:spcAft>
                      </a:pPr>
                      <a:r>
                        <a:rPr lang="en-US" sz="1800" dirty="0">
                          <a:effectLst/>
                        </a:rPr>
                        <a:t>Apnea hypopnea</a:t>
                      </a:r>
                      <a:r>
                        <a:rPr lang="en-US" sz="1800" baseline="0" dirty="0">
                          <a:effectLst/>
                        </a:rPr>
                        <a:t> </a:t>
                      </a:r>
                      <a:r>
                        <a:rPr lang="en-US" sz="1800" dirty="0">
                          <a:effectLst/>
                        </a:rPr>
                        <a:t>index (events/</a:t>
                      </a:r>
                      <a:r>
                        <a:rPr lang="en-US" sz="1800" dirty="0" err="1">
                          <a:effectLst/>
                        </a:rPr>
                        <a:t>hr</a:t>
                      </a:r>
                      <a:r>
                        <a:rPr lang="en-US" sz="1800" dirty="0">
                          <a:effectLst/>
                        </a:rPr>
                        <a:t>)</a:t>
                      </a:r>
                      <a:endParaRPr lang="en-US" sz="1800" b="0" dirty="0">
                        <a:solidFill>
                          <a:srgbClr val="0E262C"/>
                        </a:solidFill>
                        <a:effectLst/>
                        <a:latin typeface="+mn-lt"/>
                        <a:ea typeface="Times New Roman"/>
                        <a:cs typeface="Arial" panose="020B0604020202020204" pitchFamily="34" charset="0"/>
                      </a:endParaRPr>
                    </a:p>
                  </a:txBody>
                  <a:tcPr marL="121920" marR="121920" marT="12192" marB="12192" anchor="ctr"/>
                </a:tc>
                <a:tc>
                  <a:txBody>
                    <a:bodyPr/>
                    <a:lstStyle/>
                    <a:p>
                      <a:pPr marL="0" marR="0" algn="r">
                        <a:lnSpc>
                          <a:spcPct val="115000"/>
                        </a:lnSpc>
                        <a:spcBef>
                          <a:spcPts val="500"/>
                        </a:spcBef>
                        <a:spcAft>
                          <a:spcPts val="500"/>
                        </a:spcAft>
                      </a:pPr>
                      <a:r>
                        <a:rPr lang="en-US" sz="1800" dirty="0">
                          <a:effectLst/>
                        </a:rPr>
                        <a:t>48.8</a:t>
                      </a:r>
                      <a:endParaRPr lang="en-US" sz="1800" dirty="0">
                        <a:solidFill>
                          <a:srgbClr val="0E262C"/>
                        </a:solidFill>
                        <a:effectLst/>
                        <a:latin typeface="+mn-lt"/>
                        <a:ea typeface="Times New Roman"/>
                        <a:cs typeface="Arial" panose="020B0604020202020204" pitchFamily="34" charset="0"/>
                      </a:endParaRPr>
                    </a:p>
                  </a:txBody>
                  <a:tcPr marL="121920" marR="60960" marT="12192" marB="12192" anchor="ctr"/>
                </a:tc>
                <a:tc>
                  <a:txBody>
                    <a:bodyPr/>
                    <a:lstStyle/>
                    <a:p>
                      <a:pPr marL="0" marR="0" algn="ctr">
                        <a:lnSpc>
                          <a:spcPct val="115000"/>
                        </a:lnSpc>
                        <a:spcBef>
                          <a:spcPts val="500"/>
                        </a:spcBef>
                        <a:spcAft>
                          <a:spcPts val="500"/>
                        </a:spcAft>
                      </a:pPr>
                      <a:r>
                        <a:rPr lang="en-US" sz="1800" dirty="0">
                          <a:effectLst/>
                        </a:rPr>
                        <a:t>±</a:t>
                      </a:r>
                      <a:endParaRPr lang="en-US" sz="1800" dirty="0">
                        <a:solidFill>
                          <a:srgbClr val="0E262C"/>
                        </a:solidFill>
                        <a:effectLst/>
                        <a:latin typeface="+mn-lt"/>
                        <a:ea typeface="Times New Roman"/>
                        <a:cs typeface="Arial" panose="020B0604020202020204" pitchFamily="34" charset="0"/>
                      </a:endParaRPr>
                    </a:p>
                  </a:txBody>
                  <a:tcPr marL="60960" marR="60960" marT="12192" marB="12192" anchor="ctr"/>
                </a:tc>
                <a:tc>
                  <a:txBody>
                    <a:bodyPr/>
                    <a:lstStyle/>
                    <a:p>
                      <a:pPr marL="0" marR="0" algn="l">
                        <a:lnSpc>
                          <a:spcPct val="115000"/>
                        </a:lnSpc>
                        <a:spcBef>
                          <a:spcPts val="500"/>
                        </a:spcBef>
                        <a:spcAft>
                          <a:spcPts val="500"/>
                        </a:spcAft>
                      </a:pPr>
                      <a:r>
                        <a:rPr lang="en-US" sz="1800" dirty="0">
                          <a:effectLst/>
                        </a:rPr>
                        <a:t>19.3</a:t>
                      </a:r>
                      <a:endParaRPr lang="en-US" sz="1800" dirty="0">
                        <a:solidFill>
                          <a:srgbClr val="0E262C"/>
                        </a:solidFill>
                        <a:effectLst/>
                        <a:latin typeface="+mn-lt"/>
                        <a:ea typeface="Times New Roman"/>
                        <a:cs typeface="Arial" panose="020B0604020202020204" pitchFamily="34" charset="0"/>
                      </a:endParaRPr>
                    </a:p>
                  </a:txBody>
                  <a:tcPr marL="60960" marR="121920" marT="12192" marB="12192" anchor="ctr"/>
                </a:tc>
                <a:tc>
                  <a:txBody>
                    <a:bodyPr/>
                    <a:lstStyle/>
                    <a:p>
                      <a:pPr marL="0" marR="0" algn="r">
                        <a:lnSpc>
                          <a:spcPct val="115000"/>
                        </a:lnSpc>
                        <a:spcBef>
                          <a:spcPts val="500"/>
                        </a:spcBef>
                        <a:spcAft>
                          <a:spcPts val="500"/>
                        </a:spcAft>
                      </a:pPr>
                      <a:r>
                        <a:rPr lang="en-US" sz="1800" dirty="0">
                          <a:effectLst/>
                        </a:rPr>
                        <a:t>43.7</a:t>
                      </a:r>
                      <a:endParaRPr lang="en-US" sz="1800" dirty="0">
                        <a:solidFill>
                          <a:srgbClr val="0E262C"/>
                        </a:solidFill>
                        <a:effectLst/>
                        <a:latin typeface="+mn-lt"/>
                        <a:ea typeface="Times New Roman"/>
                        <a:cs typeface="Arial" panose="020B0604020202020204" pitchFamily="34" charset="0"/>
                      </a:endParaRPr>
                    </a:p>
                  </a:txBody>
                  <a:tcPr marL="121920" marR="60960" marT="12192" marB="12192" anchor="ctr"/>
                </a:tc>
                <a:tc>
                  <a:txBody>
                    <a:bodyPr/>
                    <a:lstStyle/>
                    <a:p>
                      <a:pPr marL="0" marR="0" algn="ctr">
                        <a:lnSpc>
                          <a:spcPct val="115000"/>
                        </a:lnSpc>
                        <a:spcBef>
                          <a:spcPts val="500"/>
                        </a:spcBef>
                        <a:spcAft>
                          <a:spcPts val="500"/>
                        </a:spcAft>
                      </a:pPr>
                      <a:r>
                        <a:rPr lang="en-US" sz="1800" dirty="0">
                          <a:effectLst/>
                        </a:rPr>
                        <a:t>±</a:t>
                      </a:r>
                      <a:endParaRPr lang="en-US" sz="1800" dirty="0">
                        <a:solidFill>
                          <a:srgbClr val="0E262C"/>
                        </a:solidFill>
                        <a:effectLst/>
                        <a:latin typeface="+mn-lt"/>
                        <a:ea typeface="Times New Roman"/>
                        <a:cs typeface="Arial" panose="020B0604020202020204" pitchFamily="34" charset="0"/>
                      </a:endParaRPr>
                    </a:p>
                  </a:txBody>
                  <a:tcPr marL="60960" marR="60960" marT="12192" marB="12192" anchor="ctr"/>
                </a:tc>
                <a:tc>
                  <a:txBody>
                    <a:bodyPr/>
                    <a:lstStyle/>
                    <a:p>
                      <a:pPr marL="0" marR="0" algn="l">
                        <a:lnSpc>
                          <a:spcPct val="115000"/>
                        </a:lnSpc>
                        <a:spcBef>
                          <a:spcPts val="500"/>
                        </a:spcBef>
                        <a:spcAft>
                          <a:spcPts val="500"/>
                        </a:spcAft>
                      </a:pPr>
                      <a:r>
                        <a:rPr lang="en-US" sz="1800" dirty="0">
                          <a:effectLst/>
                        </a:rPr>
                        <a:t>16.8</a:t>
                      </a:r>
                      <a:endParaRPr lang="en-US" sz="1800" dirty="0">
                        <a:solidFill>
                          <a:srgbClr val="0E262C"/>
                        </a:solidFill>
                        <a:effectLst/>
                        <a:latin typeface="+mn-lt"/>
                        <a:ea typeface="Times New Roman"/>
                        <a:cs typeface="Arial" panose="020B0604020202020204" pitchFamily="34" charset="0"/>
                      </a:endParaRPr>
                    </a:p>
                  </a:txBody>
                  <a:tcPr marL="60960" marR="121920" marT="12192" marB="12192" anchor="ctr"/>
                </a:tc>
                <a:extLst>
                  <a:ext uri="{0D108BD9-81ED-4DB2-BD59-A6C34878D82A}">
                    <a16:rowId xmlns:a16="http://schemas.microsoft.com/office/drawing/2014/main" val="10011"/>
                  </a:ext>
                </a:extLst>
              </a:tr>
              <a:tr h="269748">
                <a:tc>
                  <a:txBody>
                    <a:bodyPr/>
                    <a:lstStyle/>
                    <a:p>
                      <a:pPr marL="91440" marR="0" algn="l">
                        <a:lnSpc>
                          <a:spcPct val="115000"/>
                        </a:lnSpc>
                        <a:spcBef>
                          <a:spcPts val="500"/>
                        </a:spcBef>
                        <a:spcAft>
                          <a:spcPts val="500"/>
                        </a:spcAft>
                      </a:pPr>
                      <a:r>
                        <a:rPr lang="en-US" sz="1800" dirty="0">
                          <a:effectLst/>
                        </a:rPr>
                        <a:t>     Central apnea index (events/</a:t>
                      </a:r>
                      <a:r>
                        <a:rPr lang="en-US" sz="1800" dirty="0" err="1">
                          <a:effectLst/>
                        </a:rPr>
                        <a:t>hr</a:t>
                      </a:r>
                      <a:r>
                        <a:rPr lang="en-US" sz="1800" dirty="0">
                          <a:effectLst/>
                        </a:rPr>
                        <a:t>)</a:t>
                      </a:r>
                      <a:endParaRPr lang="en-US" sz="1800" b="0" dirty="0">
                        <a:solidFill>
                          <a:srgbClr val="0E262C"/>
                        </a:solidFill>
                        <a:effectLst/>
                        <a:latin typeface="+mn-lt"/>
                        <a:ea typeface="Times New Roman"/>
                        <a:cs typeface="Arial" panose="020B0604020202020204" pitchFamily="34" charset="0"/>
                      </a:endParaRPr>
                    </a:p>
                  </a:txBody>
                  <a:tcPr marL="121920" marR="121920" marT="12192" marB="12192" anchor="ctr"/>
                </a:tc>
                <a:tc>
                  <a:txBody>
                    <a:bodyPr/>
                    <a:lstStyle/>
                    <a:p>
                      <a:pPr marL="0" marR="0" algn="r">
                        <a:lnSpc>
                          <a:spcPct val="115000"/>
                        </a:lnSpc>
                        <a:spcBef>
                          <a:spcPts val="500"/>
                        </a:spcBef>
                        <a:spcAft>
                          <a:spcPts val="500"/>
                        </a:spcAft>
                      </a:pPr>
                      <a:r>
                        <a:rPr lang="en-US" sz="1800" dirty="0">
                          <a:effectLst/>
                        </a:rPr>
                        <a:t>30.0</a:t>
                      </a:r>
                      <a:endParaRPr lang="en-US" sz="1800" dirty="0">
                        <a:solidFill>
                          <a:srgbClr val="0E262C"/>
                        </a:solidFill>
                        <a:effectLst/>
                        <a:latin typeface="+mn-lt"/>
                        <a:ea typeface="Times New Roman"/>
                        <a:cs typeface="Arial" panose="020B0604020202020204" pitchFamily="34" charset="0"/>
                      </a:endParaRPr>
                    </a:p>
                  </a:txBody>
                  <a:tcPr marL="121920" marR="60960" marT="12192" marB="12192" anchor="ctr"/>
                </a:tc>
                <a:tc>
                  <a:txBody>
                    <a:bodyPr/>
                    <a:lstStyle/>
                    <a:p>
                      <a:pPr marL="0" marR="0" algn="ctr">
                        <a:lnSpc>
                          <a:spcPct val="115000"/>
                        </a:lnSpc>
                        <a:spcBef>
                          <a:spcPts val="500"/>
                        </a:spcBef>
                        <a:spcAft>
                          <a:spcPts val="500"/>
                        </a:spcAft>
                      </a:pPr>
                      <a:r>
                        <a:rPr lang="en-US" sz="1800" dirty="0">
                          <a:effectLst/>
                        </a:rPr>
                        <a:t>±</a:t>
                      </a:r>
                      <a:endParaRPr lang="en-US" sz="1800" dirty="0">
                        <a:solidFill>
                          <a:srgbClr val="0E262C"/>
                        </a:solidFill>
                        <a:effectLst/>
                        <a:latin typeface="+mn-lt"/>
                        <a:ea typeface="Times New Roman"/>
                        <a:cs typeface="Arial" panose="020B0604020202020204" pitchFamily="34" charset="0"/>
                      </a:endParaRPr>
                    </a:p>
                  </a:txBody>
                  <a:tcPr marL="60960" marR="60960" marT="12192" marB="12192" anchor="ctr"/>
                </a:tc>
                <a:tc>
                  <a:txBody>
                    <a:bodyPr/>
                    <a:lstStyle/>
                    <a:p>
                      <a:pPr marL="0" marR="0" algn="l">
                        <a:lnSpc>
                          <a:spcPct val="115000"/>
                        </a:lnSpc>
                        <a:spcBef>
                          <a:spcPts val="500"/>
                        </a:spcBef>
                        <a:spcAft>
                          <a:spcPts val="500"/>
                        </a:spcAft>
                      </a:pPr>
                      <a:r>
                        <a:rPr lang="en-US" sz="1800" dirty="0">
                          <a:effectLst/>
                        </a:rPr>
                        <a:t>18.0</a:t>
                      </a:r>
                      <a:endParaRPr lang="en-US" sz="1800" dirty="0">
                        <a:solidFill>
                          <a:srgbClr val="0E262C"/>
                        </a:solidFill>
                        <a:effectLst/>
                        <a:latin typeface="+mn-lt"/>
                        <a:ea typeface="Times New Roman"/>
                        <a:cs typeface="Arial" panose="020B0604020202020204" pitchFamily="34" charset="0"/>
                      </a:endParaRPr>
                    </a:p>
                  </a:txBody>
                  <a:tcPr marL="60960" marR="121920" marT="12192" marB="12192" anchor="ctr"/>
                </a:tc>
                <a:tc>
                  <a:txBody>
                    <a:bodyPr/>
                    <a:lstStyle/>
                    <a:p>
                      <a:pPr marL="0" marR="0" algn="r">
                        <a:lnSpc>
                          <a:spcPct val="115000"/>
                        </a:lnSpc>
                        <a:spcBef>
                          <a:spcPts val="500"/>
                        </a:spcBef>
                        <a:spcAft>
                          <a:spcPts val="500"/>
                        </a:spcAft>
                      </a:pPr>
                      <a:r>
                        <a:rPr lang="en-US" sz="1800" dirty="0">
                          <a:effectLst/>
                        </a:rPr>
                        <a:t>26.6</a:t>
                      </a:r>
                      <a:endParaRPr lang="en-US" sz="1800" dirty="0">
                        <a:solidFill>
                          <a:srgbClr val="0E262C"/>
                        </a:solidFill>
                        <a:effectLst/>
                        <a:latin typeface="+mn-lt"/>
                        <a:ea typeface="Times New Roman"/>
                        <a:cs typeface="Arial" panose="020B0604020202020204" pitchFamily="34" charset="0"/>
                      </a:endParaRPr>
                    </a:p>
                  </a:txBody>
                  <a:tcPr marL="121920" marR="60960" marT="12192" marB="12192" anchor="ctr"/>
                </a:tc>
                <a:tc>
                  <a:txBody>
                    <a:bodyPr/>
                    <a:lstStyle/>
                    <a:p>
                      <a:pPr marL="0" marR="0" algn="ctr">
                        <a:lnSpc>
                          <a:spcPct val="115000"/>
                        </a:lnSpc>
                        <a:spcBef>
                          <a:spcPts val="500"/>
                        </a:spcBef>
                        <a:spcAft>
                          <a:spcPts val="500"/>
                        </a:spcAft>
                      </a:pPr>
                      <a:r>
                        <a:rPr lang="en-US" sz="1800" dirty="0">
                          <a:effectLst/>
                        </a:rPr>
                        <a:t>±</a:t>
                      </a:r>
                      <a:endParaRPr lang="en-US" sz="1800" dirty="0">
                        <a:solidFill>
                          <a:srgbClr val="0E262C"/>
                        </a:solidFill>
                        <a:effectLst/>
                        <a:latin typeface="+mn-lt"/>
                        <a:ea typeface="Times New Roman"/>
                        <a:cs typeface="Arial" panose="020B0604020202020204" pitchFamily="34" charset="0"/>
                      </a:endParaRPr>
                    </a:p>
                  </a:txBody>
                  <a:tcPr marL="60960" marR="60960" marT="12192" marB="12192" anchor="ctr"/>
                </a:tc>
                <a:tc>
                  <a:txBody>
                    <a:bodyPr/>
                    <a:lstStyle/>
                    <a:p>
                      <a:pPr marL="0" marR="0" algn="l">
                        <a:lnSpc>
                          <a:spcPct val="115000"/>
                        </a:lnSpc>
                        <a:spcBef>
                          <a:spcPts val="500"/>
                        </a:spcBef>
                        <a:spcAft>
                          <a:spcPts val="500"/>
                        </a:spcAft>
                      </a:pPr>
                      <a:r>
                        <a:rPr lang="en-US" sz="1800" dirty="0">
                          <a:effectLst/>
                        </a:rPr>
                        <a:t>16.1</a:t>
                      </a:r>
                      <a:endParaRPr lang="en-US" sz="1800" dirty="0">
                        <a:solidFill>
                          <a:srgbClr val="0E262C"/>
                        </a:solidFill>
                        <a:effectLst/>
                        <a:latin typeface="+mn-lt"/>
                        <a:ea typeface="Times New Roman"/>
                        <a:cs typeface="Arial" panose="020B0604020202020204" pitchFamily="34" charset="0"/>
                      </a:endParaRPr>
                    </a:p>
                  </a:txBody>
                  <a:tcPr marL="60960" marR="121920" marT="12192" marB="12192" anchor="ctr"/>
                </a:tc>
                <a:extLst>
                  <a:ext uri="{0D108BD9-81ED-4DB2-BD59-A6C34878D82A}">
                    <a16:rowId xmlns:a16="http://schemas.microsoft.com/office/drawing/2014/main" val="10012"/>
                  </a:ext>
                </a:extLst>
              </a:tr>
              <a:tr h="269748">
                <a:tc>
                  <a:txBody>
                    <a:bodyPr/>
                    <a:lstStyle/>
                    <a:p>
                      <a:pPr marL="91440" marR="0" algn="l">
                        <a:lnSpc>
                          <a:spcPct val="115000"/>
                        </a:lnSpc>
                        <a:spcBef>
                          <a:spcPts val="500"/>
                        </a:spcBef>
                        <a:spcAft>
                          <a:spcPts val="500"/>
                        </a:spcAft>
                      </a:pPr>
                      <a:r>
                        <a:rPr lang="en-US" sz="1800" dirty="0">
                          <a:effectLst/>
                        </a:rPr>
                        <a:t>Epworth sleepiness</a:t>
                      </a:r>
                      <a:r>
                        <a:rPr lang="en-US" sz="1800" baseline="0" dirty="0">
                          <a:effectLst/>
                        </a:rPr>
                        <a:t> scale (points)</a:t>
                      </a:r>
                      <a:endParaRPr lang="en-US" sz="1800" b="0" dirty="0">
                        <a:solidFill>
                          <a:srgbClr val="0E262C"/>
                        </a:solidFill>
                        <a:effectLst/>
                        <a:latin typeface="+mn-lt"/>
                        <a:ea typeface="Times New Roman"/>
                        <a:cs typeface="Arial" panose="020B0604020202020204" pitchFamily="34" charset="0"/>
                      </a:endParaRPr>
                    </a:p>
                  </a:txBody>
                  <a:tcPr marL="121920" marR="121920" marT="12192" marB="12192" anchor="ctr"/>
                </a:tc>
                <a:tc>
                  <a:txBody>
                    <a:bodyPr/>
                    <a:lstStyle/>
                    <a:p>
                      <a:pPr marL="0" marR="0" algn="r">
                        <a:lnSpc>
                          <a:spcPct val="115000"/>
                        </a:lnSpc>
                        <a:spcBef>
                          <a:spcPts val="500"/>
                        </a:spcBef>
                        <a:spcAft>
                          <a:spcPts val="500"/>
                        </a:spcAft>
                      </a:pPr>
                      <a:r>
                        <a:rPr lang="en-US" sz="1800" dirty="0">
                          <a:effectLst/>
                        </a:rPr>
                        <a:t>10.2</a:t>
                      </a:r>
                      <a:endParaRPr lang="en-US" sz="1800" dirty="0">
                        <a:solidFill>
                          <a:srgbClr val="0E262C"/>
                        </a:solidFill>
                        <a:effectLst/>
                        <a:latin typeface="+mn-lt"/>
                        <a:ea typeface="Times New Roman"/>
                        <a:cs typeface="Arial" panose="020B0604020202020204" pitchFamily="34" charset="0"/>
                      </a:endParaRPr>
                    </a:p>
                  </a:txBody>
                  <a:tcPr marL="121920" marR="60960" marT="12192" marB="12192" anchor="ctr"/>
                </a:tc>
                <a:tc>
                  <a:txBody>
                    <a:bodyPr/>
                    <a:lstStyle/>
                    <a:p>
                      <a:pPr marL="0" marR="0" algn="ctr">
                        <a:lnSpc>
                          <a:spcPct val="115000"/>
                        </a:lnSpc>
                        <a:spcBef>
                          <a:spcPts val="500"/>
                        </a:spcBef>
                        <a:spcAft>
                          <a:spcPts val="500"/>
                        </a:spcAft>
                      </a:pPr>
                      <a:r>
                        <a:rPr lang="en-US" sz="1800" dirty="0">
                          <a:effectLst/>
                        </a:rPr>
                        <a:t>±</a:t>
                      </a:r>
                      <a:endParaRPr lang="en-US" sz="1800" dirty="0">
                        <a:solidFill>
                          <a:srgbClr val="0E262C"/>
                        </a:solidFill>
                        <a:effectLst/>
                        <a:latin typeface="+mn-lt"/>
                        <a:ea typeface="Times New Roman"/>
                        <a:cs typeface="Arial" panose="020B0604020202020204" pitchFamily="34" charset="0"/>
                      </a:endParaRPr>
                    </a:p>
                  </a:txBody>
                  <a:tcPr marL="60960" marR="60960" marT="12192" marB="12192" anchor="ctr"/>
                </a:tc>
                <a:tc>
                  <a:txBody>
                    <a:bodyPr/>
                    <a:lstStyle/>
                    <a:p>
                      <a:pPr marL="0" marR="0" algn="l">
                        <a:lnSpc>
                          <a:spcPct val="115000"/>
                        </a:lnSpc>
                        <a:spcBef>
                          <a:spcPts val="500"/>
                        </a:spcBef>
                        <a:spcAft>
                          <a:spcPts val="500"/>
                        </a:spcAft>
                      </a:pPr>
                      <a:r>
                        <a:rPr lang="en-US" sz="1800" dirty="0">
                          <a:effectLst/>
                        </a:rPr>
                        <a:t>5.2</a:t>
                      </a:r>
                      <a:endParaRPr lang="en-US" sz="1800" dirty="0">
                        <a:solidFill>
                          <a:srgbClr val="0E262C"/>
                        </a:solidFill>
                        <a:effectLst/>
                        <a:latin typeface="+mn-lt"/>
                        <a:ea typeface="Times New Roman"/>
                        <a:cs typeface="Arial" panose="020B0604020202020204" pitchFamily="34" charset="0"/>
                      </a:endParaRPr>
                    </a:p>
                  </a:txBody>
                  <a:tcPr marL="60960" marR="121920" marT="12192" marB="12192" anchor="ctr"/>
                </a:tc>
                <a:tc>
                  <a:txBody>
                    <a:bodyPr/>
                    <a:lstStyle/>
                    <a:p>
                      <a:pPr marL="0" marR="0" algn="r">
                        <a:lnSpc>
                          <a:spcPct val="115000"/>
                        </a:lnSpc>
                        <a:spcBef>
                          <a:spcPts val="500"/>
                        </a:spcBef>
                        <a:spcAft>
                          <a:spcPts val="500"/>
                        </a:spcAft>
                      </a:pPr>
                      <a:r>
                        <a:rPr lang="en-US" sz="1800" dirty="0">
                          <a:effectLst/>
                        </a:rPr>
                        <a:t>9.5</a:t>
                      </a:r>
                      <a:endParaRPr lang="en-US" sz="1800" dirty="0">
                        <a:solidFill>
                          <a:srgbClr val="0E262C"/>
                        </a:solidFill>
                        <a:effectLst/>
                        <a:latin typeface="+mn-lt"/>
                        <a:ea typeface="Times New Roman"/>
                        <a:cs typeface="Arial" panose="020B0604020202020204" pitchFamily="34" charset="0"/>
                      </a:endParaRPr>
                    </a:p>
                  </a:txBody>
                  <a:tcPr marL="121920" marR="60960" marT="12192" marB="12192" anchor="ctr"/>
                </a:tc>
                <a:tc>
                  <a:txBody>
                    <a:bodyPr/>
                    <a:lstStyle/>
                    <a:p>
                      <a:pPr marL="0" marR="0" algn="ctr">
                        <a:lnSpc>
                          <a:spcPct val="115000"/>
                        </a:lnSpc>
                        <a:spcBef>
                          <a:spcPts val="500"/>
                        </a:spcBef>
                        <a:spcAft>
                          <a:spcPts val="500"/>
                        </a:spcAft>
                      </a:pPr>
                      <a:r>
                        <a:rPr lang="en-US" sz="1800" dirty="0">
                          <a:effectLst/>
                        </a:rPr>
                        <a:t>±</a:t>
                      </a:r>
                      <a:endParaRPr lang="en-US" sz="1800" dirty="0">
                        <a:solidFill>
                          <a:srgbClr val="0E262C"/>
                        </a:solidFill>
                        <a:effectLst/>
                        <a:latin typeface="+mn-lt"/>
                        <a:ea typeface="Times New Roman"/>
                        <a:cs typeface="Arial" panose="020B0604020202020204" pitchFamily="34" charset="0"/>
                      </a:endParaRPr>
                    </a:p>
                  </a:txBody>
                  <a:tcPr marL="60960" marR="60960" marT="12192" marB="12192" anchor="ctr"/>
                </a:tc>
                <a:tc>
                  <a:txBody>
                    <a:bodyPr/>
                    <a:lstStyle/>
                    <a:p>
                      <a:pPr marL="0" marR="0" algn="l">
                        <a:lnSpc>
                          <a:spcPct val="115000"/>
                        </a:lnSpc>
                        <a:spcBef>
                          <a:spcPts val="500"/>
                        </a:spcBef>
                        <a:spcAft>
                          <a:spcPts val="500"/>
                        </a:spcAft>
                      </a:pPr>
                      <a:r>
                        <a:rPr lang="en-US" sz="1800" dirty="0">
                          <a:effectLst/>
                        </a:rPr>
                        <a:t>5.8</a:t>
                      </a:r>
                      <a:endParaRPr lang="en-US" sz="1800" dirty="0">
                        <a:solidFill>
                          <a:srgbClr val="0E262C"/>
                        </a:solidFill>
                        <a:effectLst/>
                        <a:latin typeface="+mn-lt"/>
                        <a:ea typeface="Times New Roman"/>
                        <a:cs typeface="Arial" panose="020B0604020202020204" pitchFamily="34" charset="0"/>
                      </a:endParaRPr>
                    </a:p>
                  </a:txBody>
                  <a:tcPr marL="60960" marR="121920" marT="12192" marB="12192" anchor="ctr"/>
                </a:tc>
                <a:extLst>
                  <a:ext uri="{0D108BD9-81ED-4DB2-BD59-A6C34878D82A}">
                    <a16:rowId xmlns:a16="http://schemas.microsoft.com/office/drawing/2014/main" val="10016"/>
                  </a:ext>
                </a:extLst>
              </a:tr>
            </a:tbl>
          </a:graphicData>
        </a:graphic>
      </p:graphicFrame>
      <p:sp>
        <p:nvSpPr>
          <p:cNvPr id="3" name="Rectangle 2"/>
          <p:cNvSpPr/>
          <p:nvPr/>
        </p:nvSpPr>
        <p:spPr>
          <a:xfrm>
            <a:off x="573088" y="4911703"/>
            <a:ext cx="10035653" cy="502573"/>
          </a:xfrm>
          <a:prstGeom prst="rect">
            <a:avLst/>
          </a:prstGeom>
        </p:spPr>
        <p:txBody>
          <a:bodyPr wrap="square">
            <a:spAutoFit/>
          </a:bodyPr>
          <a:lstStyle/>
          <a:p>
            <a:pPr indent="-609585" defTabSz="609585">
              <a:defRPr/>
            </a:pPr>
            <a:r>
              <a:rPr lang="en-US" sz="1333" i="1" baseline="30000" dirty="0">
                <a:solidFill>
                  <a:srgbClr val="0E262C"/>
                </a:solidFill>
                <a:latin typeface="Calibri"/>
              </a:rPr>
              <a:t>1</a:t>
            </a:r>
            <a:r>
              <a:rPr lang="en-US" sz="1333" i="1" dirty="0">
                <a:solidFill>
                  <a:srgbClr val="0E262C"/>
                </a:solidFill>
                <a:latin typeface="Calibri"/>
              </a:rPr>
              <a:t> Required the investigator to assign a NYHA Class at the Baseline physical exam</a:t>
            </a:r>
            <a:r>
              <a:rPr lang="en-US" sz="1333" i="1" dirty="0">
                <a:solidFill>
                  <a:srgbClr val="0E262C"/>
                </a:solidFill>
              </a:rPr>
              <a:t>. 58% of patients had an EF &lt;= 45%. </a:t>
            </a:r>
            <a:endParaRPr lang="en-US" sz="1333" i="1" dirty="0">
              <a:solidFill>
                <a:srgbClr val="0E262C"/>
              </a:solidFill>
              <a:latin typeface="Calibri"/>
            </a:endParaRPr>
          </a:p>
          <a:p>
            <a:pPr indent="-609585" defTabSz="609585">
              <a:defRPr/>
            </a:pPr>
            <a:r>
              <a:rPr lang="en-US" sz="1333" i="1" dirty="0">
                <a:solidFill>
                  <a:prstClr val="black"/>
                </a:solidFill>
                <a:latin typeface="Calibri"/>
              </a:rPr>
              <a:t>  </a:t>
            </a:r>
            <a:r>
              <a:rPr lang="en-US" sz="1333" i="1" dirty="0">
                <a:solidFill>
                  <a:srgbClr val="0E262C"/>
                </a:solidFill>
                <a:latin typeface="Calibri"/>
              </a:rPr>
              <a:t>Mean ± SD for continuous variables/Percent for categorical variables. All nominal p-values ≥ 0.075</a:t>
            </a:r>
          </a:p>
        </p:txBody>
      </p:sp>
      <p:sp>
        <p:nvSpPr>
          <p:cNvPr id="8" name="TextBox 7"/>
          <p:cNvSpPr txBox="1"/>
          <p:nvPr/>
        </p:nvSpPr>
        <p:spPr>
          <a:xfrm>
            <a:off x="573088" y="6051142"/>
            <a:ext cx="5119657" cy="246221"/>
          </a:xfrm>
          <a:prstGeom prst="rect">
            <a:avLst/>
          </a:prstGeom>
          <a:noFill/>
        </p:spPr>
        <p:txBody>
          <a:bodyPr wrap="square" rtlCol="0">
            <a:spAutoFit/>
          </a:bodyPr>
          <a:lstStyle/>
          <a:p>
            <a:r>
              <a:rPr lang="en-US" sz="1000" dirty="0"/>
              <a:t>Costanzo MR, et al.  The Lancet 2016;388:974-82</a:t>
            </a:r>
          </a:p>
        </p:txBody>
      </p:sp>
      <p:sp>
        <p:nvSpPr>
          <p:cNvPr id="9" name="Slide Number Placeholder 8">
            <a:extLst>
              <a:ext uri="{FF2B5EF4-FFF2-40B4-BE49-F238E27FC236}">
                <a16:creationId xmlns:a16="http://schemas.microsoft.com/office/drawing/2014/main" id="{54E9E13B-7470-C1DD-5F72-81A9FE375AE7}"/>
              </a:ext>
            </a:extLst>
          </p:cNvPr>
          <p:cNvSpPr>
            <a:spLocks noGrp="1"/>
          </p:cNvSpPr>
          <p:nvPr>
            <p:ph type="sldNum" sz="quarter" idx="12"/>
          </p:nvPr>
        </p:nvSpPr>
        <p:spPr/>
        <p:txBody>
          <a:bodyPr/>
          <a:lstStyle/>
          <a:p>
            <a:fld id="{21D51F98-DEF0-4E23-AE94-24E7CFC19B28}" type="slidenum">
              <a:rPr lang="en-US" smtClean="0"/>
              <a:t>49</a:t>
            </a:fld>
            <a:endParaRPr lang="en-US"/>
          </a:p>
        </p:txBody>
      </p:sp>
      <p:sp>
        <p:nvSpPr>
          <p:cNvPr id="11" name="Footer Placeholder 5">
            <a:extLst>
              <a:ext uri="{FF2B5EF4-FFF2-40B4-BE49-F238E27FC236}">
                <a16:creationId xmlns:a16="http://schemas.microsoft.com/office/drawing/2014/main" id="{356D61B0-17B5-A87B-596E-8D322F61822C}"/>
              </a:ext>
            </a:extLst>
          </p:cNvPr>
          <p:cNvSpPr>
            <a:spLocks noGrp="1"/>
          </p:cNvSpPr>
          <p:nvPr>
            <p:ph type="ftr" sz="quarter" idx="11"/>
          </p:nvPr>
        </p:nvSpPr>
        <p:spPr>
          <a:xfrm>
            <a:off x="3684598" y="6459785"/>
            <a:ext cx="4822804" cy="365125"/>
          </a:xfrm>
        </p:spPr>
        <p:txBody>
          <a:bodyPr/>
          <a:lstStyle/>
          <a:p>
            <a:r>
              <a:rPr lang="en-US" dirty="0"/>
              <a:t>MAF1937 Rev E</a:t>
            </a:r>
          </a:p>
        </p:txBody>
      </p:sp>
    </p:spTree>
    <p:extLst>
      <p:ext uri="{BB962C8B-B14F-4D97-AF65-F5344CB8AC3E}">
        <p14:creationId xmlns:p14="http://schemas.microsoft.com/office/powerpoint/2010/main" val="100151841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98C59B90-BAD6-8A2B-063D-19F1C54B90C5}"/>
              </a:ext>
            </a:extLst>
          </p:cNvPr>
          <p:cNvSpPr>
            <a:spLocks noGrp="1"/>
          </p:cNvSpPr>
          <p:nvPr>
            <p:ph type="sldNum" sz="quarter" idx="12"/>
          </p:nvPr>
        </p:nvSpPr>
        <p:spPr/>
        <p:txBody>
          <a:bodyPr/>
          <a:lstStyle/>
          <a:p>
            <a:fld id="{21D51F98-DEF0-4E23-AE94-24E7CFC19B28}" type="slidenum">
              <a:rPr lang="en-US" smtClean="0"/>
              <a:t>5</a:t>
            </a:fld>
            <a:endParaRPr lang="en-US" dirty="0"/>
          </a:p>
        </p:txBody>
      </p:sp>
      <p:sp>
        <p:nvSpPr>
          <p:cNvPr id="2" name="Title 1">
            <a:extLst>
              <a:ext uri="{FF2B5EF4-FFF2-40B4-BE49-F238E27FC236}">
                <a16:creationId xmlns:a16="http://schemas.microsoft.com/office/drawing/2014/main" id="{2AAE220A-BE14-415A-8DBC-6E71A1FAC24C}"/>
              </a:ext>
            </a:extLst>
          </p:cNvPr>
          <p:cNvSpPr>
            <a:spLocks noGrp="1"/>
          </p:cNvSpPr>
          <p:nvPr>
            <p:ph type="title" idx="4294967295"/>
          </p:nvPr>
        </p:nvSpPr>
        <p:spPr>
          <a:xfrm>
            <a:off x="498070" y="145927"/>
            <a:ext cx="10058400" cy="657225"/>
          </a:xfrm>
        </p:spPr>
        <p:txBody>
          <a:bodyPr>
            <a:normAutofit fontScale="90000"/>
          </a:bodyPr>
          <a:lstStyle/>
          <a:p>
            <a:r>
              <a:rPr lang="en-US" sz="3600" b="1" dirty="0">
                <a:solidFill>
                  <a:schemeClr val="accent2"/>
                </a:solidFill>
                <a:latin typeface="+mn-lt"/>
              </a:rPr>
              <a:t>Sleep Disordered Breathing and Days with Atrial Fibrillation</a:t>
            </a:r>
          </a:p>
        </p:txBody>
      </p:sp>
      <p:sp>
        <p:nvSpPr>
          <p:cNvPr id="8" name="Footer Placeholder 3">
            <a:extLst>
              <a:ext uri="{FF2B5EF4-FFF2-40B4-BE49-F238E27FC236}">
                <a16:creationId xmlns:a16="http://schemas.microsoft.com/office/drawing/2014/main" id="{B794DEB3-DFB8-6C5D-E5BD-CE6A6EF91DA5}"/>
              </a:ext>
            </a:extLst>
          </p:cNvPr>
          <p:cNvSpPr txBox="1">
            <a:spLocks/>
          </p:cNvSpPr>
          <p:nvPr/>
        </p:nvSpPr>
        <p:spPr>
          <a:xfrm>
            <a:off x="97169" y="6015042"/>
            <a:ext cx="4822804" cy="365125"/>
          </a:xfrm>
          <a:prstGeom prst="rect">
            <a:avLst/>
          </a:prstGeom>
        </p:spPr>
        <p:txBody>
          <a:bodyPr vert="horz" lIns="91440" tIns="45720" rIns="91440" bIns="45720" rtlCol="0" anchor="ctr"/>
          <a:lstStyle>
            <a:defPPr>
              <a:defRPr lang="en-US"/>
            </a:defPPr>
            <a:lvl1pPr marL="0" algn="ctr" defTabSz="457200" rtl="0" eaLnBrk="1" latinLnBrk="0" hangingPunct="1">
              <a:defRPr sz="900" kern="1200" cap="all" baseline="0">
                <a:solidFill>
                  <a:srgbClr val="FFFFFF"/>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cap="none" dirty="0">
                <a:solidFill>
                  <a:schemeClr val="tx1"/>
                </a:solidFill>
              </a:rPr>
              <a:t>Linz, et al. Am Coll Card EP 2019;5:692–701 </a:t>
            </a:r>
          </a:p>
        </p:txBody>
      </p:sp>
      <p:pic>
        <p:nvPicPr>
          <p:cNvPr id="10" name="Picture 9">
            <a:extLst>
              <a:ext uri="{FF2B5EF4-FFF2-40B4-BE49-F238E27FC236}">
                <a16:creationId xmlns:a16="http://schemas.microsoft.com/office/drawing/2014/main" id="{9DD729A1-D44E-414E-FB7C-0B3F9063FB53}"/>
              </a:ext>
            </a:extLst>
          </p:cNvPr>
          <p:cNvPicPr>
            <a:picLocks noChangeAspect="1"/>
          </p:cNvPicPr>
          <p:nvPr/>
        </p:nvPicPr>
        <p:blipFill rotWithShape="1">
          <a:blip r:embed="rId2"/>
          <a:srcRect t="2435"/>
          <a:stretch/>
        </p:blipFill>
        <p:spPr>
          <a:xfrm>
            <a:off x="2428672" y="958787"/>
            <a:ext cx="7156963" cy="4558031"/>
          </a:xfrm>
          <a:prstGeom prst="rect">
            <a:avLst/>
          </a:prstGeom>
        </p:spPr>
      </p:pic>
      <p:sp>
        <p:nvSpPr>
          <p:cNvPr id="11" name="TextBox 10">
            <a:extLst>
              <a:ext uri="{FF2B5EF4-FFF2-40B4-BE49-F238E27FC236}">
                <a16:creationId xmlns:a16="http://schemas.microsoft.com/office/drawing/2014/main" id="{6B0B7682-6C49-7086-13CF-13632D2DA4EF}"/>
              </a:ext>
            </a:extLst>
          </p:cNvPr>
          <p:cNvSpPr txBox="1"/>
          <p:nvPr/>
        </p:nvSpPr>
        <p:spPr>
          <a:xfrm>
            <a:off x="2342332" y="5597441"/>
            <a:ext cx="7742701" cy="600164"/>
          </a:xfrm>
          <a:prstGeom prst="rect">
            <a:avLst/>
          </a:prstGeom>
          <a:noFill/>
        </p:spPr>
        <p:txBody>
          <a:bodyPr wrap="square" rtlCol="0">
            <a:spAutoFit/>
          </a:bodyPr>
          <a:lstStyle/>
          <a:p>
            <a:r>
              <a:rPr lang="en-US" sz="1100" dirty="0"/>
              <a:t>Percentage of days with at least &gt;5 min, &gt;1 h, and &gt;12 h of AF for each within-patient quartile (Q1 to 4) of SDB severity, assessed by nightly RDI. Pie chart black sections indicate days with at least &gt;5 min, &gt;1 h, and &gt;12 h of AF; yellow sections indicate days without at least &gt;5 min, &gt;1 h, and &gt;12 h of AF</a:t>
            </a:r>
          </a:p>
        </p:txBody>
      </p:sp>
      <p:sp>
        <p:nvSpPr>
          <p:cNvPr id="7" name="Footer Placeholder 5">
            <a:extLst>
              <a:ext uri="{FF2B5EF4-FFF2-40B4-BE49-F238E27FC236}">
                <a16:creationId xmlns:a16="http://schemas.microsoft.com/office/drawing/2014/main" id="{719F44B9-F2EE-6046-2726-5D07DDA4B13A}"/>
              </a:ext>
            </a:extLst>
          </p:cNvPr>
          <p:cNvSpPr>
            <a:spLocks noGrp="1"/>
          </p:cNvSpPr>
          <p:nvPr>
            <p:ph type="ftr" sz="quarter" idx="11"/>
          </p:nvPr>
        </p:nvSpPr>
        <p:spPr>
          <a:xfrm>
            <a:off x="3684598" y="6459785"/>
            <a:ext cx="4822804" cy="365125"/>
          </a:xfrm>
        </p:spPr>
        <p:txBody>
          <a:bodyPr/>
          <a:lstStyle/>
          <a:p>
            <a:r>
              <a:rPr lang="en-US" dirty="0"/>
              <a:t>MAF1937 Rev E</a:t>
            </a:r>
          </a:p>
        </p:txBody>
      </p:sp>
    </p:spTree>
    <p:extLst>
      <p:ext uri="{BB962C8B-B14F-4D97-AF65-F5344CB8AC3E}">
        <p14:creationId xmlns:p14="http://schemas.microsoft.com/office/powerpoint/2010/main" val="2773405974"/>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extBox 15"/>
          <p:cNvSpPr txBox="1"/>
          <p:nvPr/>
        </p:nvSpPr>
        <p:spPr>
          <a:xfrm>
            <a:off x="228695" y="5767805"/>
            <a:ext cx="7839351" cy="553998"/>
          </a:xfrm>
          <a:prstGeom prst="rect">
            <a:avLst/>
          </a:prstGeom>
          <a:noFill/>
        </p:spPr>
        <p:txBody>
          <a:bodyPr wrap="square" rtlCol="0">
            <a:spAutoFit/>
          </a:bodyPr>
          <a:lstStyle/>
          <a:p>
            <a:r>
              <a:rPr lang="en-US" sz="1000" dirty="0"/>
              <a:t>1. Costanzo MR, et al. Lancet. 2016; 388: 974–82.</a:t>
            </a:r>
          </a:p>
          <a:p>
            <a:r>
              <a:rPr lang="en-US" sz="1000" dirty="0"/>
              <a:t>2. 48% of the control group had a decrease in AHI.</a:t>
            </a:r>
          </a:p>
          <a:p>
            <a:r>
              <a:rPr lang="en-US" sz="1000" dirty="0"/>
              <a:t>3. Costanzo M, et al. Am J </a:t>
            </a:r>
            <a:r>
              <a:rPr lang="en-US" sz="1000" dirty="0" err="1"/>
              <a:t>Cardiol</a:t>
            </a:r>
            <a:r>
              <a:rPr lang="en-US" sz="1000" dirty="0"/>
              <a:t> 2018;121:1400-1408</a:t>
            </a:r>
          </a:p>
        </p:txBody>
      </p:sp>
      <p:graphicFrame>
        <p:nvGraphicFramePr>
          <p:cNvPr id="43" name="Object 42" hidden="1"/>
          <p:cNvGraphicFramePr>
            <a:graphicFrameLocks noChangeAspect="1"/>
          </p:cNvGraphicFramePr>
          <p:nvPr>
            <p:custDataLst>
              <p:tags r:id="rId1"/>
            </p:custDataLst>
          </p:nvPr>
        </p:nvGraphicFramePr>
        <p:xfrm>
          <a:off x="1525622" y="1622"/>
          <a:ext cx="1619" cy="1619"/>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43" name="Object 42" hidden="1"/>
                      <p:cNvPicPr/>
                      <p:nvPr/>
                    </p:nvPicPr>
                    <p:blipFill>
                      <a:blip r:embed="rId5"/>
                      <a:stretch>
                        <a:fillRect/>
                      </a:stretch>
                    </p:blipFill>
                    <p:spPr>
                      <a:xfrm>
                        <a:off x="1525622" y="1622"/>
                        <a:ext cx="1619" cy="1619"/>
                      </a:xfrm>
                      <a:prstGeom prst="rect">
                        <a:avLst/>
                      </a:prstGeom>
                    </p:spPr>
                  </p:pic>
                </p:oleObj>
              </mc:Fallback>
            </mc:AlternateContent>
          </a:graphicData>
        </a:graphic>
      </p:graphicFrame>
      <p:sp>
        <p:nvSpPr>
          <p:cNvPr id="3" name="Rectangle 2"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2400" b="1" dirty="0">
              <a:latin typeface="Calibri" panose="020F0502020204030204" pitchFamily="34" charset="0"/>
              <a:ea typeface="+mj-ea"/>
              <a:cs typeface="+mj-cs"/>
              <a:sym typeface="Calibri" panose="020F0502020204030204" pitchFamily="34" charset="0"/>
            </a:endParaRPr>
          </a:p>
        </p:txBody>
      </p:sp>
      <p:sp>
        <p:nvSpPr>
          <p:cNvPr id="24" name="Rectangle 23"/>
          <p:cNvSpPr/>
          <p:nvPr/>
        </p:nvSpPr>
        <p:spPr>
          <a:xfrm>
            <a:off x="2214931" y="824956"/>
            <a:ext cx="1470674" cy="480131"/>
          </a:xfrm>
          <a:prstGeom prst="rect">
            <a:avLst/>
          </a:prstGeom>
        </p:spPr>
        <p:txBody>
          <a:bodyPr wrap="square">
            <a:spAutoFit/>
          </a:bodyPr>
          <a:lstStyle/>
          <a:p>
            <a:pPr>
              <a:lnSpc>
                <a:spcPct val="90000"/>
              </a:lnSpc>
              <a:buClr>
                <a:srgbClr val="003F4C"/>
              </a:buClr>
            </a:pPr>
            <a:r>
              <a:rPr lang="en-US" sz="1400" dirty="0"/>
              <a:t>Improved from baseline</a:t>
            </a:r>
            <a:endParaRPr lang="en-US" sz="1400" dirty="0">
              <a:solidFill>
                <a:schemeClr val="bg1">
                  <a:lumMod val="50000"/>
                </a:schemeClr>
              </a:solidFill>
            </a:endParaRPr>
          </a:p>
        </p:txBody>
      </p:sp>
      <p:sp>
        <p:nvSpPr>
          <p:cNvPr id="23" name="Rectangle 22"/>
          <p:cNvSpPr/>
          <p:nvPr/>
        </p:nvSpPr>
        <p:spPr>
          <a:xfrm>
            <a:off x="297141" y="824956"/>
            <a:ext cx="11323730" cy="4819095"/>
          </a:xfrm>
          <a:prstGeom prst="rect">
            <a:avLst/>
          </a:prstGeom>
          <a:solidFill>
            <a:schemeClr val="bg1"/>
          </a:solidFill>
          <a:ln w="19050">
            <a:solidFill>
              <a:schemeClr val="accent2"/>
            </a:solid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p>
        </p:txBody>
      </p:sp>
      <p:sp>
        <p:nvSpPr>
          <p:cNvPr id="25" name="Rectangle 24"/>
          <p:cNvSpPr/>
          <p:nvPr/>
        </p:nvSpPr>
        <p:spPr>
          <a:xfrm>
            <a:off x="2107361" y="957651"/>
            <a:ext cx="141567" cy="112509"/>
          </a:xfrm>
          <a:prstGeom prst="rect">
            <a:avLst/>
          </a:prstGeom>
          <a:solidFill>
            <a:srgbClr val="007E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26" name="Rectangle 25"/>
          <p:cNvSpPr/>
          <p:nvPr/>
        </p:nvSpPr>
        <p:spPr>
          <a:xfrm>
            <a:off x="5345065" y="888570"/>
            <a:ext cx="2328969" cy="340350"/>
          </a:xfrm>
          <a:prstGeom prst="rect">
            <a:avLst/>
          </a:prstGeom>
        </p:spPr>
        <p:txBody>
          <a:bodyPr wrap="square">
            <a:spAutoFit/>
          </a:bodyPr>
          <a:lstStyle/>
          <a:p>
            <a:pPr>
              <a:lnSpc>
                <a:spcPct val="105000"/>
              </a:lnSpc>
              <a:buClr>
                <a:srgbClr val="003F4C"/>
              </a:buClr>
            </a:pPr>
            <a:r>
              <a:rPr lang="en-US" sz="1600" dirty="0"/>
              <a:t>Worsened from baseline</a:t>
            </a:r>
            <a:endParaRPr lang="en-US" sz="1600" dirty="0">
              <a:solidFill>
                <a:schemeClr val="bg1">
                  <a:lumMod val="50000"/>
                </a:schemeClr>
              </a:solidFill>
            </a:endParaRPr>
          </a:p>
        </p:txBody>
      </p:sp>
      <p:sp>
        <p:nvSpPr>
          <p:cNvPr id="27" name="Rectangle 26"/>
          <p:cNvSpPr/>
          <p:nvPr/>
        </p:nvSpPr>
        <p:spPr>
          <a:xfrm>
            <a:off x="5255886" y="957651"/>
            <a:ext cx="141567" cy="112509"/>
          </a:xfrm>
          <a:prstGeom prst="rect">
            <a:avLst/>
          </a:prstGeom>
          <a:solidFill>
            <a:srgbClr val="7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2" name="Title 1"/>
          <p:cNvSpPr>
            <a:spLocks noGrp="1"/>
          </p:cNvSpPr>
          <p:nvPr>
            <p:ph type="title" idx="4294967295"/>
          </p:nvPr>
        </p:nvSpPr>
        <p:spPr>
          <a:xfrm>
            <a:off x="297141" y="133769"/>
            <a:ext cx="11401134" cy="735714"/>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r>
              <a:rPr lang="en-US" sz="2800" b="1" dirty="0">
                <a:solidFill>
                  <a:schemeClr val="accent2"/>
                </a:solidFill>
                <a:latin typeface="+mn-lt"/>
              </a:rPr>
              <a:t>The majority of treated patients demonstrated a decrease in AHI at 6 months and 12 months</a:t>
            </a:r>
            <a:endParaRPr lang="en-US" sz="2800" b="1" baseline="30000" dirty="0">
              <a:solidFill>
                <a:schemeClr val="accent2"/>
              </a:solidFill>
              <a:latin typeface="+mn-lt"/>
            </a:endParaRPr>
          </a:p>
        </p:txBody>
      </p:sp>
      <p:sp>
        <p:nvSpPr>
          <p:cNvPr id="46" name="TextBox 45"/>
          <p:cNvSpPr txBox="1">
            <a:spLocks/>
          </p:cNvSpPr>
          <p:nvPr/>
        </p:nvSpPr>
        <p:spPr>
          <a:xfrm>
            <a:off x="8174578" y="1337483"/>
            <a:ext cx="3224803" cy="1384995"/>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r>
              <a:rPr lang="en-US" b="1" dirty="0">
                <a:solidFill>
                  <a:schemeClr val="accent2"/>
                </a:solidFill>
              </a:rPr>
              <a:t>88% of patients </a:t>
            </a:r>
            <a:r>
              <a:rPr lang="en-US" dirty="0">
                <a:solidFill>
                  <a:schemeClr val="accent2"/>
                </a:solidFill>
              </a:rPr>
              <a:t>demonstrated a decrease in the number of apnea and hypopnea events per hour with the </a:t>
            </a:r>
            <a:r>
              <a:rPr lang="en-US" b="1" dirty="0">
                <a:solidFill>
                  <a:schemeClr val="accent2"/>
                </a:solidFill>
              </a:rPr>
              <a:t>rem</a:t>
            </a:r>
            <a:r>
              <a:rPr lang="en-US" dirty="0">
                <a:solidFill>
                  <a:schemeClr val="accent2"/>
                </a:solidFill>
              </a:rPr>
              <a:t>edē System</a:t>
            </a:r>
            <a:r>
              <a:rPr lang="en-US" sz="1400" dirty="0">
                <a:solidFill>
                  <a:schemeClr val="accent2"/>
                </a:solidFill>
              </a:rPr>
              <a:t> </a:t>
            </a:r>
            <a:r>
              <a:rPr lang="en-US" dirty="0">
                <a:solidFill>
                  <a:schemeClr val="accent2"/>
                </a:solidFill>
              </a:rPr>
              <a:t>at 6 months</a:t>
            </a:r>
            <a:r>
              <a:rPr lang="en-US" baseline="30000" dirty="0">
                <a:solidFill>
                  <a:schemeClr val="accent2"/>
                </a:solidFill>
              </a:rPr>
              <a:t>1,2</a:t>
            </a:r>
            <a:endParaRPr lang="en-US" sz="1400" baseline="30000" dirty="0">
              <a:solidFill>
                <a:schemeClr val="accent2"/>
              </a:solidFill>
            </a:endParaRPr>
          </a:p>
        </p:txBody>
      </p:sp>
      <p:sp>
        <p:nvSpPr>
          <p:cNvPr id="15" name="TextBox 14"/>
          <p:cNvSpPr txBox="1">
            <a:spLocks/>
          </p:cNvSpPr>
          <p:nvPr/>
        </p:nvSpPr>
        <p:spPr>
          <a:xfrm>
            <a:off x="8174578" y="3600306"/>
            <a:ext cx="3249435" cy="1384995"/>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r>
              <a:rPr lang="en-US" b="1" dirty="0">
                <a:solidFill>
                  <a:schemeClr val="accent2"/>
                </a:solidFill>
              </a:rPr>
              <a:t>91% of patients </a:t>
            </a:r>
            <a:r>
              <a:rPr lang="en-US" dirty="0">
                <a:solidFill>
                  <a:schemeClr val="accent2"/>
                </a:solidFill>
              </a:rPr>
              <a:t>demonstrated a decrease in the number of apnea and hypopnea events per hour with the </a:t>
            </a:r>
            <a:r>
              <a:rPr lang="en-US" b="1" dirty="0">
                <a:solidFill>
                  <a:schemeClr val="accent2"/>
                </a:solidFill>
              </a:rPr>
              <a:t>rem</a:t>
            </a:r>
            <a:r>
              <a:rPr lang="en-US" dirty="0">
                <a:solidFill>
                  <a:schemeClr val="accent2"/>
                </a:solidFill>
              </a:rPr>
              <a:t>edē System</a:t>
            </a:r>
            <a:r>
              <a:rPr lang="en-US" sz="1400" dirty="0">
                <a:solidFill>
                  <a:schemeClr val="accent2"/>
                </a:solidFill>
              </a:rPr>
              <a:t> </a:t>
            </a:r>
            <a:r>
              <a:rPr lang="en-US" dirty="0">
                <a:solidFill>
                  <a:schemeClr val="accent2"/>
                </a:solidFill>
              </a:rPr>
              <a:t>at 12 months</a:t>
            </a:r>
            <a:r>
              <a:rPr lang="en-US" baseline="30000" dirty="0">
                <a:solidFill>
                  <a:schemeClr val="accent2"/>
                </a:solidFill>
              </a:rPr>
              <a:t>3</a:t>
            </a:r>
          </a:p>
        </p:txBody>
      </p:sp>
      <p:pic>
        <p:nvPicPr>
          <p:cNvPr id="19" name="Picture 18"/>
          <p:cNvPicPr>
            <a:picLocks noChangeAspect="1"/>
          </p:cNvPicPr>
          <p:nvPr/>
        </p:nvPicPr>
        <p:blipFill rotWithShape="1">
          <a:blip r:embed="rId6" cstate="hqprint">
            <a:extLst>
              <a:ext uri="{28A0092B-C50C-407E-A947-70E740481C1C}">
                <a14:useLocalDpi xmlns:a14="http://schemas.microsoft.com/office/drawing/2010/main"/>
              </a:ext>
            </a:extLst>
          </a:blip>
          <a:srcRect/>
          <a:stretch/>
        </p:blipFill>
        <p:spPr>
          <a:xfrm>
            <a:off x="438071" y="3377919"/>
            <a:ext cx="7736507" cy="2066860"/>
          </a:xfrm>
          <a:prstGeom prst="rect">
            <a:avLst/>
          </a:prstGeom>
        </p:spPr>
      </p:pic>
      <p:pic>
        <p:nvPicPr>
          <p:cNvPr id="4" name="Picture 3"/>
          <p:cNvPicPr>
            <a:picLocks noChangeAspect="1"/>
          </p:cNvPicPr>
          <p:nvPr/>
        </p:nvPicPr>
        <p:blipFill rotWithShape="1">
          <a:blip r:embed="rId7" cstate="hqprint">
            <a:extLst>
              <a:ext uri="{28A0092B-C50C-407E-A947-70E740481C1C}">
                <a14:useLocalDpi xmlns:a14="http://schemas.microsoft.com/office/drawing/2010/main"/>
              </a:ext>
            </a:extLst>
          </a:blip>
          <a:srcRect/>
          <a:stretch/>
        </p:blipFill>
        <p:spPr>
          <a:xfrm>
            <a:off x="438071" y="1225709"/>
            <a:ext cx="7740464" cy="1993770"/>
          </a:xfrm>
          <a:prstGeom prst="rect">
            <a:avLst/>
          </a:prstGeom>
        </p:spPr>
      </p:pic>
      <p:sp>
        <p:nvSpPr>
          <p:cNvPr id="30" name="Rectangle 29"/>
          <p:cNvSpPr/>
          <p:nvPr/>
        </p:nvSpPr>
        <p:spPr>
          <a:xfrm>
            <a:off x="2263091" y="883831"/>
            <a:ext cx="2514886" cy="313932"/>
          </a:xfrm>
          <a:prstGeom prst="rect">
            <a:avLst/>
          </a:prstGeom>
        </p:spPr>
        <p:txBody>
          <a:bodyPr wrap="square">
            <a:spAutoFit/>
          </a:bodyPr>
          <a:lstStyle/>
          <a:p>
            <a:pPr>
              <a:lnSpc>
                <a:spcPct val="90000"/>
              </a:lnSpc>
              <a:buClr>
                <a:srgbClr val="003F4C"/>
              </a:buClr>
            </a:pPr>
            <a:r>
              <a:rPr lang="en-US" sz="1600" dirty="0"/>
              <a:t>Improved from baseline</a:t>
            </a:r>
            <a:endParaRPr lang="en-US" sz="1600" dirty="0">
              <a:solidFill>
                <a:schemeClr val="bg1">
                  <a:lumMod val="50000"/>
                </a:schemeClr>
              </a:solidFill>
            </a:endParaRPr>
          </a:p>
        </p:txBody>
      </p:sp>
      <p:sp>
        <p:nvSpPr>
          <p:cNvPr id="6" name="Slide Number Placeholder 5">
            <a:extLst>
              <a:ext uri="{FF2B5EF4-FFF2-40B4-BE49-F238E27FC236}">
                <a16:creationId xmlns:a16="http://schemas.microsoft.com/office/drawing/2014/main" id="{1157A7E7-1122-45B4-B3C4-AB36D16534E4}"/>
              </a:ext>
            </a:extLst>
          </p:cNvPr>
          <p:cNvSpPr>
            <a:spLocks noGrp="1"/>
          </p:cNvSpPr>
          <p:nvPr>
            <p:ph type="sldNum" sz="quarter" idx="12"/>
          </p:nvPr>
        </p:nvSpPr>
        <p:spPr>
          <a:xfrm>
            <a:off x="10287136" y="6465570"/>
            <a:ext cx="1262090" cy="320261"/>
          </a:xfrm>
        </p:spPr>
        <p:txBody>
          <a:bodyPr/>
          <a:lstStyle/>
          <a:p>
            <a:fld id="{21D51F98-DEF0-4E23-AE94-24E7CFC19B28}" type="slidenum">
              <a:rPr lang="en-US" smtClean="0"/>
              <a:t>50</a:t>
            </a:fld>
            <a:endParaRPr lang="en-US"/>
          </a:p>
        </p:txBody>
      </p:sp>
      <p:sp>
        <p:nvSpPr>
          <p:cNvPr id="8" name="Footer Placeholder 5">
            <a:extLst>
              <a:ext uri="{FF2B5EF4-FFF2-40B4-BE49-F238E27FC236}">
                <a16:creationId xmlns:a16="http://schemas.microsoft.com/office/drawing/2014/main" id="{E5089EFC-3AF7-C1CE-0BED-BB4E51C1C668}"/>
              </a:ext>
            </a:extLst>
          </p:cNvPr>
          <p:cNvSpPr>
            <a:spLocks noGrp="1"/>
          </p:cNvSpPr>
          <p:nvPr>
            <p:ph type="ftr" sz="quarter" idx="11"/>
          </p:nvPr>
        </p:nvSpPr>
        <p:spPr>
          <a:xfrm>
            <a:off x="3684598" y="6459785"/>
            <a:ext cx="4822804" cy="365125"/>
          </a:xfrm>
        </p:spPr>
        <p:txBody>
          <a:bodyPr/>
          <a:lstStyle/>
          <a:p>
            <a:r>
              <a:rPr lang="en-US" dirty="0"/>
              <a:t>MAF1937 Rev E</a:t>
            </a:r>
          </a:p>
        </p:txBody>
      </p:sp>
    </p:spTree>
    <p:extLst>
      <p:ext uri="{BB962C8B-B14F-4D97-AF65-F5344CB8AC3E}">
        <p14:creationId xmlns:p14="http://schemas.microsoft.com/office/powerpoint/2010/main" val="4098762552"/>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Rectangle 36"/>
          <p:cNvSpPr/>
          <p:nvPr/>
        </p:nvSpPr>
        <p:spPr>
          <a:xfrm>
            <a:off x="6453115" y="2082675"/>
            <a:ext cx="4887543" cy="3979297"/>
          </a:xfrm>
          <a:prstGeom prst="rect">
            <a:avLst/>
          </a:prstGeom>
          <a:solidFill>
            <a:schemeClr val="bg1"/>
          </a:solidFill>
          <a:ln w="19050"/>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p>
        </p:txBody>
      </p:sp>
      <p:graphicFrame>
        <p:nvGraphicFramePr>
          <p:cNvPr id="21" name="Content Placeholder 5"/>
          <p:cNvGraphicFramePr>
            <a:graphicFrameLocks/>
          </p:cNvGraphicFramePr>
          <p:nvPr/>
        </p:nvGraphicFramePr>
        <p:xfrm>
          <a:off x="6561075" y="2717783"/>
          <a:ext cx="4844802" cy="2984752"/>
        </p:xfrm>
        <a:graphic>
          <a:graphicData uri="http://schemas.openxmlformats.org/drawingml/2006/chart">
            <c:chart xmlns:c="http://schemas.openxmlformats.org/drawingml/2006/chart" xmlns:r="http://schemas.openxmlformats.org/officeDocument/2006/relationships" r:id="rId2"/>
          </a:graphicData>
        </a:graphic>
      </p:graphicFrame>
      <p:sp>
        <p:nvSpPr>
          <p:cNvPr id="38" name="Rectangle 37"/>
          <p:cNvSpPr/>
          <p:nvPr/>
        </p:nvSpPr>
        <p:spPr>
          <a:xfrm rot="16200000">
            <a:off x="5911585" y="3010554"/>
            <a:ext cx="1401608" cy="318549"/>
          </a:xfrm>
          <a:prstGeom prst="rect">
            <a:avLst/>
          </a:prstGeom>
          <a:noFill/>
        </p:spPr>
        <p:txBody>
          <a:bodyPr wrap="square">
            <a:spAutoFit/>
          </a:bodyPr>
          <a:lstStyle/>
          <a:p>
            <a:pPr>
              <a:lnSpc>
                <a:spcPct val="105000"/>
              </a:lnSpc>
              <a:buClr>
                <a:srgbClr val="003F4C"/>
              </a:buClr>
            </a:pPr>
            <a:r>
              <a:rPr lang="en-US" sz="1400" dirty="0"/>
              <a:t>Improved</a:t>
            </a:r>
            <a:endParaRPr lang="en-US" sz="1400" dirty="0">
              <a:solidFill>
                <a:schemeClr val="bg1">
                  <a:lumMod val="50000"/>
                </a:schemeClr>
              </a:solidFill>
            </a:endParaRPr>
          </a:p>
        </p:txBody>
      </p:sp>
      <p:sp>
        <p:nvSpPr>
          <p:cNvPr id="39" name="Rectangle 38"/>
          <p:cNvSpPr/>
          <p:nvPr/>
        </p:nvSpPr>
        <p:spPr>
          <a:xfrm rot="16200000">
            <a:off x="5785118" y="4432495"/>
            <a:ext cx="1666631" cy="307777"/>
          </a:xfrm>
          <a:prstGeom prst="rect">
            <a:avLst/>
          </a:prstGeom>
          <a:noFill/>
        </p:spPr>
        <p:txBody>
          <a:bodyPr wrap="square">
            <a:spAutoFit/>
          </a:bodyPr>
          <a:lstStyle/>
          <a:p>
            <a:pPr algn="ctr">
              <a:buClr>
                <a:srgbClr val="003F4C"/>
              </a:buClr>
            </a:pPr>
            <a:r>
              <a:rPr lang="en-US" sz="1400" dirty="0"/>
              <a:t>No change/worse</a:t>
            </a:r>
            <a:endParaRPr lang="en-US" sz="1400" dirty="0">
              <a:solidFill>
                <a:schemeClr val="bg1">
                  <a:lumMod val="50000"/>
                </a:schemeClr>
              </a:solidFill>
            </a:endParaRPr>
          </a:p>
        </p:txBody>
      </p:sp>
      <p:cxnSp>
        <p:nvCxnSpPr>
          <p:cNvPr id="40" name="Straight Connector 39"/>
          <p:cNvCxnSpPr/>
          <p:nvPr/>
        </p:nvCxnSpPr>
        <p:spPr>
          <a:xfrm flipV="1">
            <a:off x="6746394" y="3098154"/>
            <a:ext cx="2719" cy="754380"/>
          </a:xfrm>
          <a:prstGeom prst="line">
            <a:avLst/>
          </a:prstGeom>
          <a:ln w="28575">
            <a:solidFill>
              <a:schemeClr val="accent2"/>
            </a:solidFill>
            <a:tailEnd type="triangle"/>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p:nvCxnSpPr>
        <p:spPr>
          <a:xfrm>
            <a:off x="6748246" y="3832221"/>
            <a:ext cx="0" cy="960120"/>
          </a:xfrm>
          <a:prstGeom prst="line">
            <a:avLst/>
          </a:prstGeom>
          <a:ln w="28575">
            <a:solidFill>
              <a:schemeClr val="accent2"/>
            </a:solidFill>
            <a:tailEnd type="triangle"/>
          </a:ln>
        </p:spPr>
        <p:style>
          <a:lnRef idx="1">
            <a:schemeClr val="accent1"/>
          </a:lnRef>
          <a:fillRef idx="0">
            <a:schemeClr val="accent1"/>
          </a:fillRef>
          <a:effectRef idx="0">
            <a:schemeClr val="accent1"/>
          </a:effectRef>
          <a:fontRef idx="minor">
            <a:schemeClr val="tx1"/>
          </a:fontRef>
        </p:style>
      </p:cxnSp>
      <p:sp>
        <p:nvSpPr>
          <p:cNvPr id="43" name="Rectangle 42"/>
          <p:cNvSpPr/>
          <p:nvPr/>
        </p:nvSpPr>
        <p:spPr>
          <a:xfrm>
            <a:off x="6691654" y="2152813"/>
            <a:ext cx="2993316" cy="286232"/>
          </a:xfrm>
          <a:prstGeom prst="rect">
            <a:avLst/>
          </a:prstGeom>
        </p:spPr>
        <p:txBody>
          <a:bodyPr wrap="square">
            <a:spAutoFit/>
          </a:bodyPr>
          <a:lstStyle/>
          <a:p>
            <a:pPr>
              <a:lnSpc>
                <a:spcPct val="90000"/>
              </a:lnSpc>
              <a:buClr>
                <a:srgbClr val="003F4C"/>
              </a:buClr>
            </a:pPr>
            <a:r>
              <a:rPr lang="en-US" sz="1400" dirty="0"/>
              <a:t>Marked or moderate improvement</a:t>
            </a:r>
            <a:endParaRPr lang="en-US" sz="1400" dirty="0">
              <a:solidFill>
                <a:schemeClr val="bg1">
                  <a:lumMod val="50000"/>
                </a:schemeClr>
              </a:solidFill>
            </a:endParaRPr>
          </a:p>
        </p:txBody>
      </p:sp>
      <p:sp>
        <p:nvSpPr>
          <p:cNvPr id="44" name="Rectangle 43"/>
          <p:cNvSpPr/>
          <p:nvPr/>
        </p:nvSpPr>
        <p:spPr>
          <a:xfrm>
            <a:off x="6691655" y="2458748"/>
            <a:ext cx="1724223" cy="318549"/>
          </a:xfrm>
          <a:prstGeom prst="rect">
            <a:avLst/>
          </a:prstGeom>
        </p:spPr>
        <p:txBody>
          <a:bodyPr wrap="square">
            <a:spAutoFit/>
          </a:bodyPr>
          <a:lstStyle/>
          <a:p>
            <a:pPr>
              <a:lnSpc>
                <a:spcPct val="105000"/>
              </a:lnSpc>
              <a:buClr>
                <a:srgbClr val="003F4C"/>
              </a:buClr>
            </a:pPr>
            <a:r>
              <a:rPr lang="en-US" sz="1400" dirty="0"/>
              <a:t>Mild improvement</a:t>
            </a:r>
            <a:endParaRPr lang="en-US" sz="1400" dirty="0">
              <a:solidFill>
                <a:schemeClr val="bg1">
                  <a:lumMod val="50000"/>
                </a:schemeClr>
              </a:solidFill>
            </a:endParaRPr>
          </a:p>
        </p:txBody>
      </p:sp>
      <p:sp>
        <p:nvSpPr>
          <p:cNvPr id="45" name="Rectangle 44"/>
          <p:cNvSpPr/>
          <p:nvPr/>
        </p:nvSpPr>
        <p:spPr>
          <a:xfrm>
            <a:off x="6593493" y="2247452"/>
            <a:ext cx="110376" cy="9620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46" name="Rectangle 45"/>
          <p:cNvSpPr/>
          <p:nvPr/>
        </p:nvSpPr>
        <p:spPr>
          <a:xfrm>
            <a:off x="9608043" y="2113826"/>
            <a:ext cx="1440634" cy="318549"/>
          </a:xfrm>
          <a:prstGeom prst="rect">
            <a:avLst/>
          </a:prstGeom>
        </p:spPr>
        <p:txBody>
          <a:bodyPr wrap="square">
            <a:spAutoFit/>
          </a:bodyPr>
          <a:lstStyle/>
          <a:p>
            <a:pPr>
              <a:lnSpc>
                <a:spcPct val="105000"/>
              </a:lnSpc>
              <a:buClr>
                <a:srgbClr val="003F4C"/>
              </a:buClr>
            </a:pPr>
            <a:r>
              <a:rPr lang="en-US" sz="1400" dirty="0"/>
              <a:t>No change</a:t>
            </a:r>
            <a:endParaRPr lang="en-US" sz="1400" dirty="0">
              <a:solidFill>
                <a:schemeClr val="bg1">
                  <a:lumMod val="50000"/>
                </a:schemeClr>
              </a:solidFill>
            </a:endParaRPr>
          </a:p>
        </p:txBody>
      </p:sp>
      <p:sp>
        <p:nvSpPr>
          <p:cNvPr id="47" name="Rectangle 46"/>
          <p:cNvSpPr/>
          <p:nvPr/>
        </p:nvSpPr>
        <p:spPr>
          <a:xfrm>
            <a:off x="9608043" y="2439320"/>
            <a:ext cx="1440634" cy="318549"/>
          </a:xfrm>
          <a:prstGeom prst="rect">
            <a:avLst/>
          </a:prstGeom>
        </p:spPr>
        <p:txBody>
          <a:bodyPr wrap="square">
            <a:spAutoFit/>
          </a:bodyPr>
          <a:lstStyle/>
          <a:p>
            <a:pPr>
              <a:lnSpc>
                <a:spcPct val="105000"/>
              </a:lnSpc>
              <a:buClr>
                <a:srgbClr val="003F4C"/>
              </a:buClr>
            </a:pPr>
            <a:r>
              <a:rPr lang="en-US" sz="1400" dirty="0"/>
              <a:t>Worsened</a:t>
            </a:r>
            <a:endParaRPr lang="en-US" sz="1400" dirty="0">
              <a:solidFill>
                <a:schemeClr val="bg1">
                  <a:lumMod val="50000"/>
                </a:schemeClr>
              </a:solidFill>
            </a:endParaRPr>
          </a:p>
        </p:txBody>
      </p:sp>
      <p:sp>
        <p:nvSpPr>
          <p:cNvPr id="48" name="Rectangle 47"/>
          <p:cNvSpPr/>
          <p:nvPr/>
        </p:nvSpPr>
        <p:spPr>
          <a:xfrm>
            <a:off x="6593493" y="2565889"/>
            <a:ext cx="110376" cy="96203"/>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49" name="Rectangle 48"/>
          <p:cNvSpPr/>
          <p:nvPr/>
        </p:nvSpPr>
        <p:spPr>
          <a:xfrm>
            <a:off x="9473000" y="2224592"/>
            <a:ext cx="110376" cy="96203"/>
          </a:xfrm>
          <a:prstGeom prst="rect">
            <a:avLst/>
          </a:prstGeom>
          <a:solidFill>
            <a:srgbClr val="B1B5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50" name="Rectangle 49"/>
          <p:cNvSpPr/>
          <p:nvPr/>
        </p:nvSpPr>
        <p:spPr>
          <a:xfrm>
            <a:off x="9473000" y="2543029"/>
            <a:ext cx="110376" cy="96203"/>
          </a:xfrm>
          <a:prstGeom prst="rect">
            <a:avLst/>
          </a:prstGeom>
          <a:solidFill>
            <a:srgbClr val="636B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4" name="Title 3"/>
          <p:cNvSpPr>
            <a:spLocks noGrp="1"/>
          </p:cNvSpPr>
          <p:nvPr>
            <p:ph type="title" idx="4294967295"/>
          </p:nvPr>
        </p:nvSpPr>
        <p:spPr>
          <a:xfrm>
            <a:off x="368300" y="270818"/>
            <a:ext cx="11455400" cy="828675"/>
          </a:xfrm>
        </p:spPr>
        <p:txBody>
          <a:bodyPr>
            <a:noAutofit/>
          </a:bodyPr>
          <a:lstStyle/>
          <a:p>
            <a:r>
              <a:rPr lang="en-US" sz="3200" b="1" dirty="0">
                <a:solidFill>
                  <a:schemeClr val="accent2"/>
                </a:solidFill>
                <a:latin typeface="+mn-lt"/>
              </a:rPr>
              <a:t>Post hoc analysis of the heart failure cohort </a:t>
            </a:r>
            <a:br>
              <a:rPr lang="en-US" sz="3200" b="1" dirty="0">
                <a:solidFill>
                  <a:schemeClr val="accent2"/>
                </a:solidFill>
                <a:latin typeface="+mn-lt"/>
              </a:rPr>
            </a:br>
            <a:r>
              <a:rPr lang="en-US" sz="3200" b="1" dirty="0">
                <a:solidFill>
                  <a:schemeClr val="accent2"/>
                </a:solidFill>
                <a:latin typeface="+mn-lt"/>
              </a:rPr>
              <a:t>demonstrated similar benefit in sleep and quality of life</a:t>
            </a:r>
          </a:p>
        </p:txBody>
      </p:sp>
      <p:sp>
        <p:nvSpPr>
          <p:cNvPr id="6" name="Content Placeholder 9"/>
          <p:cNvSpPr txBox="1">
            <a:spLocks/>
          </p:cNvSpPr>
          <p:nvPr/>
        </p:nvSpPr>
        <p:spPr>
          <a:xfrm>
            <a:off x="276422" y="1327177"/>
            <a:ext cx="5873889" cy="3979297"/>
          </a:xfrm>
          <a:prstGeom prst="rect">
            <a:avLst/>
          </a:prstGeom>
        </p:spPr>
        <p:txBody>
          <a:bodyPr vert="horz" lIns="68580" tIns="34290" rIns="68580" bIns="34290" rtlCol="0">
            <a:noAutofit/>
          </a:bodyPr>
          <a:lstStyle>
            <a:lvl1pPr marL="228600" indent="-228600" algn="l" defTabSz="914400" rtl="0" eaLnBrk="1" latinLnBrk="0" hangingPunct="1">
              <a:lnSpc>
                <a:spcPct val="90000"/>
              </a:lnSpc>
              <a:spcBef>
                <a:spcPts val="1000"/>
              </a:spcBef>
              <a:buClr>
                <a:schemeClr val="accent1"/>
              </a:buClr>
              <a:buSzPct val="90000"/>
              <a:buFont typeface="Wingdings" charset="2"/>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Clr>
                <a:schemeClr val="accent6">
                  <a:lumMod val="75000"/>
                </a:schemeClr>
              </a:buClr>
              <a:buSzPct val="80000"/>
              <a:buFont typeface="Arial" charset="0"/>
              <a:buChar char="•"/>
              <a:defRPr sz="22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accent1"/>
              </a:buClr>
              <a:buSzPct val="70000"/>
              <a:buFont typeface="Wingdings" charset="2"/>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accent6">
                  <a:lumMod val="75000"/>
                </a:schemeClr>
              </a:buClr>
              <a:buSzPct val="70000"/>
              <a:buFont typeface="Arial"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accent5"/>
              </a:buClr>
              <a:buSzPct val="60000"/>
              <a:buFont typeface="Wingdings" charset="2"/>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600" dirty="0"/>
              <a:t>Post-hoc analysis showed improvements from baseline at 12 months</a:t>
            </a:r>
            <a:r>
              <a:rPr lang="en-US" sz="1600" baseline="30000" dirty="0"/>
              <a:t>1</a:t>
            </a:r>
          </a:p>
          <a:p>
            <a:pPr marL="463550" lvl="1">
              <a:buClr>
                <a:srgbClr val="003F4C"/>
              </a:buClr>
            </a:pPr>
            <a:r>
              <a:rPr lang="en-US" sz="1600" b="1" dirty="0"/>
              <a:t>Sleep metrics   </a:t>
            </a:r>
            <a:r>
              <a:rPr lang="en-US" sz="1600" dirty="0"/>
              <a:t>(All p= or &lt; 0.001)</a:t>
            </a:r>
          </a:p>
          <a:p>
            <a:pPr marL="682625" lvl="2">
              <a:buClr>
                <a:srgbClr val="003F4C"/>
              </a:buClr>
            </a:pPr>
            <a:r>
              <a:rPr lang="en-US" sz="1600" dirty="0"/>
              <a:t>Apnea Hypopnea Index (AHI)</a:t>
            </a:r>
          </a:p>
          <a:p>
            <a:pPr marL="682625" lvl="2">
              <a:buClr>
                <a:srgbClr val="003F4C"/>
              </a:buClr>
            </a:pPr>
            <a:r>
              <a:rPr lang="en-US" sz="1600" dirty="0"/>
              <a:t>Central Apnea Index (CAI)</a:t>
            </a:r>
          </a:p>
          <a:p>
            <a:pPr marL="682625" lvl="2">
              <a:buClr>
                <a:srgbClr val="003F4C"/>
              </a:buClr>
            </a:pPr>
            <a:r>
              <a:rPr lang="en-US" sz="1600" dirty="0"/>
              <a:t>Oxygen Desaturation Index (ODI)</a:t>
            </a:r>
          </a:p>
          <a:p>
            <a:pPr marL="682625" lvl="2">
              <a:buClr>
                <a:srgbClr val="003F4C"/>
              </a:buClr>
            </a:pPr>
            <a:r>
              <a:rPr lang="en-US" sz="1600" dirty="0"/>
              <a:t>Arousal Index </a:t>
            </a:r>
          </a:p>
          <a:p>
            <a:pPr marL="682625" lvl="2">
              <a:buClr>
                <a:srgbClr val="003F4C"/>
              </a:buClr>
            </a:pPr>
            <a:r>
              <a:rPr lang="en-US" sz="1600" dirty="0"/>
              <a:t>% of sleep in REM</a:t>
            </a:r>
          </a:p>
          <a:p>
            <a:pPr marL="682625" lvl="2">
              <a:buClr>
                <a:srgbClr val="003F4C"/>
              </a:buClr>
            </a:pPr>
            <a:r>
              <a:rPr lang="en-US" sz="1600" dirty="0"/>
              <a:t>ODI4 (events/hour)</a:t>
            </a:r>
          </a:p>
          <a:p>
            <a:pPr marL="682625" lvl="2">
              <a:buClr>
                <a:srgbClr val="003F4C"/>
              </a:buClr>
            </a:pPr>
            <a:r>
              <a:rPr lang="en-US" sz="1600" dirty="0"/>
              <a:t>% of sleep with O2 saturation &lt; 90%</a:t>
            </a:r>
          </a:p>
          <a:p>
            <a:pPr marL="463550" lvl="1">
              <a:spcBef>
                <a:spcPts val="1125"/>
              </a:spcBef>
              <a:buClr>
                <a:srgbClr val="003F4C"/>
              </a:buClr>
            </a:pPr>
            <a:r>
              <a:rPr lang="en-US" sz="1600" b="1" dirty="0"/>
              <a:t>Epworth Sleepiness Scale</a:t>
            </a:r>
            <a:r>
              <a:rPr lang="en-US" sz="1600" dirty="0"/>
              <a:t> </a:t>
            </a:r>
          </a:p>
          <a:p>
            <a:pPr marL="914400" lvl="2">
              <a:buClr>
                <a:srgbClr val="003F4C"/>
              </a:buClr>
            </a:pPr>
            <a:r>
              <a:rPr lang="en-US" sz="1600" dirty="0"/>
              <a:t>3.1 ± 4.7 point improvement from baseline </a:t>
            </a:r>
            <a:r>
              <a:rPr lang="en-US" sz="1600" i="1" dirty="0"/>
              <a:t>(p&lt;0.001)</a:t>
            </a:r>
          </a:p>
          <a:p>
            <a:pPr marL="463550" lvl="1">
              <a:spcBef>
                <a:spcPts val="1125"/>
              </a:spcBef>
              <a:buClr>
                <a:srgbClr val="003F4C"/>
              </a:buClr>
            </a:pPr>
            <a:r>
              <a:rPr lang="en-US" sz="1600" b="1" dirty="0"/>
              <a:t>Minnesota Living with Heart Failure</a:t>
            </a:r>
          </a:p>
          <a:p>
            <a:pPr marL="914400" lvl="2">
              <a:buClr>
                <a:srgbClr val="003F4C"/>
              </a:buClr>
            </a:pPr>
            <a:r>
              <a:rPr lang="en-US" sz="1600" dirty="0"/>
              <a:t>6.8 ± 20.0 point improvement from baseline </a:t>
            </a:r>
            <a:r>
              <a:rPr lang="en-US" sz="1600" i="1" dirty="0"/>
              <a:t>(p=0.005)</a:t>
            </a:r>
            <a:endParaRPr lang="en-US" sz="1600" dirty="0"/>
          </a:p>
          <a:p>
            <a:pPr algn="ctr">
              <a:buClr>
                <a:srgbClr val="003F4C"/>
              </a:buClr>
            </a:pPr>
            <a:endParaRPr lang="en-US" sz="1600" i="1" dirty="0">
              <a:solidFill>
                <a:schemeClr val="accent5">
                  <a:lumMod val="50000"/>
                </a:schemeClr>
              </a:solidFill>
            </a:endParaRPr>
          </a:p>
        </p:txBody>
      </p:sp>
      <p:sp>
        <p:nvSpPr>
          <p:cNvPr id="16" name="TextBox 15"/>
          <p:cNvSpPr txBox="1"/>
          <p:nvPr/>
        </p:nvSpPr>
        <p:spPr>
          <a:xfrm>
            <a:off x="276422" y="5930780"/>
            <a:ext cx="4851504" cy="369332"/>
          </a:xfrm>
          <a:prstGeom prst="rect">
            <a:avLst/>
          </a:prstGeom>
          <a:noFill/>
        </p:spPr>
        <p:txBody>
          <a:bodyPr wrap="square" rtlCol="0">
            <a:spAutoFit/>
          </a:bodyPr>
          <a:lstStyle/>
          <a:p>
            <a:pPr>
              <a:lnSpc>
                <a:spcPct val="90000"/>
              </a:lnSpc>
            </a:pPr>
            <a:r>
              <a:rPr lang="en-US" sz="1000" dirty="0">
                <a:solidFill>
                  <a:srgbClr val="000000"/>
                </a:solidFill>
              </a:rPr>
              <a:t>1 </a:t>
            </a:r>
            <a:r>
              <a:rPr lang="en-US" sz="1000" dirty="0" err="1">
                <a:solidFill>
                  <a:srgbClr val="000000"/>
                </a:solidFill>
              </a:rPr>
              <a:t>Constanzo</a:t>
            </a:r>
            <a:r>
              <a:rPr lang="en-US" sz="1000" dirty="0">
                <a:solidFill>
                  <a:srgbClr val="000000"/>
                </a:solidFill>
              </a:rPr>
              <a:t> et al., Eur J Heart Fail 2018; 1746-1754.</a:t>
            </a:r>
          </a:p>
          <a:p>
            <a:pPr>
              <a:lnSpc>
                <a:spcPct val="90000"/>
              </a:lnSpc>
            </a:pPr>
            <a:r>
              <a:rPr lang="en-US" sz="1000" dirty="0">
                <a:solidFill>
                  <a:srgbClr val="000000"/>
                </a:solidFill>
              </a:rPr>
              <a:t>2 </a:t>
            </a:r>
            <a:r>
              <a:rPr lang="en-US" sz="1000" dirty="0"/>
              <a:t>Goldberg et al.,  J Cardiac Fail 2017;23:S15</a:t>
            </a:r>
          </a:p>
        </p:txBody>
      </p:sp>
      <p:sp>
        <p:nvSpPr>
          <p:cNvPr id="19" name="TextBox 18"/>
          <p:cNvSpPr txBox="1"/>
          <p:nvPr/>
        </p:nvSpPr>
        <p:spPr>
          <a:xfrm>
            <a:off x="6259743" y="1718170"/>
            <a:ext cx="2911601" cy="369332"/>
          </a:xfrm>
          <a:prstGeom prst="rect">
            <a:avLst/>
          </a:prstGeom>
          <a:noFill/>
        </p:spPr>
        <p:txBody>
          <a:bodyPr wrap="square" rtlCol="0">
            <a:spAutoFit/>
          </a:bodyPr>
          <a:lstStyle/>
          <a:p>
            <a:pPr algn="ctr"/>
            <a:r>
              <a:rPr lang="en-US" b="1" dirty="0"/>
              <a:t>Patient Global Assessment</a:t>
            </a:r>
            <a:endParaRPr lang="en-US" b="1" baseline="30000" dirty="0"/>
          </a:p>
        </p:txBody>
      </p:sp>
      <p:sp>
        <p:nvSpPr>
          <p:cNvPr id="35" name="Rectangle 34"/>
          <p:cNvSpPr/>
          <p:nvPr/>
        </p:nvSpPr>
        <p:spPr>
          <a:xfrm>
            <a:off x="6154296" y="5791881"/>
            <a:ext cx="2514489" cy="237757"/>
          </a:xfrm>
          <a:prstGeom prst="rect">
            <a:avLst/>
          </a:prstGeom>
        </p:spPr>
        <p:txBody>
          <a:bodyPr wrap="square">
            <a:spAutoFit/>
          </a:bodyPr>
          <a:lstStyle/>
          <a:p>
            <a:pPr algn="ctr">
              <a:lnSpc>
                <a:spcPct val="90000"/>
              </a:lnSpc>
              <a:buClr>
                <a:srgbClr val="003F4C"/>
              </a:buClr>
            </a:pPr>
            <a:r>
              <a:rPr lang="en-US" sz="1050" dirty="0"/>
              <a:t>Per protocol </a:t>
            </a:r>
            <a:r>
              <a:rPr lang="en-US" sz="1000" dirty="0"/>
              <a:t>with</a:t>
            </a:r>
            <a:r>
              <a:rPr lang="en-US" sz="1050" dirty="0"/>
              <a:t> heart failure</a:t>
            </a:r>
          </a:p>
        </p:txBody>
      </p:sp>
      <p:cxnSp>
        <p:nvCxnSpPr>
          <p:cNvPr id="42" name="Straight Connector 41"/>
          <p:cNvCxnSpPr>
            <a:cxnSpLocks/>
          </p:cNvCxnSpPr>
          <p:nvPr/>
        </p:nvCxnSpPr>
        <p:spPr>
          <a:xfrm>
            <a:off x="6746394" y="3832221"/>
            <a:ext cx="4434523"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25" name="Content Placeholder 9"/>
          <p:cNvSpPr txBox="1">
            <a:spLocks/>
          </p:cNvSpPr>
          <p:nvPr/>
        </p:nvSpPr>
        <p:spPr>
          <a:xfrm>
            <a:off x="6387896" y="1288241"/>
            <a:ext cx="5873889" cy="3394472"/>
          </a:xfrm>
          <a:prstGeom prst="rect">
            <a:avLst/>
          </a:prstGeom>
        </p:spPr>
        <p:txBody>
          <a:bodyPr vert="horz" lIns="68580" tIns="34290" rIns="68580" bIns="34290" rtlCol="0">
            <a:noAutofit/>
          </a:bodyPr>
          <a:lstStyle>
            <a:lvl1pPr marL="228600" indent="-228600" algn="l" defTabSz="914400" rtl="0" eaLnBrk="1" latinLnBrk="0" hangingPunct="1">
              <a:lnSpc>
                <a:spcPct val="90000"/>
              </a:lnSpc>
              <a:spcBef>
                <a:spcPts val="1000"/>
              </a:spcBef>
              <a:buClr>
                <a:schemeClr val="accent1"/>
              </a:buClr>
              <a:buSzPct val="90000"/>
              <a:buFont typeface="Wingdings" charset="2"/>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Clr>
                <a:schemeClr val="accent6">
                  <a:lumMod val="75000"/>
                </a:schemeClr>
              </a:buClr>
              <a:buSzPct val="80000"/>
              <a:buFont typeface="Arial" charset="0"/>
              <a:buChar char="•"/>
              <a:defRPr sz="22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accent1"/>
              </a:buClr>
              <a:buSzPct val="70000"/>
              <a:buFont typeface="Wingdings" charset="2"/>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accent6">
                  <a:lumMod val="75000"/>
                </a:schemeClr>
              </a:buClr>
              <a:buSzPct val="70000"/>
              <a:buFont typeface="Arial"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accent5"/>
              </a:buClr>
              <a:buSzPct val="60000"/>
              <a:buFont typeface="Wingdings" charset="2"/>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600" dirty="0"/>
              <a:t>Similar results in quality of life improvements in heart failure cohort as broader patient population</a:t>
            </a:r>
            <a:r>
              <a:rPr lang="en-US" sz="1600" baseline="30000" dirty="0"/>
              <a:t>2</a:t>
            </a:r>
          </a:p>
          <a:p>
            <a:pPr marL="0" indent="0">
              <a:buNone/>
            </a:pPr>
            <a:endParaRPr lang="en-US" sz="1600" baseline="30000" dirty="0"/>
          </a:p>
        </p:txBody>
      </p:sp>
      <p:sp>
        <p:nvSpPr>
          <p:cNvPr id="3" name="Slide Number Placeholder 2">
            <a:extLst>
              <a:ext uri="{FF2B5EF4-FFF2-40B4-BE49-F238E27FC236}">
                <a16:creationId xmlns:a16="http://schemas.microsoft.com/office/drawing/2014/main" id="{783F2B19-8342-A669-5F4A-BCF60B59BB2D}"/>
              </a:ext>
            </a:extLst>
          </p:cNvPr>
          <p:cNvSpPr>
            <a:spLocks noGrp="1"/>
          </p:cNvSpPr>
          <p:nvPr>
            <p:ph type="sldNum" sz="quarter" idx="12"/>
          </p:nvPr>
        </p:nvSpPr>
        <p:spPr/>
        <p:txBody>
          <a:bodyPr/>
          <a:lstStyle/>
          <a:p>
            <a:fld id="{21D51F98-DEF0-4E23-AE94-24E7CFC19B28}" type="slidenum">
              <a:rPr lang="en-US" smtClean="0"/>
              <a:t>51</a:t>
            </a:fld>
            <a:endParaRPr lang="en-US"/>
          </a:p>
        </p:txBody>
      </p:sp>
      <p:sp>
        <p:nvSpPr>
          <p:cNvPr id="7" name="Footer Placeholder 5">
            <a:extLst>
              <a:ext uri="{FF2B5EF4-FFF2-40B4-BE49-F238E27FC236}">
                <a16:creationId xmlns:a16="http://schemas.microsoft.com/office/drawing/2014/main" id="{BD5A9A89-E4DD-BFC5-005E-07552D4C78A0}"/>
              </a:ext>
            </a:extLst>
          </p:cNvPr>
          <p:cNvSpPr>
            <a:spLocks noGrp="1"/>
          </p:cNvSpPr>
          <p:nvPr>
            <p:ph type="ftr" sz="quarter" idx="11"/>
          </p:nvPr>
        </p:nvSpPr>
        <p:spPr>
          <a:xfrm>
            <a:off x="3684598" y="6459785"/>
            <a:ext cx="4822804" cy="365125"/>
          </a:xfrm>
        </p:spPr>
        <p:txBody>
          <a:bodyPr/>
          <a:lstStyle/>
          <a:p>
            <a:r>
              <a:rPr lang="en-US" dirty="0"/>
              <a:t>MAF1937 Rev E</a:t>
            </a:r>
          </a:p>
        </p:txBody>
      </p:sp>
    </p:spTree>
    <p:extLst>
      <p:ext uri="{BB962C8B-B14F-4D97-AF65-F5344CB8AC3E}">
        <p14:creationId xmlns:p14="http://schemas.microsoft.com/office/powerpoint/2010/main" val="2904867830"/>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6" imgH="396" progId="TCLayout.ActiveDocument.1">
                  <p:embed/>
                </p:oleObj>
              </mc:Choice>
              <mc:Fallback>
                <p:oleObj name="think-cell Slide" r:id="rId4" imgW="396" imgH="396" progId="TCLayout.ActiveDocument.1">
                  <p:embed/>
                  <p:pic>
                    <p:nvPicPr>
                      <p:cNvPr id="6" name="Object 5" hidden="1"/>
                      <p:cNvPicPr/>
                      <p:nvPr/>
                    </p:nvPicPr>
                    <p:blipFill>
                      <a:blip r:embed="rId5"/>
                      <a:stretch>
                        <a:fillRect/>
                      </a:stretch>
                    </p:blipFill>
                    <p:spPr>
                      <a:xfrm>
                        <a:off x="1525588"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152400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endParaRPr kumimoji="0" lang="en-US" sz="2800" b="1" i="0" u="none" strike="noStrike" kern="1200" cap="none" spc="0" normalizeH="0" baseline="0" noProof="0" dirty="0">
              <a:ln>
                <a:noFill/>
              </a:ln>
              <a:solidFill>
                <a:srgbClr val="FFFFFF"/>
              </a:solidFill>
              <a:effectLst/>
              <a:uLnTx/>
              <a:uFillTx/>
              <a:latin typeface="Calibri" panose="020F0502020204030204" pitchFamily="34" charset="0"/>
              <a:ea typeface="+mn-ea"/>
              <a:cs typeface="+mn-cs"/>
              <a:sym typeface="Calibri" panose="020F0502020204030204" pitchFamily="34" charset="0"/>
            </a:endParaRPr>
          </a:p>
        </p:txBody>
      </p:sp>
      <p:sp>
        <p:nvSpPr>
          <p:cNvPr id="16" name="TextBox 15"/>
          <p:cNvSpPr txBox="1"/>
          <p:nvPr/>
        </p:nvSpPr>
        <p:spPr>
          <a:xfrm>
            <a:off x="199156" y="5589620"/>
            <a:ext cx="3735914" cy="369332"/>
          </a:xfrm>
          <a:prstGeom prst="rect">
            <a:avLst/>
          </a:prstGeom>
          <a:noFill/>
        </p:spPr>
        <p:txBody>
          <a:bodyPr wrap="square" rtlCol="0">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33363E"/>
                </a:solidFill>
                <a:effectLst/>
                <a:uLnTx/>
                <a:uFillTx/>
                <a:latin typeface="Calibri" panose="020F0502020204030204"/>
                <a:ea typeface="+mn-ea"/>
                <a:cs typeface="+mn-cs"/>
              </a:rPr>
              <a:t>*Nominal two-sided </a:t>
            </a:r>
            <a:r>
              <a:rPr kumimoji="0" lang="en-US" sz="1000" b="0" i="1" u="none" strike="noStrike" kern="1200" cap="none" spc="0" normalizeH="0" baseline="0" noProof="0" dirty="0">
                <a:ln>
                  <a:noFill/>
                </a:ln>
                <a:solidFill>
                  <a:srgbClr val="33363E"/>
                </a:solidFill>
                <a:effectLst/>
                <a:uLnTx/>
                <a:uFillTx/>
                <a:latin typeface="Calibri" panose="020F0502020204030204"/>
                <a:ea typeface="+mn-ea"/>
                <a:cs typeface="+mn-cs"/>
              </a:rPr>
              <a:t>P</a:t>
            </a:r>
            <a:r>
              <a:rPr kumimoji="0" lang="en-US" sz="1000" b="0" i="0" u="none" strike="noStrike" kern="1200" cap="none" spc="0" normalizeH="0" baseline="0" noProof="0" dirty="0">
                <a:ln>
                  <a:noFill/>
                </a:ln>
                <a:solidFill>
                  <a:srgbClr val="33363E"/>
                </a:solidFill>
                <a:effectLst/>
                <a:uLnTx/>
                <a:uFillTx/>
                <a:latin typeface="Calibri" panose="020F0502020204030204"/>
                <a:ea typeface="+mn-ea"/>
                <a:cs typeface="+mn-cs"/>
              </a:rPr>
              <a:t>-value from Wilcoxon signed-rank test for change from baseline.</a:t>
            </a:r>
            <a:endParaRPr kumimoji="0" lang="en-US" sz="1000" b="0" i="0" u="none" strike="noStrike" kern="1200" cap="none" spc="0" normalizeH="0" baseline="0" noProof="0" dirty="0">
              <a:ln>
                <a:noFill/>
              </a:ln>
              <a:solidFill>
                <a:srgbClr val="FF0000"/>
              </a:solidFill>
              <a:effectLst/>
              <a:uLnTx/>
              <a:uFillTx/>
              <a:latin typeface="Calibri" panose="020F0502020204030204"/>
              <a:ea typeface="+mn-ea"/>
              <a:cs typeface="+mn-cs"/>
            </a:endParaRPr>
          </a:p>
        </p:txBody>
      </p:sp>
      <p:sp>
        <p:nvSpPr>
          <p:cNvPr id="68" name="Rectangle 67"/>
          <p:cNvSpPr/>
          <p:nvPr/>
        </p:nvSpPr>
        <p:spPr>
          <a:xfrm>
            <a:off x="240128" y="2091475"/>
            <a:ext cx="3694942" cy="3365085"/>
          </a:xfrm>
          <a:prstGeom prst="rect">
            <a:avLst/>
          </a:prstGeom>
          <a:solidFill>
            <a:schemeClr val="bg1"/>
          </a:solidFill>
          <a:ln w="19050">
            <a:solidFill>
              <a:schemeClr val="accent6">
                <a:lumMod val="50000"/>
              </a:schemeClr>
            </a:solid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71" name="Content Placeholder 9"/>
          <p:cNvSpPr txBox="1">
            <a:spLocks/>
          </p:cNvSpPr>
          <p:nvPr/>
        </p:nvSpPr>
        <p:spPr>
          <a:xfrm>
            <a:off x="162799" y="1461583"/>
            <a:ext cx="4137847" cy="480131"/>
          </a:xfrm>
          <a:prstGeom prst="rect">
            <a:avLst/>
          </a:prstGeom>
        </p:spPr>
        <p:txBody>
          <a:bodyPr vert="horz" lIns="91440" tIns="45720" rIns="91440" bIns="45720" rtlCol="0">
            <a:spAutoFit/>
          </a:bodyPr>
          <a:lstStyle>
            <a:lvl1pPr marL="342900" indent="-342900" algn="l" defTabSz="914400" rtl="0" eaLnBrk="1" latinLnBrk="0" hangingPunct="1">
              <a:lnSpc>
                <a:spcPct val="90000"/>
              </a:lnSpc>
              <a:spcBef>
                <a:spcPct val="20000"/>
              </a:spcBef>
              <a:buClr>
                <a:schemeClr val="accent1"/>
              </a:buClr>
              <a:buSzPct val="90000"/>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lnSpc>
                <a:spcPct val="90000"/>
              </a:lnSpc>
              <a:spcBef>
                <a:spcPct val="20000"/>
              </a:spcBef>
              <a:buClr>
                <a:schemeClr val="tx1"/>
              </a:buClr>
              <a:buSzPct val="80000"/>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lnSpc>
                <a:spcPct val="90000"/>
              </a:lnSpc>
              <a:spcBef>
                <a:spcPct val="20000"/>
              </a:spcBef>
              <a:buClr>
                <a:schemeClr val="accent1"/>
              </a:buClr>
              <a:buSzPct val="70000"/>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lnSpc>
                <a:spcPct val="90000"/>
              </a:lnSpc>
              <a:spcBef>
                <a:spcPct val="20000"/>
              </a:spcBef>
              <a:buClr>
                <a:schemeClr val="tx1"/>
              </a:buClr>
              <a:buSzPct val="70000"/>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lnSpc>
                <a:spcPct val="90000"/>
              </a:lnSpc>
              <a:spcBef>
                <a:spcPct val="20000"/>
              </a:spcBef>
              <a:buClr>
                <a:schemeClr val="accent5"/>
              </a:buClr>
              <a:buSzPct val="60000"/>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lnSpc>
                <a:spcPct val="90000"/>
              </a:lnSpc>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lnSpc>
                <a:spcPct val="90000"/>
              </a:lnSpc>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lnSpc>
                <a:spcPct val="90000"/>
              </a:lnSpc>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lnSpc>
                <a:spcPct val="90000"/>
              </a:lnSpc>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0"/>
              </a:spcAft>
              <a:buClr>
                <a:srgbClr val="00AEB5">
                  <a:lumMod val="50000"/>
                </a:srgbClr>
              </a:buClr>
              <a:buSzPct val="90000"/>
              <a:buFont typeface="Arial" pitchFamily="34" charset="0"/>
              <a:buNone/>
              <a:tabLst/>
              <a:defRPr/>
            </a:pPr>
            <a:r>
              <a:rPr kumimoji="0" lang="en-US" sz="1400" b="1" i="0" u="none" strike="noStrike" kern="1200" cap="none" spc="0" normalizeH="0" baseline="0" noProof="0" dirty="0">
                <a:ln>
                  <a:noFill/>
                </a:ln>
                <a:solidFill>
                  <a:schemeClr val="accent2"/>
                </a:solidFill>
                <a:effectLst/>
                <a:uLnTx/>
                <a:uFillTx/>
                <a:latin typeface="Calibri" panose="020F0502020204030204"/>
                <a:ea typeface="+mn-ea"/>
                <a:cs typeface="+mn-cs"/>
              </a:rPr>
              <a:t>Change in LVEF for treatment patients at 12-mo</a:t>
            </a:r>
            <a:endParaRPr kumimoji="0" lang="en-US" sz="1400" b="1" i="1" u="none" strike="noStrike" kern="1200" cap="none" spc="0" normalizeH="0" baseline="30000" noProof="0" dirty="0">
              <a:ln>
                <a:noFill/>
              </a:ln>
              <a:solidFill>
                <a:schemeClr val="accent2"/>
              </a:solidFill>
              <a:effectLst/>
              <a:uLnTx/>
              <a:uFillTx/>
              <a:latin typeface="Calibri" panose="020F0502020204030204"/>
              <a:ea typeface="+mn-ea"/>
              <a:cs typeface="+mn-cs"/>
            </a:endParaRPr>
          </a:p>
          <a:p>
            <a:pPr marL="0" lvl="0" indent="0">
              <a:spcBef>
                <a:spcPts val="0"/>
              </a:spcBef>
              <a:buClr>
                <a:srgbClr val="00AEB5">
                  <a:lumMod val="50000"/>
                </a:srgbClr>
              </a:buClr>
              <a:buNone/>
              <a:defRPr/>
            </a:pPr>
            <a:r>
              <a:rPr lang="en-US" sz="1400" b="1" dirty="0">
                <a:solidFill>
                  <a:schemeClr val="accent2"/>
                </a:solidFill>
                <a:latin typeface="Calibri" panose="020F0502020204030204"/>
              </a:rPr>
              <a:t>(Subgroup with HF, EF≤</a:t>
            </a:r>
            <a:r>
              <a:rPr lang="en-US" sz="1400" b="1" dirty="0">
                <a:solidFill>
                  <a:schemeClr val="accent2"/>
                </a:solidFill>
              </a:rPr>
              <a:t>45% and no permanent AF)</a:t>
            </a:r>
            <a:r>
              <a:rPr lang="en-US" sz="1400" b="1" baseline="30000" dirty="0">
                <a:solidFill>
                  <a:schemeClr val="accent2"/>
                </a:solidFill>
              </a:rPr>
              <a:t>1</a:t>
            </a:r>
            <a:endParaRPr kumimoji="0" lang="en-US" sz="1400" b="0" i="0" u="none" strike="noStrike" kern="1200" cap="none" spc="0" normalizeH="0" baseline="0" noProof="0" dirty="0">
              <a:ln>
                <a:noFill/>
              </a:ln>
              <a:solidFill>
                <a:schemeClr val="accent2"/>
              </a:solidFill>
              <a:effectLst/>
              <a:uLnTx/>
              <a:uFillTx/>
              <a:latin typeface="Calibri" panose="020F0502020204030204"/>
            </a:endParaRPr>
          </a:p>
        </p:txBody>
      </p:sp>
      <p:graphicFrame>
        <p:nvGraphicFramePr>
          <p:cNvPr id="72" name="Content Placeholder 12"/>
          <p:cNvGraphicFramePr>
            <a:graphicFrameLocks/>
          </p:cNvGraphicFramePr>
          <p:nvPr/>
        </p:nvGraphicFramePr>
        <p:xfrm>
          <a:off x="118145" y="2016035"/>
          <a:ext cx="3788264" cy="3252478"/>
        </p:xfrm>
        <a:graphic>
          <a:graphicData uri="http://schemas.openxmlformats.org/drawingml/2006/chart">
            <c:chart xmlns:c="http://schemas.openxmlformats.org/drawingml/2006/chart" xmlns:r="http://schemas.openxmlformats.org/officeDocument/2006/relationships" r:id="rId6"/>
          </a:graphicData>
        </a:graphic>
      </p:graphicFrame>
      <p:sp>
        <p:nvSpPr>
          <p:cNvPr id="73" name="TextBox 72"/>
          <p:cNvSpPr txBox="1"/>
          <p:nvPr/>
        </p:nvSpPr>
        <p:spPr>
          <a:xfrm>
            <a:off x="1306093" y="4895798"/>
            <a:ext cx="856632" cy="31710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33363E"/>
                </a:solidFill>
                <a:effectLst/>
                <a:uLnTx/>
                <a:uFillTx/>
                <a:latin typeface="Calibri" panose="020F0502020204030204"/>
                <a:ea typeface="+mn-ea"/>
                <a:cs typeface="+mn-cs"/>
              </a:rPr>
              <a:t>Baseline</a:t>
            </a:r>
          </a:p>
        </p:txBody>
      </p:sp>
      <p:sp>
        <p:nvSpPr>
          <p:cNvPr id="122" name="TextBox 121"/>
          <p:cNvSpPr txBox="1"/>
          <p:nvPr/>
        </p:nvSpPr>
        <p:spPr>
          <a:xfrm>
            <a:off x="2560263" y="4895798"/>
            <a:ext cx="1064350" cy="31710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33363E"/>
                </a:solidFill>
                <a:effectLst/>
                <a:uLnTx/>
                <a:uFillTx/>
                <a:latin typeface="Calibri" panose="020F0502020204030204"/>
                <a:ea typeface="+mn-ea"/>
                <a:cs typeface="+mn-cs"/>
              </a:rPr>
              <a:t>12-months</a:t>
            </a:r>
          </a:p>
        </p:txBody>
      </p:sp>
      <p:sp>
        <p:nvSpPr>
          <p:cNvPr id="123" name="TextBox 122"/>
          <p:cNvSpPr txBox="1"/>
          <p:nvPr/>
        </p:nvSpPr>
        <p:spPr>
          <a:xfrm rot="16200000">
            <a:off x="-491581" y="3587079"/>
            <a:ext cx="1881094" cy="43088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33363E"/>
                </a:solidFill>
                <a:effectLst/>
                <a:uLnTx/>
                <a:uFillTx/>
                <a:latin typeface="Calibri" panose="020F0502020204030204"/>
                <a:ea typeface="+mn-ea"/>
                <a:cs typeface="+mn-cs"/>
              </a:rPr>
              <a:t>Mean Left</a:t>
            </a:r>
            <a:r>
              <a:rPr lang="en-US" sz="1100" b="1" dirty="0">
                <a:solidFill>
                  <a:srgbClr val="33363E"/>
                </a:solidFill>
                <a:latin typeface="Calibri" panose="020F0502020204030204"/>
              </a:rPr>
              <a:t> Ventricle Ejection Fraction %</a:t>
            </a:r>
            <a:endParaRPr kumimoji="0" lang="en-US" sz="1100" b="1" i="0" u="none" strike="noStrike" kern="1200" cap="none" spc="0" normalizeH="0" baseline="0" noProof="0" dirty="0">
              <a:ln>
                <a:noFill/>
              </a:ln>
              <a:solidFill>
                <a:srgbClr val="33363E"/>
              </a:solidFill>
              <a:effectLst/>
              <a:uLnTx/>
              <a:uFillTx/>
              <a:latin typeface="Calibri" panose="020F0502020204030204"/>
              <a:ea typeface="+mn-ea"/>
              <a:cs typeface="+mn-cs"/>
            </a:endParaRPr>
          </a:p>
        </p:txBody>
      </p:sp>
      <p:sp>
        <p:nvSpPr>
          <p:cNvPr id="124" name="Rectangle 123"/>
          <p:cNvSpPr/>
          <p:nvPr/>
        </p:nvSpPr>
        <p:spPr>
          <a:xfrm>
            <a:off x="448965" y="2205727"/>
            <a:ext cx="2383011"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33363E"/>
                </a:solidFill>
                <a:effectLst/>
                <a:uLnTx/>
                <a:uFillTx/>
                <a:latin typeface="Calibri" panose="020F0502020204030204"/>
                <a:ea typeface="+mn-ea"/>
                <a:cs typeface="+mn-cs"/>
              </a:rPr>
              <a:t>Nominal two-sided </a:t>
            </a:r>
            <a:r>
              <a:rPr kumimoji="0" lang="en-US" sz="1100" b="0" i="1" u="none" strike="noStrike" kern="1200" cap="none" spc="0" normalizeH="0" baseline="0" noProof="0" dirty="0">
                <a:ln>
                  <a:noFill/>
                </a:ln>
                <a:solidFill>
                  <a:srgbClr val="33363E"/>
                </a:solidFill>
                <a:effectLst/>
                <a:uLnTx/>
                <a:uFillTx/>
                <a:latin typeface="Calibri" panose="020F0502020204030204"/>
                <a:ea typeface="+mn-ea"/>
                <a:cs typeface="+mn-cs"/>
              </a:rPr>
              <a:t>P</a:t>
            </a:r>
            <a:r>
              <a:rPr kumimoji="0" lang="en-US" sz="1100" b="0" i="0" u="none" strike="noStrike" kern="1200" cap="none" spc="0" normalizeH="0" baseline="0" noProof="0" dirty="0">
                <a:ln>
                  <a:noFill/>
                </a:ln>
                <a:solidFill>
                  <a:srgbClr val="33363E"/>
                </a:solidFill>
                <a:effectLst/>
                <a:uLnTx/>
                <a:uFillTx/>
                <a:latin typeface="Calibri" panose="020F0502020204030204"/>
                <a:ea typeface="+mn-ea"/>
                <a:cs typeface="+mn-cs"/>
              </a:rPr>
              <a:t>-value p=0.004*</a:t>
            </a:r>
          </a:p>
        </p:txBody>
      </p:sp>
      <p:sp>
        <p:nvSpPr>
          <p:cNvPr id="26" name="Rectangle 25"/>
          <p:cNvSpPr/>
          <p:nvPr/>
        </p:nvSpPr>
        <p:spPr>
          <a:xfrm>
            <a:off x="4250153" y="2091475"/>
            <a:ext cx="3694942" cy="3365085"/>
          </a:xfrm>
          <a:prstGeom prst="rect">
            <a:avLst/>
          </a:prstGeom>
          <a:solidFill>
            <a:schemeClr val="bg1"/>
          </a:solidFill>
          <a:ln w="19050">
            <a:solidFill>
              <a:schemeClr val="accent6">
                <a:lumMod val="50000"/>
              </a:schemeClr>
            </a:solid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Calibri" panose="020F0502020204030204"/>
                <a:ea typeface="+mn-ea"/>
                <a:cs typeface="+mn-cs"/>
              </a:rPr>
              <a:t>12 Month rate</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Calibri" panose="020F0502020204030204"/>
                <a:ea typeface="+mn-ea"/>
                <a:cs typeface="+mn-cs"/>
              </a:rPr>
              <a:t> </a:t>
            </a:r>
            <a:r>
              <a:rPr kumimoji="0" lang="en-US" sz="1400" b="1" i="0" u="none" strike="noStrike" kern="1200" cap="none" spc="0" normalizeH="0" baseline="0" noProof="0">
                <a:ln>
                  <a:noFill/>
                </a:ln>
                <a:solidFill>
                  <a:srgbClr val="FFFFFF"/>
                </a:solidFill>
                <a:effectLst/>
                <a:uLnTx/>
                <a:uFillTx/>
                <a:latin typeface="Calibri" panose="020F0502020204030204"/>
                <a:ea typeface="+mn-ea"/>
                <a:cs typeface="+mn-cs"/>
              </a:rPr>
              <a:t>Treatment: 7.6%</a:t>
            </a:r>
            <a:endParaRPr kumimoji="0" lang="en-US" sz="1400" b="1"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27" name="Content Placeholder 9"/>
          <p:cNvSpPr txBox="1">
            <a:spLocks/>
          </p:cNvSpPr>
          <p:nvPr/>
        </p:nvSpPr>
        <p:spPr>
          <a:xfrm>
            <a:off x="4172824" y="1425724"/>
            <a:ext cx="4137847" cy="867930"/>
          </a:xfrm>
          <a:prstGeom prst="rect">
            <a:avLst/>
          </a:prstGeom>
        </p:spPr>
        <p:txBody>
          <a:bodyPr vert="horz" lIns="91440" tIns="45720" rIns="91440" bIns="45720" rtlCol="0">
            <a:spAutoFit/>
          </a:bodyPr>
          <a:lstStyle>
            <a:lvl1pPr marL="342900" indent="-342900" algn="l" defTabSz="914400" rtl="0" eaLnBrk="1" latinLnBrk="0" hangingPunct="1">
              <a:lnSpc>
                <a:spcPct val="90000"/>
              </a:lnSpc>
              <a:spcBef>
                <a:spcPct val="20000"/>
              </a:spcBef>
              <a:buClr>
                <a:schemeClr val="accent1"/>
              </a:buClr>
              <a:buSzPct val="90000"/>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lnSpc>
                <a:spcPct val="90000"/>
              </a:lnSpc>
              <a:spcBef>
                <a:spcPct val="20000"/>
              </a:spcBef>
              <a:buClr>
                <a:schemeClr val="tx1"/>
              </a:buClr>
              <a:buSzPct val="80000"/>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lnSpc>
                <a:spcPct val="90000"/>
              </a:lnSpc>
              <a:spcBef>
                <a:spcPct val="20000"/>
              </a:spcBef>
              <a:buClr>
                <a:schemeClr val="accent1"/>
              </a:buClr>
              <a:buSzPct val="70000"/>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lnSpc>
                <a:spcPct val="90000"/>
              </a:lnSpc>
              <a:spcBef>
                <a:spcPct val="20000"/>
              </a:spcBef>
              <a:buClr>
                <a:schemeClr val="tx1"/>
              </a:buClr>
              <a:buSzPct val="70000"/>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lnSpc>
                <a:spcPct val="90000"/>
              </a:lnSpc>
              <a:spcBef>
                <a:spcPct val="20000"/>
              </a:spcBef>
              <a:buClr>
                <a:schemeClr val="accent5"/>
              </a:buClr>
              <a:buSzPct val="60000"/>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lnSpc>
                <a:spcPct val="90000"/>
              </a:lnSpc>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lnSpc>
                <a:spcPct val="90000"/>
              </a:lnSpc>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lnSpc>
                <a:spcPct val="90000"/>
              </a:lnSpc>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lnSpc>
                <a:spcPct val="90000"/>
              </a:lnSpc>
              <a:spcBef>
                <a:spcPct val="20000"/>
              </a:spcBef>
              <a:buFont typeface="Arial" pitchFamily="34" charset="0"/>
              <a:buChar char="•"/>
              <a:defRPr sz="2000" kern="1200">
                <a:solidFill>
                  <a:schemeClr val="tx1"/>
                </a:solidFill>
                <a:latin typeface="+mn-lt"/>
                <a:ea typeface="+mn-ea"/>
                <a:cs typeface="+mn-cs"/>
              </a:defRPr>
            </a:lvl9pPr>
          </a:lstStyle>
          <a:p>
            <a:pPr marL="0" indent="0">
              <a:spcBef>
                <a:spcPts val="0"/>
              </a:spcBef>
              <a:buClr>
                <a:srgbClr val="00AEB5">
                  <a:lumMod val="50000"/>
                </a:srgbClr>
              </a:buClr>
              <a:buNone/>
            </a:pPr>
            <a:r>
              <a:rPr kumimoji="0" lang="en-US" sz="1400" b="1" i="0" u="none" strike="noStrike" kern="1200" cap="none" spc="0" normalizeH="0" baseline="0" noProof="0" dirty="0">
                <a:ln>
                  <a:noFill/>
                </a:ln>
                <a:solidFill>
                  <a:schemeClr val="accent2"/>
                </a:solidFill>
                <a:effectLst/>
                <a:uLnTx/>
                <a:uFillTx/>
                <a:latin typeface="Calibri" panose="020F0502020204030204"/>
                <a:ea typeface="+mn-ea"/>
                <a:cs typeface="+mn-cs"/>
              </a:rPr>
              <a:t>Kaplan-Meier Curve of Months to First </a:t>
            </a:r>
          </a:p>
          <a:p>
            <a:pPr marL="0" indent="0">
              <a:spcBef>
                <a:spcPts val="0"/>
              </a:spcBef>
              <a:buClr>
                <a:srgbClr val="00AEB5">
                  <a:lumMod val="50000"/>
                </a:srgbClr>
              </a:buClr>
              <a:buNone/>
            </a:pPr>
            <a:r>
              <a:rPr kumimoji="0" lang="en-US" sz="1400" b="1" i="0" u="none" strike="noStrike" kern="1200" cap="none" spc="0" normalizeH="0" baseline="0" noProof="0" dirty="0">
                <a:ln>
                  <a:noFill/>
                </a:ln>
                <a:solidFill>
                  <a:schemeClr val="accent2"/>
                </a:solidFill>
                <a:effectLst/>
                <a:uLnTx/>
                <a:uFillTx/>
                <a:latin typeface="Calibri" panose="020F0502020204030204"/>
                <a:ea typeface="+mn-ea"/>
                <a:cs typeface="+mn-cs"/>
              </a:rPr>
              <a:t>HF Hospitalization </a:t>
            </a:r>
          </a:p>
          <a:p>
            <a:pPr marL="0" indent="0">
              <a:spcBef>
                <a:spcPts val="0"/>
              </a:spcBef>
              <a:buClr>
                <a:srgbClr val="00AEB5">
                  <a:lumMod val="50000"/>
                </a:srgbClr>
              </a:buClr>
              <a:buNone/>
            </a:pPr>
            <a:r>
              <a:rPr kumimoji="0" lang="en-US" sz="1400" b="1" i="0" u="none" strike="noStrike" kern="1200" cap="none" spc="0" normalizeH="0" baseline="0" noProof="0" dirty="0">
                <a:ln>
                  <a:noFill/>
                </a:ln>
                <a:solidFill>
                  <a:schemeClr val="accent2"/>
                </a:solidFill>
                <a:effectLst/>
                <a:uLnTx/>
                <a:uFillTx/>
                <a:latin typeface="Calibri" panose="020F0502020204030204"/>
                <a:ea typeface="+mn-ea"/>
                <a:cs typeface="+mn-cs"/>
              </a:rPr>
              <a:t>(Subgroup with </a:t>
            </a:r>
            <a:r>
              <a:rPr lang="en-US" sz="1400" b="1" dirty="0">
                <a:solidFill>
                  <a:schemeClr val="accent2"/>
                </a:solidFill>
                <a:latin typeface="Calibri" panose="020F0502020204030204"/>
              </a:rPr>
              <a:t>NYHA II-III and EF≤45%</a:t>
            </a:r>
            <a:r>
              <a:rPr kumimoji="0" lang="en-US" sz="1400" b="1" i="0" u="none" strike="noStrike" kern="1200" cap="none" spc="0" normalizeH="0" baseline="0" noProof="0" dirty="0">
                <a:ln>
                  <a:noFill/>
                </a:ln>
                <a:solidFill>
                  <a:schemeClr val="accent2"/>
                </a:solidFill>
                <a:effectLst/>
                <a:uLnTx/>
                <a:uFillTx/>
                <a:latin typeface="Calibri" panose="020F0502020204030204"/>
                <a:ea typeface="+mn-ea"/>
                <a:cs typeface="+mn-cs"/>
              </a:rPr>
              <a:t>)</a:t>
            </a:r>
            <a:r>
              <a:rPr lang="en-US" sz="1400" b="1" baseline="30000" noProof="0" dirty="0">
                <a:solidFill>
                  <a:schemeClr val="accent2"/>
                </a:solidFill>
              </a:rPr>
              <a:t>2</a:t>
            </a:r>
            <a:endParaRPr lang="en-US" sz="1400" b="1" i="1" baseline="30000" dirty="0">
              <a:solidFill>
                <a:schemeClr val="accent2"/>
              </a:solidFill>
            </a:endParaRPr>
          </a:p>
          <a:p>
            <a:pPr marL="0" marR="0" lvl="0" indent="0" algn="l" defTabSz="914400" rtl="0" eaLnBrk="1" fontAlgn="auto" latinLnBrk="0" hangingPunct="1">
              <a:lnSpc>
                <a:spcPct val="90000"/>
              </a:lnSpc>
              <a:spcBef>
                <a:spcPts val="0"/>
              </a:spcBef>
              <a:spcAft>
                <a:spcPts val="0"/>
              </a:spcAft>
              <a:buClr>
                <a:srgbClr val="00AEB5">
                  <a:lumMod val="50000"/>
                </a:srgbClr>
              </a:buClr>
              <a:buSzPct val="90000"/>
              <a:buFont typeface="Arial" pitchFamily="34" charset="0"/>
              <a:buNone/>
              <a:tabLst/>
              <a:defRPr/>
            </a:pPr>
            <a:endParaRPr kumimoji="0" lang="en-US" sz="1400" b="1" i="0" u="none" strike="noStrike" kern="1200" cap="none" spc="0" normalizeH="0" baseline="0" noProof="0" dirty="0">
              <a:ln>
                <a:noFill/>
              </a:ln>
              <a:solidFill>
                <a:schemeClr val="accent2"/>
              </a:solidFill>
              <a:effectLst/>
              <a:uLnTx/>
              <a:uFillTx/>
              <a:latin typeface="Calibri" panose="020F0502020204030204"/>
              <a:ea typeface="+mn-ea"/>
              <a:cs typeface="+mn-cs"/>
            </a:endParaRPr>
          </a:p>
        </p:txBody>
      </p:sp>
      <p:sp>
        <p:nvSpPr>
          <p:cNvPr id="34" name="Rectangle 33"/>
          <p:cNvSpPr/>
          <p:nvPr/>
        </p:nvSpPr>
        <p:spPr>
          <a:xfrm>
            <a:off x="8183978" y="2091475"/>
            <a:ext cx="3694942" cy="3365085"/>
          </a:xfrm>
          <a:prstGeom prst="rect">
            <a:avLst/>
          </a:prstGeom>
          <a:solidFill>
            <a:schemeClr val="bg1"/>
          </a:solidFill>
          <a:ln w="19050">
            <a:solidFill>
              <a:schemeClr val="accent6">
                <a:lumMod val="50000"/>
              </a:schemeClr>
            </a:solid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5" name="Content Placeholder 9"/>
          <p:cNvSpPr txBox="1">
            <a:spLocks/>
          </p:cNvSpPr>
          <p:nvPr/>
        </p:nvSpPr>
        <p:spPr>
          <a:xfrm>
            <a:off x="8106649" y="1425724"/>
            <a:ext cx="4137847" cy="867930"/>
          </a:xfrm>
          <a:prstGeom prst="rect">
            <a:avLst/>
          </a:prstGeom>
        </p:spPr>
        <p:txBody>
          <a:bodyPr vert="horz" lIns="91440" tIns="45720" rIns="91440" bIns="45720" rtlCol="0">
            <a:spAutoFit/>
          </a:bodyPr>
          <a:lstStyle>
            <a:lvl1pPr marL="342900" indent="-342900" algn="l" defTabSz="914400" rtl="0" eaLnBrk="1" latinLnBrk="0" hangingPunct="1">
              <a:lnSpc>
                <a:spcPct val="90000"/>
              </a:lnSpc>
              <a:spcBef>
                <a:spcPct val="20000"/>
              </a:spcBef>
              <a:buClr>
                <a:schemeClr val="accent1"/>
              </a:buClr>
              <a:buSzPct val="90000"/>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lnSpc>
                <a:spcPct val="90000"/>
              </a:lnSpc>
              <a:spcBef>
                <a:spcPct val="20000"/>
              </a:spcBef>
              <a:buClr>
                <a:schemeClr val="tx1"/>
              </a:buClr>
              <a:buSzPct val="80000"/>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lnSpc>
                <a:spcPct val="90000"/>
              </a:lnSpc>
              <a:spcBef>
                <a:spcPct val="20000"/>
              </a:spcBef>
              <a:buClr>
                <a:schemeClr val="accent1"/>
              </a:buClr>
              <a:buSzPct val="70000"/>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lnSpc>
                <a:spcPct val="90000"/>
              </a:lnSpc>
              <a:spcBef>
                <a:spcPct val="20000"/>
              </a:spcBef>
              <a:buClr>
                <a:schemeClr val="tx1"/>
              </a:buClr>
              <a:buSzPct val="70000"/>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lnSpc>
                <a:spcPct val="90000"/>
              </a:lnSpc>
              <a:spcBef>
                <a:spcPct val="20000"/>
              </a:spcBef>
              <a:buClr>
                <a:schemeClr val="accent5"/>
              </a:buClr>
              <a:buSzPct val="60000"/>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lnSpc>
                <a:spcPct val="90000"/>
              </a:lnSpc>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lnSpc>
                <a:spcPct val="90000"/>
              </a:lnSpc>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lnSpc>
                <a:spcPct val="90000"/>
              </a:lnSpc>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lnSpc>
                <a:spcPct val="90000"/>
              </a:lnSpc>
              <a:spcBef>
                <a:spcPct val="20000"/>
              </a:spcBef>
              <a:buFont typeface="Arial" pitchFamily="34" charset="0"/>
              <a:buChar char="•"/>
              <a:defRPr sz="2000" kern="1200">
                <a:solidFill>
                  <a:schemeClr val="tx1"/>
                </a:solidFill>
                <a:latin typeface="+mn-lt"/>
                <a:ea typeface="+mn-ea"/>
                <a:cs typeface="+mn-cs"/>
              </a:defRPr>
            </a:lvl9pPr>
          </a:lstStyle>
          <a:p>
            <a:pPr marL="0" indent="0">
              <a:spcBef>
                <a:spcPts val="0"/>
              </a:spcBef>
              <a:buClr>
                <a:srgbClr val="00AEB5">
                  <a:lumMod val="50000"/>
                </a:srgbClr>
              </a:buClr>
              <a:buNone/>
            </a:pPr>
            <a:r>
              <a:rPr kumimoji="0" lang="en-US" sz="1400" b="1" i="0" u="none" strike="noStrike" kern="1200" cap="none" spc="0" normalizeH="0" baseline="0" noProof="0" dirty="0">
                <a:ln>
                  <a:noFill/>
                </a:ln>
                <a:solidFill>
                  <a:schemeClr val="accent2"/>
                </a:solidFill>
                <a:effectLst/>
                <a:uLnTx/>
                <a:uFillTx/>
                <a:latin typeface="Calibri" panose="020F0502020204030204"/>
                <a:ea typeface="+mn-ea"/>
                <a:cs typeface="+mn-cs"/>
              </a:rPr>
              <a:t>Kaplan-Meier Curve of Months to</a:t>
            </a:r>
          </a:p>
          <a:p>
            <a:pPr marL="0" indent="0">
              <a:spcBef>
                <a:spcPts val="0"/>
              </a:spcBef>
              <a:buClr>
                <a:srgbClr val="00AEB5">
                  <a:lumMod val="50000"/>
                </a:srgbClr>
              </a:buClr>
              <a:buNone/>
            </a:pPr>
            <a:r>
              <a:rPr kumimoji="0" lang="en-US" sz="1400" b="1" i="0" u="none" strike="noStrike" kern="1200" cap="none" spc="0" normalizeH="0" baseline="0" noProof="0" dirty="0">
                <a:ln>
                  <a:noFill/>
                </a:ln>
                <a:solidFill>
                  <a:schemeClr val="accent2"/>
                </a:solidFill>
                <a:effectLst/>
                <a:uLnTx/>
                <a:uFillTx/>
                <a:latin typeface="Calibri" panose="020F0502020204030204"/>
                <a:ea typeface="+mn-ea"/>
                <a:cs typeface="+mn-cs"/>
              </a:rPr>
              <a:t>Cardiovascular Death </a:t>
            </a:r>
          </a:p>
          <a:p>
            <a:pPr marL="0" indent="0">
              <a:spcBef>
                <a:spcPts val="0"/>
              </a:spcBef>
              <a:buClr>
                <a:srgbClr val="00AEB5">
                  <a:lumMod val="50000"/>
                </a:srgbClr>
              </a:buClr>
              <a:buNone/>
            </a:pPr>
            <a:r>
              <a:rPr kumimoji="0" lang="en-US" sz="1400" b="1" i="0" u="none" strike="noStrike" kern="1200" cap="none" spc="0" normalizeH="0" baseline="0" noProof="0" dirty="0">
                <a:ln>
                  <a:noFill/>
                </a:ln>
                <a:solidFill>
                  <a:schemeClr val="accent2"/>
                </a:solidFill>
                <a:effectLst/>
                <a:uLnTx/>
                <a:uFillTx/>
                <a:latin typeface="Calibri" panose="020F0502020204030204"/>
                <a:ea typeface="+mn-ea"/>
                <a:cs typeface="+mn-cs"/>
              </a:rPr>
              <a:t>(Subgroup with </a:t>
            </a:r>
            <a:r>
              <a:rPr lang="en-US" sz="1400" b="1" dirty="0">
                <a:solidFill>
                  <a:schemeClr val="accent2"/>
                </a:solidFill>
              </a:rPr>
              <a:t>HF)</a:t>
            </a:r>
            <a:r>
              <a:rPr lang="en-US" sz="1400" b="1" baseline="30000" dirty="0">
                <a:solidFill>
                  <a:schemeClr val="accent2"/>
                </a:solidFill>
              </a:rPr>
              <a:t>1</a:t>
            </a:r>
            <a:endParaRPr lang="en-US" sz="1400" b="1" i="1" baseline="30000" dirty="0">
              <a:solidFill>
                <a:schemeClr val="accent2"/>
              </a:solidFill>
            </a:endParaRPr>
          </a:p>
          <a:p>
            <a:pPr marL="0" marR="0" lvl="0" indent="0" algn="l" defTabSz="914400" rtl="0" eaLnBrk="1" fontAlgn="auto" latinLnBrk="0" hangingPunct="1">
              <a:lnSpc>
                <a:spcPct val="90000"/>
              </a:lnSpc>
              <a:spcBef>
                <a:spcPts val="0"/>
              </a:spcBef>
              <a:spcAft>
                <a:spcPts val="0"/>
              </a:spcAft>
              <a:buClr>
                <a:srgbClr val="00AEB5">
                  <a:lumMod val="50000"/>
                </a:srgbClr>
              </a:buClr>
              <a:buSzPct val="90000"/>
              <a:buFont typeface="Arial" pitchFamily="34" charset="0"/>
              <a:buNone/>
              <a:tabLst/>
              <a:defRPr/>
            </a:pPr>
            <a:endParaRPr kumimoji="0" lang="en-US" sz="1400" b="1" i="0" u="none" strike="noStrike" kern="1200" cap="none" spc="0" normalizeH="0" baseline="0" noProof="0" dirty="0">
              <a:ln>
                <a:noFill/>
              </a:ln>
              <a:solidFill>
                <a:schemeClr val="accent2"/>
              </a:solidFill>
              <a:effectLst/>
              <a:uLnTx/>
              <a:uFillTx/>
              <a:latin typeface="Calibri" panose="020F0502020204030204"/>
              <a:ea typeface="+mn-ea"/>
              <a:cs typeface="+mn-cs"/>
            </a:endParaRPr>
          </a:p>
        </p:txBody>
      </p:sp>
      <p:sp>
        <p:nvSpPr>
          <p:cNvPr id="11" name="TextBox 10"/>
          <p:cNvSpPr txBox="1"/>
          <p:nvPr/>
        </p:nvSpPr>
        <p:spPr>
          <a:xfrm>
            <a:off x="4345300" y="2242580"/>
            <a:ext cx="2543986"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33363E"/>
                </a:solidFill>
                <a:effectLst/>
                <a:uLnTx/>
                <a:uFillTx/>
                <a:latin typeface="Calibri" panose="020F0502020204030204"/>
                <a:ea typeface="+mn-ea"/>
                <a:cs typeface="+mn-cs"/>
              </a:rPr>
              <a:t>Log-rank p-value=0.014</a:t>
            </a:r>
          </a:p>
        </p:txBody>
      </p:sp>
      <p:sp>
        <p:nvSpPr>
          <p:cNvPr id="32" name="TextBox 31"/>
          <p:cNvSpPr txBox="1"/>
          <p:nvPr/>
        </p:nvSpPr>
        <p:spPr>
          <a:xfrm>
            <a:off x="8310671" y="2242580"/>
            <a:ext cx="2543986"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33363E"/>
                </a:solidFill>
                <a:effectLst/>
                <a:uLnTx/>
                <a:uFillTx/>
                <a:latin typeface="Calibri" panose="020F0502020204030204"/>
                <a:ea typeface="+mn-ea"/>
                <a:cs typeface="+mn-cs"/>
              </a:rPr>
              <a:t>Log-rank p-value=0.617</a:t>
            </a:r>
          </a:p>
        </p:txBody>
      </p:sp>
      <p:sp>
        <p:nvSpPr>
          <p:cNvPr id="12" name="Rectangle 11"/>
          <p:cNvSpPr/>
          <p:nvPr/>
        </p:nvSpPr>
        <p:spPr>
          <a:xfrm>
            <a:off x="8803672" y="2861975"/>
            <a:ext cx="803275" cy="10585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5" name="TextBox 24"/>
          <p:cNvSpPr txBox="1"/>
          <p:nvPr/>
        </p:nvSpPr>
        <p:spPr>
          <a:xfrm>
            <a:off x="8231364" y="5492782"/>
            <a:ext cx="3647556" cy="369332"/>
          </a:xfrm>
          <a:prstGeom prst="rect">
            <a:avLst/>
          </a:prstGeom>
          <a:noFill/>
        </p:spPr>
        <p:txBody>
          <a:bodyPr wrap="square" rtlCol="0">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33363E"/>
                </a:solidFill>
                <a:effectLst/>
                <a:uLnTx/>
                <a:uFillTx/>
                <a:latin typeface="Calibri" panose="020F0502020204030204"/>
                <a:ea typeface="+mn-ea"/>
                <a:cs typeface="+mn-cs"/>
              </a:rPr>
              <a:t>Note: The all-cause death Kaplan-Meier curve is identical to this curve since all deaths in first 6 months were CV related.</a:t>
            </a:r>
            <a:endParaRPr kumimoji="0" lang="en-US" sz="1000" b="0" i="0" u="none" strike="noStrike" kern="1200" cap="none" spc="0" normalizeH="0" baseline="0" noProof="0" dirty="0">
              <a:ln>
                <a:noFill/>
              </a:ln>
              <a:solidFill>
                <a:srgbClr val="FF0000"/>
              </a:solidFill>
              <a:effectLst/>
              <a:uLnTx/>
              <a:uFillTx/>
              <a:latin typeface="Calibri" panose="020F0502020204030204"/>
              <a:ea typeface="+mn-ea"/>
              <a:cs typeface="+mn-cs"/>
            </a:endParaRPr>
          </a:p>
        </p:txBody>
      </p:sp>
      <p:sp>
        <p:nvSpPr>
          <p:cNvPr id="28" name="TextBox 27"/>
          <p:cNvSpPr txBox="1"/>
          <p:nvPr/>
        </p:nvSpPr>
        <p:spPr>
          <a:xfrm>
            <a:off x="4345300" y="5244434"/>
            <a:ext cx="3647341" cy="230832"/>
          </a:xfrm>
          <a:prstGeom prst="rect">
            <a:avLst/>
          </a:prstGeom>
          <a:noFill/>
        </p:spPr>
        <p:txBody>
          <a:bodyPr wrap="square" rtlCol="0">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33363E"/>
                </a:solidFill>
                <a:effectLst/>
                <a:uLnTx/>
                <a:uFillTx/>
                <a:latin typeface="Calibri" panose="020F0502020204030204"/>
                <a:ea typeface="+mn-ea"/>
                <a:cs typeface="+mn-cs"/>
              </a:rPr>
              <a:t>Control subjects censored when therapy turned on at 6 months</a:t>
            </a:r>
            <a:endParaRPr kumimoji="0" lang="en-US" sz="1000" b="0" i="0" u="none" strike="noStrike" kern="1200" cap="none" spc="0" normalizeH="0" baseline="0" noProof="0" dirty="0">
              <a:ln>
                <a:noFill/>
              </a:ln>
              <a:solidFill>
                <a:srgbClr val="FF0000"/>
              </a:solidFill>
              <a:effectLst/>
              <a:uLnTx/>
              <a:uFillTx/>
              <a:latin typeface="Calibri" panose="020F0502020204030204"/>
              <a:ea typeface="+mn-ea"/>
              <a:cs typeface="+mn-cs"/>
            </a:endParaRPr>
          </a:p>
        </p:txBody>
      </p:sp>
      <p:sp>
        <p:nvSpPr>
          <p:cNvPr id="29" name="TextBox 28"/>
          <p:cNvSpPr txBox="1"/>
          <p:nvPr/>
        </p:nvSpPr>
        <p:spPr>
          <a:xfrm>
            <a:off x="8218682" y="5243539"/>
            <a:ext cx="3647341" cy="230832"/>
          </a:xfrm>
          <a:prstGeom prst="rect">
            <a:avLst/>
          </a:prstGeom>
          <a:noFill/>
        </p:spPr>
        <p:txBody>
          <a:bodyPr wrap="square" rtlCol="0">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33363E"/>
                </a:solidFill>
                <a:effectLst/>
                <a:uLnTx/>
                <a:uFillTx/>
                <a:latin typeface="Calibri" panose="020F0502020204030204"/>
                <a:ea typeface="+mn-ea"/>
                <a:cs typeface="+mn-cs"/>
              </a:rPr>
              <a:t>Control subjects censored when therapy turned on at 6 months</a:t>
            </a:r>
            <a:endParaRPr kumimoji="0" lang="en-US" sz="1000" b="0" i="0" u="none" strike="noStrike" kern="1200" cap="none" spc="0" normalizeH="0" baseline="0" noProof="0" dirty="0">
              <a:ln>
                <a:noFill/>
              </a:ln>
              <a:solidFill>
                <a:srgbClr val="FF0000"/>
              </a:solidFill>
              <a:effectLst/>
              <a:uLnTx/>
              <a:uFillTx/>
              <a:latin typeface="Calibri" panose="020F0502020204030204"/>
              <a:ea typeface="+mn-ea"/>
              <a:cs typeface="+mn-cs"/>
            </a:endParaRPr>
          </a:p>
        </p:txBody>
      </p:sp>
      <p:pic>
        <p:nvPicPr>
          <p:cNvPr id="28752" name="Picture 2" descr="image002"/>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auto">
          <a:xfrm>
            <a:off x="8279927" y="2815834"/>
            <a:ext cx="3552695" cy="20880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1" name="Title 4"/>
          <p:cNvSpPr txBox="1">
            <a:spLocks/>
          </p:cNvSpPr>
          <p:nvPr/>
        </p:nvSpPr>
        <p:spPr>
          <a:xfrm>
            <a:off x="240128" y="248334"/>
            <a:ext cx="11868727" cy="827999"/>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600" b="1" kern="1200" spc="100" baseline="0">
                <a:solidFill>
                  <a:schemeClr val="accent5"/>
                </a:solidFill>
                <a:latin typeface="+mn-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800" i="0" u="none" strike="noStrike" kern="1200" cap="none" spc="100" normalizeH="0" baseline="0" noProof="0" dirty="0">
                <a:ln>
                  <a:noFill/>
                </a:ln>
                <a:solidFill>
                  <a:schemeClr val="accent2"/>
                </a:solidFill>
                <a:effectLst/>
                <a:uLnTx/>
                <a:uFillTx/>
                <a:ea typeface="+mj-ea"/>
                <a:cs typeface="+mj-cs"/>
              </a:rPr>
              <a:t>Published post hoc analysis explored changes in LVEF, time to first HF hospitalization and time cardiovascular death in the heart failure cohort</a:t>
            </a:r>
          </a:p>
        </p:txBody>
      </p:sp>
      <p:sp>
        <p:nvSpPr>
          <p:cNvPr id="3" name="TextBox 2"/>
          <p:cNvSpPr txBox="1"/>
          <p:nvPr/>
        </p:nvSpPr>
        <p:spPr>
          <a:xfrm>
            <a:off x="118145" y="6471898"/>
            <a:ext cx="10003468" cy="338554"/>
          </a:xfrm>
          <a:prstGeom prst="rect">
            <a:avLst/>
          </a:prstGeom>
          <a:noFill/>
        </p:spPr>
        <p:txBody>
          <a:bodyPr wrap="square" rtlCol="0">
            <a:spAutoFit/>
          </a:bodyPr>
          <a:lstStyle/>
          <a:p>
            <a:pPr marL="228600" lvl="0" indent="-228600">
              <a:buAutoNum type="arabicPeriod"/>
            </a:pPr>
            <a:r>
              <a:rPr kumimoji="0" lang="en-US" sz="800" b="0" i="0" u="none" strike="noStrike" kern="1200" cap="none" spc="0" normalizeH="0" baseline="0" noProof="0" dirty="0">
                <a:ln>
                  <a:noFill/>
                </a:ln>
                <a:solidFill>
                  <a:srgbClr val="33363E"/>
                </a:solidFill>
                <a:effectLst/>
                <a:uLnTx/>
                <a:uFillTx/>
                <a:latin typeface="Calibri" panose="020F0502020204030204"/>
                <a:ea typeface="+mn-ea"/>
                <a:cs typeface="+mn-cs"/>
              </a:rPr>
              <a:t>Costanzo et al.  Eur J Heart Fail 2018; </a:t>
            </a:r>
            <a:r>
              <a:rPr kumimoji="0" lang="en-US" sz="800" b="0" i="0" u="none" strike="noStrike" kern="1200" cap="none" spc="0" normalizeH="0" baseline="0" noProof="0" dirty="0">
                <a:ln>
                  <a:noFill/>
                </a:ln>
                <a:solidFill>
                  <a:srgbClr val="33363E"/>
                </a:solidFill>
                <a:effectLst/>
                <a:uLnTx/>
                <a:uFillTx/>
                <a:latin typeface="Calibri" panose="020F0502020204030204"/>
                <a:ea typeface="+mn-ea"/>
                <a:cs typeface="+mn-cs"/>
                <a:hlinkClick r:id="rId8"/>
              </a:rPr>
              <a:t>https://doi.org/10.1002/ejhf.1312</a:t>
            </a:r>
            <a:r>
              <a:rPr lang="en-US" sz="800" dirty="0">
                <a:solidFill>
                  <a:srgbClr val="33363E"/>
                </a:solidFill>
              </a:rPr>
              <a:t> </a:t>
            </a:r>
          </a:p>
          <a:p>
            <a:pPr marL="228600" lvl="0" indent="-228600">
              <a:buAutoNum type="arabicPeriod"/>
            </a:pPr>
            <a:r>
              <a:rPr lang="en-US" sz="800" dirty="0" err="1">
                <a:solidFill>
                  <a:srgbClr val="33363E"/>
                </a:solidFill>
              </a:rPr>
              <a:t>Ponikowski</a:t>
            </a:r>
            <a:r>
              <a:rPr lang="en-US" sz="800" dirty="0">
                <a:solidFill>
                  <a:srgbClr val="33363E"/>
                </a:solidFill>
              </a:rPr>
              <a:t> P, et al.  </a:t>
            </a:r>
            <a:r>
              <a:rPr lang="en-US" sz="800" dirty="0" err="1">
                <a:solidFill>
                  <a:srgbClr val="33363E"/>
                </a:solidFill>
              </a:rPr>
              <a:t>Eur</a:t>
            </a:r>
            <a:r>
              <a:rPr lang="en-US" sz="800" dirty="0">
                <a:solidFill>
                  <a:srgbClr val="33363E"/>
                </a:solidFill>
              </a:rPr>
              <a:t> J Heart Fail 2019;21 (S1): 346; doi:10.1002/ejhf.1488 </a:t>
            </a:r>
            <a:endParaRPr kumimoji="0" lang="en-US" sz="800" b="0" i="0" u="none" strike="noStrike" kern="1200" cap="none" spc="0" normalizeH="0" baseline="0" noProof="0" dirty="0">
              <a:ln>
                <a:noFill/>
              </a:ln>
              <a:solidFill>
                <a:srgbClr val="33363E"/>
              </a:solidFill>
              <a:effectLst/>
              <a:uLnTx/>
              <a:uFillTx/>
              <a:latin typeface="Calibri" panose="020F0502020204030204"/>
              <a:ea typeface="+mn-ea"/>
              <a:cs typeface="+mn-cs"/>
            </a:endParaRPr>
          </a:p>
        </p:txBody>
      </p:sp>
      <p:sp>
        <p:nvSpPr>
          <p:cNvPr id="5" name="Rectangle 4"/>
          <p:cNvSpPr/>
          <p:nvPr/>
        </p:nvSpPr>
        <p:spPr>
          <a:xfrm>
            <a:off x="162799" y="6023824"/>
            <a:ext cx="11781523" cy="30777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33363E"/>
                </a:solidFill>
                <a:effectLst/>
                <a:uLnTx/>
                <a:uFillTx/>
                <a:latin typeface="Calibri" panose="020F0502020204030204"/>
                <a:ea typeface="+mn-ea"/>
                <a:cs typeface="+mn-cs"/>
              </a:rPr>
              <a:t>*remedē is not indicated to treat, cure, prevent, mitigate or diagnose heart failure. These data represent unspecified secondary endpoints.</a:t>
            </a:r>
          </a:p>
        </p:txBody>
      </p:sp>
      <p:sp>
        <p:nvSpPr>
          <p:cNvPr id="43" name="TextBox 42"/>
          <p:cNvSpPr txBox="1"/>
          <p:nvPr/>
        </p:nvSpPr>
        <p:spPr>
          <a:xfrm>
            <a:off x="4267571" y="4724749"/>
            <a:ext cx="1934185" cy="55399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33363E"/>
                </a:solidFill>
                <a:effectLst/>
                <a:uLnTx/>
                <a:uFillTx/>
                <a:latin typeface="Calibri" panose="020F0502020204030204"/>
                <a:ea typeface="+mn-ea"/>
                <a:cs typeface="+mn-cs"/>
              </a:rPr>
              <a:t>6 Month HF hospitalization rate:</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1" i="0" u="none" strike="noStrike" kern="1200" cap="none" spc="0" normalizeH="0" baseline="0" noProof="0" dirty="0">
                <a:ln>
                  <a:noFill/>
                </a:ln>
                <a:solidFill>
                  <a:srgbClr val="33363E"/>
                </a:solidFill>
                <a:effectLst/>
                <a:uLnTx/>
                <a:uFillTx/>
                <a:latin typeface="Calibri" panose="020F0502020204030204"/>
                <a:ea typeface="+mn-ea"/>
                <a:cs typeface="+mn-cs"/>
              </a:rPr>
              <a:t>Treatment: 3.7% </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1" i="0" u="none" strike="noStrike" kern="1200" cap="none" spc="0" normalizeH="0" baseline="0" noProof="0" dirty="0">
                <a:ln>
                  <a:noFill/>
                </a:ln>
                <a:solidFill>
                  <a:srgbClr val="33363E"/>
                </a:solidFill>
                <a:effectLst/>
                <a:uLnTx/>
                <a:uFillTx/>
                <a:latin typeface="Calibri" panose="020F0502020204030204"/>
                <a:ea typeface="+mn-ea"/>
                <a:cs typeface="+mn-cs"/>
              </a:rPr>
              <a:t>Control:       27.3%</a:t>
            </a:r>
          </a:p>
        </p:txBody>
      </p:sp>
      <p:sp>
        <p:nvSpPr>
          <p:cNvPr id="44" name="TextBox 43"/>
          <p:cNvSpPr txBox="1"/>
          <p:nvPr/>
        </p:nvSpPr>
        <p:spPr>
          <a:xfrm>
            <a:off x="6049138" y="4724749"/>
            <a:ext cx="1934185"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33363E"/>
                </a:solidFill>
                <a:effectLst/>
                <a:uLnTx/>
                <a:uFillTx/>
                <a:latin typeface="Calibri" panose="020F0502020204030204"/>
                <a:ea typeface="+mn-ea"/>
                <a:cs typeface="+mn-cs"/>
              </a:rPr>
              <a:t>12 Month HF hospitalization rate:</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1" i="0" u="none" strike="noStrike" kern="1200" cap="none" spc="0" normalizeH="0" baseline="0" noProof="0" dirty="0">
                <a:ln>
                  <a:noFill/>
                </a:ln>
                <a:solidFill>
                  <a:srgbClr val="33363E"/>
                </a:solidFill>
                <a:effectLst/>
                <a:uLnTx/>
                <a:uFillTx/>
                <a:latin typeface="Calibri" panose="020F0502020204030204"/>
                <a:ea typeface="+mn-ea"/>
                <a:cs typeface="+mn-cs"/>
              </a:rPr>
              <a:t>Treatment: 7.6% </a:t>
            </a:r>
          </a:p>
        </p:txBody>
      </p:sp>
      <p:pic>
        <p:nvPicPr>
          <p:cNvPr id="8" name="Picture 7"/>
          <p:cNvPicPr>
            <a:picLocks noChangeAspect="1"/>
          </p:cNvPicPr>
          <p:nvPr/>
        </p:nvPicPr>
        <p:blipFill>
          <a:blip r:embed="rId9"/>
          <a:stretch>
            <a:fillRect/>
          </a:stretch>
        </p:blipFill>
        <p:spPr>
          <a:xfrm>
            <a:off x="4314254" y="2754862"/>
            <a:ext cx="3607852" cy="1969887"/>
          </a:xfrm>
          <a:prstGeom prst="rect">
            <a:avLst/>
          </a:prstGeom>
        </p:spPr>
      </p:pic>
      <p:sp>
        <p:nvSpPr>
          <p:cNvPr id="37" name="TextBox 36">
            <a:extLst>
              <a:ext uri="{FF2B5EF4-FFF2-40B4-BE49-F238E27FC236}">
                <a16:creationId xmlns:a16="http://schemas.microsoft.com/office/drawing/2014/main" id="{B03982C0-66A8-4B3F-ABA4-7A0819112523}"/>
              </a:ext>
            </a:extLst>
          </p:cNvPr>
          <p:cNvSpPr txBox="1"/>
          <p:nvPr/>
        </p:nvSpPr>
        <p:spPr>
          <a:xfrm>
            <a:off x="4819650" y="4000988"/>
            <a:ext cx="2998752" cy="184666"/>
          </a:xfrm>
          <a:prstGeom prst="rect">
            <a:avLst/>
          </a:prstGeom>
          <a:solidFill>
            <a:schemeClr val="bg1"/>
          </a:solid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33363E"/>
                </a:solidFill>
                <a:effectLst/>
                <a:uLnTx/>
                <a:uFillTx/>
                <a:latin typeface="Calibri" panose="020F0502020204030204"/>
                <a:ea typeface="+mn-ea"/>
                <a:cs typeface="+mn-cs"/>
              </a:rPr>
              <a:t>30                                     23                                       9                                        0                                       0</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600" dirty="0">
                <a:solidFill>
                  <a:srgbClr val="33363E"/>
                </a:solidFill>
                <a:latin typeface="Calibri" panose="020F0502020204030204"/>
              </a:rPr>
              <a:t>28                                     27                                      26                                     23                                     22</a:t>
            </a:r>
            <a:endParaRPr kumimoji="0" lang="en-US" sz="600" b="0" i="0" u="none" strike="noStrike" kern="1200" cap="none" spc="0" normalizeH="0" baseline="0" noProof="0" dirty="0">
              <a:ln>
                <a:noFill/>
              </a:ln>
              <a:solidFill>
                <a:srgbClr val="33363E"/>
              </a:solidFill>
              <a:effectLst/>
              <a:uLnTx/>
              <a:uFillTx/>
              <a:latin typeface="Calibri" panose="020F0502020204030204"/>
              <a:ea typeface="+mn-ea"/>
              <a:cs typeface="+mn-cs"/>
            </a:endParaRPr>
          </a:p>
        </p:txBody>
      </p:sp>
      <p:sp>
        <p:nvSpPr>
          <p:cNvPr id="2" name="TextBox 1"/>
          <p:cNvSpPr txBox="1"/>
          <p:nvPr/>
        </p:nvSpPr>
        <p:spPr>
          <a:xfrm>
            <a:off x="1374943" y="5097121"/>
            <a:ext cx="742626" cy="261610"/>
          </a:xfrm>
          <a:prstGeom prst="rect">
            <a:avLst/>
          </a:prstGeom>
          <a:noFill/>
        </p:spPr>
        <p:txBody>
          <a:bodyPr wrap="square" rtlCol="0">
            <a:spAutoFit/>
          </a:bodyPr>
          <a:lstStyle/>
          <a:p>
            <a:r>
              <a:rPr lang="en-US" sz="1100" dirty="0"/>
              <a:t>N=50</a:t>
            </a:r>
          </a:p>
        </p:txBody>
      </p:sp>
      <p:sp>
        <p:nvSpPr>
          <p:cNvPr id="38" name="TextBox 37"/>
          <p:cNvSpPr txBox="1"/>
          <p:nvPr/>
        </p:nvSpPr>
        <p:spPr>
          <a:xfrm>
            <a:off x="2777410" y="5087476"/>
            <a:ext cx="742626" cy="261610"/>
          </a:xfrm>
          <a:prstGeom prst="rect">
            <a:avLst/>
          </a:prstGeom>
          <a:noFill/>
        </p:spPr>
        <p:txBody>
          <a:bodyPr wrap="square" rtlCol="0">
            <a:spAutoFit/>
          </a:bodyPr>
          <a:lstStyle/>
          <a:p>
            <a:r>
              <a:rPr lang="en-US" sz="1100" dirty="0"/>
              <a:t>N=41</a:t>
            </a:r>
          </a:p>
        </p:txBody>
      </p:sp>
      <p:sp>
        <p:nvSpPr>
          <p:cNvPr id="9" name="Slide Number Placeholder 8">
            <a:extLst>
              <a:ext uri="{FF2B5EF4-FFF2-40B4-BE49-F238E27FC236}">
                <a16:creationId xmlns:a16="http://schemas.microsoft.com/office/drawing/2014/main" id="{5B7AE3B8-B01C-1620-059C-9F8647FE59B6}"/>
              </a:ext>
            </a:extLst>
          </p:cNvPr>
          <p:cNvSpPr>
            <a:spLocks noGrp="1"/>
          </p:cNvSpPr>
          <p:nvPr>
            <p:ph type="sldNum" sz="quarter" idx="12"/>
          </p:nvPr>
        </p:nvSpPr>
        <p:spPr/>
        <p:txBody>
          <a:bodyPr/>
          <a:lstStyle/>
          <a:p>
            <a:fld id="{21D51F98-DEF0-4E23-AE94-24E7CFC19B28}" type="slidenum">
              <a:rPr lang="en-US" smtClean="0"/>
              <a:t>52</a:t>
            </a:fld>
            <a:endParaRPr lang="en-US" dirty="0"/>
          </a:p>
        </p:txBody>
      </p:sp>
      <p:sp>
        <p:nvSpPr>
          <p:cNvPr id="13" name="Footer Placeholder 5">
            <a:extLst>
              <a:ext uri="{FF2B5EF4-FFF2-40B4-BE49-F238E27FC236}">
                <a16:creationId xmlns:a16="http://schemas.microsoft.com/office/drawing/2014/main" id="{D3ACCD17-24E2-9EDA-BD36-C102D87CB76B}"/>
              </a:ext>
            </a:extLst>
          </p:cNvPr>
          <p:cNvSpPr>
            <a:spLocks noGrp="1"/>
          </p:cNvSpPr>
          <p:nvPr>
            <p:ph type="ftr" sz="quarter" idx="11"/>
          </p:nvPr>
        </p:nvSpPr>
        <p:spPr>
          <a:xfrm>
            <a:off x="3684598" y="6459785"/>
            <a:ext cx="4822804" cy="365125"/>
          </a:xfrm>
        </p:spPr>
        <p:txBody>
          <a:bodyPr/>
          <a:lstStyle/>
          <a:p>
            <a:r>
              <a:rPr lang="en-US" dirty="0"/>
              <a:t>MAF1937 Rev E</a:t>
            </a:r>
          </a:p>
        </p:txBody>
      </p:sp>
    </p:spTree>
    <p:extLst>
      <p:ext uri="{BB962C8B-B14F-4D97-AF65-F5344CB8AC3E}">
        <p14:creationId xmlns:p14="http://schemas.microsoft.com/office/powerpoint/2010/main" val="3452369482"/>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Shape 124"/>
        <p:cNvGrpSpPr/>
        <p:nvPr/>
      </p:nvGrpSpPr>
      <p:grpSpPr>
        <a:xfrm>
          <a:off x="0" y="0"/>
          <a:ext cx="0" cy="0"/>
          <a:chOff x="0" y="0"/>
          <a:chExt cx="0" cy="0"/>
        </a:xfrm>
      </p:grpSpPr>
      <p:sp>
        <p:nvSpPr>
          <p:cNvPr id="125" name="Google Shape;125;p4"/>
          <p:cNvSpPr txBox="1">
            <a:spLocks noGrp="1"/>
          </p:cNvSpPr>
          <p:nvPr>
            <p:ph type="title" idx="4294967295"/>
          </p:nvPr>
        </p:nvSpPr>
        <p:spPr>
          <a:xfrm>
            <a:off x="423069" y="180279"/>
            <a:ext cx="11345862" cy="771525"/>
          </a:xfrm>
          <a:prstGeom prst="rect">
            <a:avLst/>
          </a:prstGeom>
          <a:noFill/>
          <a:ln>
            <a:noFill/>
          </a:ln>
        </p:spPr>
        <p:txBody>
          <a:bodyPr spcFirstLastPara="1" wrap="square" lIns="91425" tIns="45700" rIns="91425" bIns="45700" anchor="t" anchorCtr="0">
            <a:normAutofit/>
          </a:bodyPr>
          <a:lstStyle/>
          <a:p>
            <a:pPr lvl="0"/>
            <a:r>
              <a:rPr lang="en-US" sz="3600" b="1" dirty="0">
                <a:solidFill>
                  <a:schemeClr val="accent2"/>
                </a:solidFill>
                <a:latin typeface="+mn-lt"/>
              </a:rPr>
              <a:t>Therapy response was consistent across subgroups</a:t>
            </a:r>
          </a:p>
        </p:txBody>
      </p:sp>
      <p:sp>
        <p:nvSpPr>
          <p:cNvPr id="4" name="Rectangle 3">
            <a:extLst>
              <a:ext uri="{FF2B5EF4-FFF2-40B4-BE49-F238E27FC236}">
                <a16:creationId xmlns:a16="http://schemas.microsoft.com/office/drawing/2014/main" id="{501BC756-29EF-614C-A1E9-E1E96B729354}"/>
              </a:ext>
            </a:extLst>
          </p:cNvPr>
          <p:cNvSpPr/>
          <p:nvPr/>
        </p:nvSpPr>
        <p:spPr>
          <a:xfrm>
            <a:off x="970283" y="715607"/>
            <a:ext cx="11294466" cy="307777"/>
          </a:xfrm>
          <a:prstGeom prst="rect">
            <a:avLst/>
          </a:prstGeom>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entury Gothic" panose="020B0502020202020204" pitchFamily="34" charset="0"/>
                <a:ea typeface="ＭＳ Ｐゴシック" pitchFamily="-106" charset="-128"/>
                <a:cs typeface="+mn-cs"/>
              </a:rPr>
              <a:t>Forest plot showing the proportion of subjects achieving at least 50% reduction in AHI for subgroups of interest</a:t>
            </a:r>
            <a:r>
              <a:rPr kumimoji="0" lang="en-US" sz="1400" b="0" i="0" u="none" strike="noStrike" kern="1200" cap="none" spc="0" normalizeH="0" baseline="30000" noProof="0" dirty="0">
                <a:ln>
                  <a:noFill/>
                </a:ln>
                <a:solidFill>
                  <a:srgbClr val="000000"/>
                </a:solidFill>
                <a:effectLst/>
                <a:uLnTx/>
                <a:uFillTx/>
                <a:latin typeface="Century Gothic" panose="020B0502020202020204" pitchFamily="34" charset="0"/>
                <a:ea typeface="ＭＳ Ｐゴシック" pitchFamily="-106" charset="-128"/>
                <a:cs typeface="+mn-cs"/>
              </a:rPr>
              <a:t>1</a:t>
            </a:r>
          </a:p>
        </p:txBody>
      </p:sp>
      <p:graphicFrame>
        <p:nvGraphicFramePr>
          <p:cNvPr id="5" name="Table 4">
            <a:extLst>
              <a:ext uri="{FF2B5EF4-FFF2-40B4-BE49-F238E27FC236}">
                <a16:creationId xmlns:a16="http://schemas.microsoft.com/office/drawing/2014/main" id="{2A96AE9F-F77C-C24F-84BB-E8131640F207}"/>
              </a:ext>
            </a:extLst>
          </p:cNvPr>
          <p:cNvGraphicFramePr>
            <a:graphicFrameLocks noGrp="1"/>
          </p:cNvGraphicFramePr>
          <p:nvPr>
            <p:extLst>
              <p:ext uri="{D42A27DB-BD31-4B8C-83A1-F6EECF244321}">
                <p14:modId xmlns:p14="http://schemas.microsoft.com/office/powerpoint/2010/main" val="2319293588"/>
              </p:ext>
            </p:extLst>
          </p:nvPr>
        </p:nvGraphicFramePr>
        <p:xfrm>
          <a:off x="2083836" y="1103005"/>
          <a:ext cx="4914790" cy="5074120"/>
        </p:xfrm>
        <a:graphic>
          <a:graphicData uri="http://schemas.openxmlformats.org/drawingml/2006/table">
            <a:tbl>
              <a:tblPr firstRow="1" bandRow="1">
                <a:tableStyleId>{5C22544A-7EE6-4342-B048-85BDC9FD1C3A}</a:tableStyleId>
              </a:tblPr>
              <a:tblGrid>
                <a:gridCol w="2457395">
                  <a:extLst>
                    <a:ext uri="{9D8B030D-6E8A-4147-A177-3AD203B41FA5}">
                      <a16:colId xmlns:a16="http://schemas.microsoft.com/office/drawing/2014/main" val="3922971831"/>
                    </a:ext>
                  </a:extLst>
                </a:gridCol>
                <a:gridCol w="2457395">
                  <a:extLst>
                    <a:ext uri="{9D8B030D-6E8A-4147-A177-3AD203B41FA5}">
                      <a16:colId xmlns:a16="http://schemas.microsoft.com/office/drawing/2014/main" val="2522037252"/>
                    </a:ext>
                  </a:extLst>
                </a:gridCol>
              </a:tblGrid>
              <a:tr h="581563">
                <a:tc>
                  <a:txBody>
                    <a:bodyPr/>
                    <a:lstStyle/>
                    <a:p>
                      <a:pPr algn="ctr">
                        <a:lnSpc>
                          <a:spcPct val="150000"/>
                        </a:lnSpc>
                      </a:pPr>
                      <a:r>
                        <a:rPr lang="en-US" sz="900" b="1" dirty="0"/>
                        <a:t>24 Months of Therapy </a:t>
                      </a:r>
                    </a:p>
                    <a:p>
                      <a:pPr algn="ctr">
                        <a:lnSpc>
                          <a:spcPct val="150000"/>
                        </a:lnSpc>
                        <a:spcBef>
                          <a:spcPts val="600"/>
                        </a:spcBef>
                      </a:pPr>
                      <a:r>
                        <a:rPr lang="en-US" sz="900" b="1" dirty="0"/>
                        <a:t>Subgroup</a:t>
                      </a:r>
                    </a:p>
                  </a:txBody>
                  <a:tcPr marT="17626" marB="17626"/>
                </a:tc>
                <a:tc>
                  <a:txBody>
                    <a:bodyPr/>
                    <a:lstStyle/>
                    <a:p>
                      <a:pPr algn="ctr">
                        <a:lnSpc>
                          <a:spcPct val="150000"/>
                        </a:lnSpc>
                      </a:pPr>
                      <a:r>
                        <a:rPr lang="en-US" sz="1000" b="1" dirty="0"/>
                        <a:t>AHI Reduced ≥ 50%</a:t>
                      </a:r>
                    </a:p>
                    <a:p>
                      <a:pPr algn="ctr">
                        <a:lnSpc>
                          <a:spcPct val="150000"/>
                        </a:lnSpc>
                      </a:pPr>
                      <a:r>
                        <a:rPr lang="en-US" sz="1000" b="1" dirty="0"/>
                        <a:t>Treatment Group % (n/N)</a:t>
                      </a:r>
                    </a:p>
                  </a:txBody>
                  <a:tcPr marT="17626" marB="17626"/>
                </a:tc>
                <a:extLst>
                  <a:ext uri="{0D108BD9-81ED-4DB2-BD59-A6C34878D82A}">
                    <a16:rowId xmlns:a16="http://schemas.microsoft.com/office/drawing/2014/main" val="3510156391"/>
                  </a:ext>
                </a:extLst>
              </a:tr>
              <a:tr h="166391">
                <a:tc>
                  <a:txBody>
                    <a:bodyPr/>
                    <a:lstStyle/>
                    <a:p>
                      <a:r>
                        <a:rPr lang="en-US" sz="800" b="1" dirty="0"/>
                        <a:t>Age</a:t>
                      </a:r>
                    </a:p>
                  </a:txBody>
                  <a:tcPr marT="17626" marB="17626">
                    <a:solidFill>
                      <a:schemeClr val="bg1">
                        <a:lumMod val="85000"/>
                      </a:schemeClr>
                    </a:solidFill>
                  </a:tcPr>
                </a:tc>
                <a:tc>
                  <a:txBody>
                    <a:bodyPr/>
                    <a:lstStyle/>
                    <a:p>
                      <a:pPr algn="ctr"/>
                      <a:endParaRPr lang="en-US" sz="800" b="1" dirty="0"/>
                    </a:p>
                  </a:txBody>
                  <a:tcPr marT="17626" marB="17626">
                    <a:solidFill>
                      <a:schemeClr val="bg1">
                        <a:lumMod val="85000"/>
                      </a:schemeClr>
                    </a:solidFill>
                  </a:tcPr>
                </a:tc>
                <a:extLst>
                  <a:ext uri="{0D108BD9-81ED-4DB2-BD59-A6C34878D82A}">
                    <a16:rowId xmlns:a16="http://schemas.microsoft.com/office/drawing/2014/main" val="576946369"/>
                  </a:ext>
                </a:extLst>
              </a:tr>
              <a:tr h="166391">
                <a:tc>
                  <a:txBody>
                    <a:bodyPr/>
                    <a:lstStyle/>
                    <a:p>
                      <a:pPr marL="180000" lvl="0"/>
                      <a:r>
                        <a:rPr lang="en-US" sz="800" b="1" dirty="0"/>
                        <a:t>&lt;65</a:t>
                      </a:r>
                    </a:p>
                  </a:txBody>
                  <a:tcPr marT="17626" marB="17626">
                    <a:solidFill>
                      <a:schemeClr val="bg1">
                        <a:lumMod val="95000"/>
                      </a:schemeClr>
                    </a:solidFill>
                  </a:tcPr>
                </a:tc>
                <a:tc>
                  <a:txBody>
                    <a:bodyPr/>
                    <a:lstStyle/>
                    <a:p>
                      <a:pPr algn="ctr"/>
                      <a:r>
                        <a:rPr lang="en-US" sz="800" b="1" dirty="0"/>
                        <a:t>54% (13/24)</a:t>
                      </a:r>
                    </a:p>
                  </a:txBody>
                  <a:tcPr marT="17626" marB="17626">
                    <a:solidFill>
                      <a:schemeClr val="bg1">
                        <a:lumMod val="95000"/>
                      </a:schemeClr>
                    </a:solidFill>
                  </a:tcPr>
                </a:tc>
                <a:extLst>
                  <a:ext uri="{0D108BD9-81ED-4DB2-BD59-A6C34878D82A}">
                    <a16:rowId xmlns:a16="http://schemas.microsoft.com/office/drawing/2014/main" val="3626103890"/>
                  </a:ext>
                </a:extLst>
              </a:tr>
              <a:tr h="166391">
                <a:tc>
                  <a:txBody>
                    <a:bodyPr/>
                    <a:lstStyle/>
                    <a:p>
                      <a:pPr marL="180000" lvl="0"/>
                      <a:r>
                        <a:rPr lang="en-US" sz="800" b="1" dirty="0"/>
                        <a:t>≥ 65</a:t>
                      </a:r>
                    </a:p>
                  </a:txBody>
                  <a:tcPr marT="17626" marB="17626">
                    <a:solidFill>
                      <a:schemeClr val="bg1">
                        <a:lumMod val="95000"/>
                      </a:schemeClr>
                    </a:solidFill>
                  </a:tcPr>
                </a:tc>
                <a:tc>
                  <a:txBody>
                    <a:bodyPr/>
                    <a:lstStyle/>
                    <a:p>
                      <a:pPr algn="ctr"/>
                      <a:r>
                        <a:rPr lang="en-US" sz="800" b="1" dirty="0"/>
                        <a:t>67% (12/18)</a:t>
                      </a:r>
                    </a:p>
                  </a:txBody>
                  <a:tcPr marT="17626" marB="17626">
                    <a:solidFill>
                      <a:schemeClr val="bg1">
                        <a:lumMod val="95000"/>
                      </a:schemeClr>
                    </a:solidFill>
                  </a:tcPr>
                </a:tc>
                <a:extLst>
                  <a:ext uri="{0D108BD9-81ED-4DB2-BD59-A6C34878D82A}">
                    <a16:rowId xmlns:a16="http://schemas.microsoft.com/office/drawing/2014/main" val="2803420486"/>
                  </a:ext>
                </a:extLst>
              </a:tr>
              <a:tr h="166391">
                <a:tc>
                  <a:txBody>
                    <a:bodyPr/>
                    <a:lstStyle/>
                    <a:p>
                      <a:r>
                        <a:rPr lang="en-US" sz="800" b="1" dirty="0"/>
                        <a:t>Sex</a:t>
                      </a:r>
                    </a:p>
                  </a:txBody>
                  <a:tcPr marT="17626" marB="17626">
                    <a:solidFill>
                      <a:schemeClr val="bg1">
                        <a:lumMod val="85000"/>
                      </a:schemeClr>
                    </a:solidFill>
                  </a:tcPr>
                </a:tc>
                <a:tc>
                  <a:txBody>
                    <a:bodyPr/>
                    <a:lstStyle/>
                    <a:p>
                      <a:pPr algn="ctr"/>
                      <a:endParaRPr lang="en-US" sz="800" b="1" dirty="0"/>
                    </a:p>
                  </a:txBody>
                  <a:tcPr marT="17626" marB="17626">
                    <a:solidFill>
                      <a:schemeClr val="bg1">
                        <a:lumMod val="85000"/>
                      </a:schemeClr>
                    </a:solidFill>
                  </a:tcPr>
                </a:tc>
                <a:extLst>
                  <a:ext uri="{0D108BD9-81ED-4DB2-BD59-A6C34878D82A}">
                    <a16:rowId xmlns:a16="http://schemas.microsoft.com/office/drawing/2014/main" val="2082993655"/>
                  </a:ext>
                </a:extLst>
              </a:tr>
              <a:tr h="166391">
                <a:tc>
                  <a:txBody>
                    <a:bodyPr/>
                    <a:lstStyle/>
                    <a:p>
                      <a:pPr marL="180000"/>
                      <a:r>
                        <a:rPr lang="en-US" sz="800" b="1" dirty="0"/>
                        <a:t>Female</a:t>
                      </a:r>
                    </a:p>
                  </a:txBody>
                  <a:tcPr marT="17626" marB="17626">
                    <a:solidFill>
                      <a:schemeClr val="bg1">
                        <a:lumMod val="95000"/>
                      </a:schemeClr>
                    </a:solidFill>
                  </a:tcPr>
                </a:tc>
                <a:tc>
                  <a:txBody>
                    <a:bodyPr/>
                    <a:lstStyle/>
                    <a:p>
                      <a:pPr algn="ctr"/>
                      <a:r>
                        <a:rPr lang="en-US" sz="800" b="1" dirty="0"/>
                        <a:t>80% (4/5)</a:t>
                      </a:r>
                    </a:p>
                  </a:txBody>
                  <a:tcPr marT="17626" marB="17626">
                    <a:solidFill>
                      <a:schemeClr val="bg1">
                        <a:lumMod val="95000"/>
                      </a:schemeClr>
                    </a:solidFill>
                  </a:tcPr>
                </a:tc>
                <a:extLst>
                  <a:ext uri="{0D108BD9-81ED-4DB2-BD59-A6C34878D82A}">
                    <a16:rowId xmlns:a16="http://schemas.microsoft.com/office/drawing/2014/main" val="3880669095"/>
                  </a:ext>
                </a:extLst>
              </a:tr>
              <a:tr h="166391">
                <a:tc>
                  <a:txBody>
                    <a:bodyPr/>
                    <a:lstStyle/>
                    <a:p>
                      <a:pPr marL="180000"/>
                      <a:r>
                        <a:rPr lang="en-US" sz="800" b="1" dirty="0"/>
                        <a:t>Male</a:t>
                      </a:r>
                    </a:p>
                  </a:txBody>
                  <a:tcPr marT="17626" marB="17626">
                    <a:solidFill>
                      <a:schemeClr val="bg1">
                        <a:lumMod val="95000"/>
                      </a:schemeClr>
                    </a:solidFill>
                  </a:tcPr>
                </a:tc>
                <a:tc>
                  <a:txBody>
                    <a:bodyPr/>
                    <a:lstStyle/>
                    <a:p>
                      <a:pPr algn="ctr"/>
                      <a:r>
                        <a:rPr lang="en-US" sz="800" b="1" dirty="0"/>
                        <a:t>67% (21/37)</a:t>
                      </a:r>
                    </a:p>
                  </a:txBody>
                  <a:tcPr marT="17626" marB="17626">
                    <a:solidFill>
                      <a:schemeClr val="bg1">
                        <a:lumMod val="95000"/>
                      </a:schemeClr>
                    </a:solidFill>
                  </a:tcPr>
                </a:tc>
                <a:extLst>
                  <a:ext uri="{0D108BD9-81ED-4DB2-BD59-A6C34878D82A}">
                    <a16:rowId xmlns:a16="http://schemas.microsoft.com/office/drawing/2014/main" val="3259271812"/>
                  </a:ext>
                </a:extLst>
              </a:tr>
              <a:tr h="166391">
                <a:tc>
                  <a:txBody>
                    <a:bodyPr/>
                    <a:lstStyle/>
                    <a:p>
                      <a:r>
                        <a:rPr lang="en-US" sz="800" b="1" dirty="0"/>
                        <a:t>Heart Failure</a:t>
                      </a:r>
                    </a:p>
                  </a:txBody>
                  <a:tcPr marT="17626" marB="17626">
                    <a:solidFill>
                      <a:schemeClr val="bg1">
                        <a:lumMod val="85000"/>
                      </a:schemeClr>
                    </a:solidFill>
                  </a:tcPr>
                </a:tc>
                <a:tc>
                  <a:txBody>
                    <a:bodyPr/>
                    <a:lstStyle/>
                    <a:p>
                      <a:pPr algn="ctr"/>
                      <a:endParaRPr lang="en-US" sz="800" b="1" dirty="0"/>
                    </a:p>
                  </a:txBody>
                  <a:tcPr marT="17626" marB="17626">
                    <a:solidFill>
                      <a:schemeClr val="bg1">
                        <a:lumMod val="85000"/>
                      </a:schemeClr>
                    </a:solidFill>
                  </a:tcPr>
                </a:tc>
                <a:extLst>
                  <a:ext uri="{0D108BD9-81ED-4DB2-BD59-A6C34878D82A}">
                    <a16:rowId xmlns:a16="http://schemas.microsoft.com/office/drawing/2014/main" val="3244809772"/>
                  </a:ext>
                </a:extLst>
              </a:tr>
              <a:tr h="166391">
                <a:tc>
                  <a:txBody>
                    <a:bodyPr/>
                    <a:lstStyle/>
                    <a:p>
                      <a:pPr marL="180000"/>
                      <a:r>
                        <a:rPr lang="en-US" sz="800" b="1" dirty="0"/>
                        <a:t>No</a:t>
                      </a:r>
                    </a:p>
                  </a:txBody>
                  <a:tcPr marT="17626" marB="17626">
                    <a:solidFill>
                      <a:schemeClr val="bg1">
                        <a:lumMod val="95000"/>
                      </a:schemeClr>
                    </a:solidFill>
                  </a:tcPr>
                </a:tc>
                <a:tc>
                  <a:txBody>
                    <a:bodyPr/>
                    <a:lstStyle/>
                    <a:p>
                      <a:pPr algn="ctr"/>
                      <a:r>
                        <a:rPr lang="en-US" sz="800" b="1" dirty="0"/>
                        <a:t>62% (13/21)</a:t>
                      </a:r>
                    </a:p>
                  </a:txBody>
                  <a:tcPr marT="17626" marB="17626">
                    <a:solidFill>
                      <a:schemeClr val="bg1">
                        <a:lumMod val="95000"/>
                      </a:schemeClr>
                    </a:solidFill>
                  </a:tcPr>
                </a:tc>
                <a:extLst>
                  <a:ext uri="{0D108BD9-81ED-4DB2-BD59-A6C34878D82A}">
                    <a16:rowId xmlns:a16="http://schemas.microsoft.com/office/drawing/2014/main" val="3561251110"/>
                  </a:ext>
                </a:extLst>
              </a:tr>
              <a:tr h="166391">
                <a:tc>
                  <a:txBody>
                    <a:bodyPr/>
                    <a:lstStyle/>
                    <a:p>
                      <a:pPr marL="180000"/>
                      <a:r>
                        <a:rPr lang="en-US" sz="800" b="1" dirty="0"/>
                        <a:t>Yes</a:t>
                      </a:r>
                    </a:p>
                  </a:txBody>
                  <a:tcPr marT="17626" marB="17626">
                    <a:solidFill>
                      <a:schemeClr val="bg1">
                        <a:lumMod val="95000"/>
                      </a:schemeClr>
                    </a:solidFill>
                  </a:tcPr>
                </a:tc>
                <a:tc>
                  <a:txBody>
                    <a:bodyPr/>
                    <a:lstStyle/>
                    <a:p>
                      <a:pPr algn="ctr"/>
                      <a:r>
                        <a:rPr lang="en-US" sz="800" b="1" dirty="0"/>
                        <a:t>57% (12/21)</a:t>
                      </a:r>
                    </a:p>
                  </a:txBody>
                  <a:tcPr marT="17626" marB="17626">
                    <a:solidFill>
                      <a:schemeClr val="bg1">
                        <a:lumMod val="95000"/>
                      </a:schemeClr>
                    </a:solidFill>
                  </a:tcPr>
                </a:tc>
                <a:extLst>
                  <a:ext uri="{0D108BD9-81ED-4DB2-BD59-A6C34878D82A}">
                    <a16:rowId xmlns:a16="http://schemas.microsoft.com/office/drawing/2014/main" val="3832536763"/>
                  </a:ext>
                </a:extLst>
              </a:tr>
              <a:tr h="166391">
                <a:tc>
                  <a:txBody>
                    <a:bodyPr/>
                    <a:lstStyle/>
                    <a:p>
                      <a:r>
                        <a:rPr lang="en-US" sz="800" b="1" dirty="0"/>
                        <a:t>Height (Median)</a:t>
                      </a:r>
                    </a:p>
                  </a:txBody>
                  <a:tcPr marT="17626" marB="17626">
                    <a:solidFill>
                      <a:schemeClr val="bg1">
                        <a:lumMod val="85000"/>
                      </a:schemeClr>
                    </a:solidFill>
                  </a:tcPr>
                </a:tc>
                <a:tc>
                  <a:txBody>
                    <a:bodyPr/>
                    <a:lstStyle/>
                    <a:p>
                      <a:pPr algn="ctr"/>
                      <a:endParaRPr lang="en-US" sz="800" b="1" dirty="0"/>
                    </a:p>
                  </a:txBody>
                  <a:tcPr marT="17626" marB="17626">
                    <a:solidFill>
                      <a:schemeClr val="bg1">
                        <a:lumMod val="85000"/>
                      </a:schemeClr>
                    </a:solidFill>
                  </a:tcPr>
                </a:tc>
                <a:extLst>
                  <a:ext uri="{0D108BD9-81ED-4DB2-BD59-A6C34878D82A}">
                    <a16:rowId xmlns:a16="http://schemas.microsoft.com/office/drawing/2014/main" val="2960865356"/>
                  </a:ext>
                </a:extLst>
              </a:tr>
              <a:tr h="166391">
                <a:tc>
                  <a:txBody>
                    <a:bodyPr/>
                    <a:lstStyle/>
                    <a:p>
                      <a:pPr marL="180000"/>
                      <a:r>
                        <a:rPr lang="en-US" sz="800" b="1" dirty="0"/>
                        <a:t>&lt;176 cm</a:t>
                      </a:r>
                    </a:p>
                  </a:txBody>
                  <a:tcPr marT="17626" marB="17626">
                    <a:solidFill>
                      <a:schemeClr val="bg1">
                        <a:lumMod val="95000"/>
                      </a:schemeClr>
                    </a:solidFill>
                  </a:tcPr>
                </a:tc>
                <a:tc>
                  <a:txBody>
                    <a:bodyPr/>
                    <a:lstStyle/>
                    <a:p>
                      <a:pPr algn="ctr"/>
                      <a:r>
                        <a:rPr lang="en-US" sz="800" b="1" dirty="0"/>
                        <a:t>65% (13/20)</a:t>
                      </a:r>
                    </a:p>
                  </a:txBody>
                  <a:tcPr marT="17626" marB="17626">
                    <a:solidFill>
                      <a:schemeClr val="bg1">
                        <a:lumMod val="95000"/>
                      </a:schemeClr>
                    </a:solidFill>
                  </a:tcPr>
                </a:tc>
                <a:extLst>
                  <a:ext uri="{0D108BD9-81ED-4DB2-BD59-A6C34878D82A}">
                    <a16:rowId xmlns:a16="http://schemas.microsoft.com/office/drawing/2014/main" val="453796331"/>
                  </a:ext>
                </a:extLst>
              </a:tr>
              <a:tr h="166391">
                <a:tc>
                  <a:txBody>
                    <a:bodyPr/>
                    <a:lstStyle/>
                    <a:p>
                      <a:pPr marL="180000"/>
                      <a:r>
                        <a:rPr lang="en-US" sz="800" b="1" dirty="0"/>
                        <a:t>≥176 cm</a:t>
                      </a:r>
                    </a:p>
                  </a:txBody>
                  <a:tcPr marT="17626" marB="17626">
                    <a:solidFill>
                      <a:schemeClr val="bg1">
                        <a:lumMod val="95000"/>
                      </a:schemeClr>
                    </a:solidFill>
                  </a:tcPr>
                </a:tc>
                <a:tc>
                  <a:txBody>
                    <a:bodyPr/>
                    <a:lstStyle/>
                    <a:p>
                      <a:pPr algn="ctr"/>
                      <a:r>
                        <a:rPr lang="en-US" sz="800" b="1" dirty="0"/>
                        <a:t>55% (12/22)</a:t>
                      </a:r>
                    </a:p>
                  </a:txBody>
                  <a:tcPr marT="17626" marB="17626">
                    <a:solidFill>
                      <a:schemeClr val="bg1">
                        <a:lumMod val="95000"/>
                      </a:schemeClr>
                    </a:solidFill>
                  </a:tcPr>
                </a:tc>
                <a:extLst>
                  <a:ext uri="{0D108BD9-81ED-4DB2-BD59-A6C34878D82A}">
                    <a16:rowId xmlns:a16="http://schemas.microsoft.com/office/drawing/2014/main" val="1228258512"/>
                  </a:ext>
                </a:extLst>
              </a:tr>
              <a:tr h="166391">
                <a:tc>
                  <a:txBody>
                    <a:bodyPr/>
                    <a:lstStyle/>
                    <a:p>
                      <a:r>
                        <a:rPr lang="en-US" sz="800" b="1" dirty="0"/>
                        <a:t>Hypopnea Index (Median)</a:t>
                      </a:r>
                    </a:p>
                  </a:txBody>
                  <a:tcPr marT="17626" marB="17626">
                    <a:solidFill>
                      <a:schemeClr val="bg1">
                        <a:lumMod val="85000"/>
                      </a:schemeClr>
                    </a:solidFill>
                  </a:tcPr>
                </a:tc>
                <a:tc>
                  <a:txBody>
                    <a:bodyPr/>
                    <a:lstStyle/>
                    <a:p>
                      <a:pPr algn="ctr"/>
                      <a:endParaRPr lang="en-US" sz="800" b="1" dirty="0"/>
                    </a:p>
                  </a:txBody>
                  <a:tcPr marT="17626" marB="17626">
                    <a:solidFill>
                      <a:schemeClr val="bg1">
                        <a:lumMod val="85000"/>
                      </a:schemeClr>
                    </a:solidFill>
                  </a:tcPr>
                </a:tc>
                <a:extLst>
                  <a:ext uri="{0D108BD9-81ED-4DB2-BD59-A6C34878D82A}">
                    <a16:rowId xmlns:a16="http://schemas.microsoft.com/office/drawing/2014/main" val="881976280"/>
                  </a:ext>
                </a:extLst>
              </a:tr>
              <a:tr h="166391">
                <a:tc>
                  <a:txBody>
                    <a:bodyPr/>
                    <a:lstStyle/>
                    <a:p>
                      <a:pPr marL="180000"/>
                      <a:r>
                        <a:rPr lang="en-US" sz="800" b="1" dirty="0"/>
                        <a:t>&lt;14 Events/Hour</a:t>
                      </a:r>
                    </a:p>
                  </a:txBody>
                  <a:tcPr marT="17626" marB="17626">
                    <a:solidFill>
                      <a:schemeClr val="bg1">
                        <a:lumMod val="95000"/>
                      </a:schemeClr>
                    </a:solidFill>
                  </a:tcPr>
                </a:tc>
                <a:tc>
                  <a:txBody>
                    <a:bodyPr/>
                    <a:lstStyle/>
                    <a:p>
                      <a:pPr algn="ctr"/>
                      <a:r>
                        <a:rPr lang="en-US" sz="800" b="1" dirty="0"/>
                        <a:t>43% (9/21)</a:t>
                      </a:r>
                    </a:p>
                  </a:txBody>
                  <a:tcPr marT="17626" marB="17626">
                    <a:solidFill>
                      <a:schemeClr val="bg1">
                        <a:lumMod val="95000"/>
                      </a:schemeClr>
                    </a:solidFill>
                  </a:tcPr>
                </a:tc>
                <a:extLst>
                  <a:ext uri="{0D108BD9-81ED-4DB2-BD59-A6C34878D82A}">
                    <a16:rowId xmlns:a16="http://schemas.microsoft.com/office/drawing/2014/main" val="2151411650"/>
                  </a:ext>
                </a:extLst>
              </a:tr>
              <a:tr h="166391">
                <a:tc>
                  <a:txBody>
                    <a:bodyPr/>
                    <a:lstStyle/>
                    <a:p>
                      <a:pPr marL="180000"/>
                      <a:r>
                        <a:rPr lang="en-US" sz="800" b="1" dirty="0"/>
                        <a:t>≥14 Events/Hour</a:t>
                      </a:r>
                    </a:p>
                  </a:txBody>
                  <a:tcPr marT="17626" marB="17626">
                    <a:solidFill>
                      <a:schemeClr val="bg1">
                        <a:lumMod val="95000"/>
                      </a:schemeClr>
                    </a:solidFill>
                  </a:tcPr>
                </a:tc>
                <a:tc>
                  <a:txBody>
                    <a:bodyPr/>
                    <a:lstStyle/>
                    <a:p>
                      <a:pPr algn="ctr"/>
                      <a:r>
                        <a:rPr lang="en-US" sz="800" b="1" dirty="0"/>
                        <a:t>76% (16/21)</a:t>
                      </a:r>
                    </a:p>
                  </a:txBody>
                  <a:tcPr marT="17626" marB="17626">
                    <a:solidFill>
                      <a:schemeClr val="bg1">
                        <a:lumMod val="95000"/>
                      </a:schemeClr>
                    </a:solidFill>
                  </a:tcPr>
                </a:tc>
                <a:extLst>
                  <a:ext uri="{0D108BD9-81ED-4DB2-BD59-A6C34878D82A}">
                    <a16:rowId xmlns:a16="http://schemas.microsoft.com/office/drawing/2014/main" val="1085978006"/>
                  </a:ext>
                </a:extLst>
              </a:tr>
              <a:tr h="166391">
                <a:tc>
                  <a:txBody>
                    <a:bodyPr/>
                    <a:lstStyle/>
                    <a:p>
                      <a:r>
                        <a:rPr lang="en-US" sz="800" b="1" dirty="0"/>
                        <a:t>Defibrillator</a:t>
                      </a:r>
                    </a:p>
                  </a:txBody>
                  <a:tcPr marT="17626" marB="17626">
                    <a:solidFill>
                      <a:schemeClr val="bg1">
                        <a:lumMod val="85000"/>
                      </a:schemeClr>
                    </a:solidFill>
                  </a:tcPr>
                </a:tc>
                <a:tc>
                  <a:txBody>
                    <a:bodyPr/>
                    <a:lstStyle/>
                    <a:p>
                      <a:pPr algn="ctr"/>
                      <a:endParaRPr lang="en-US" sz="800" b="1" dirty="0"/>
                    </a:p>
                  </a:txBody>
                  <a:tcPr marT="17626" marB="17626">
                    <a:solidFill>
                      <a:schemeClr val="bg1">
                        <a:lumMod val="85000"/>
                      </a:schemeClr>
                    </a:solidFill>
                  </a:tcPr>
                </a:tc>
                <a:extLst>
                  <a:ext uri="{0D108BD9-81ED-4DB2-BD59-A6C34878D82A}">
                    <a16:rowId xmlns:a16="http://schemas.microsoft.com/office/drawing/2014/main" val="3352794882"/>
                  </a:ext>
                </a:extLst>
              </a:tr>
              <a:tr h="166391">
                <a:tc>
                  <a:txBody>
                    <a:bodyPr/>
                    <a:lstStyle/>
                    <a:p>
                      <a:pPr marL="180000"/>
                      <a:r>
                        <a:rPr lang="en-US" sz="800" b="1" dirty="0"/>
                        <a:t>No</a:t>
                      </a:r>
                    </a:p>
                  </a:txBody>
                  <a:tcPr marT="17626" marB="17626">
                    <a:solidFill>
                      <a:schemeClr val="bg1">
                        <a:lumMod val="95000"/>
                      </a:schemeClr>
                    </a:solidFill>
                  </a:tcPr>
                </a:tc>
                <a:tc>
                  <a:txBody>
                    <a:bodyPr/>
                    <a:lstStyle/>
                    <a:p>
                      <a:pPr algn="ctr"/>
                      <a:r>
                        <a:rPr lang="en-US" sz="800" b="1" dirty="0"/>
                        <a:t>55% (17/31)</a:t>
                      </a:r>
                    </a:p>
                  </a:txBody>
                  <a:tcPr marT="17626" marB="17626">
                    <a:solidFill>
                      <a:schemeClr val="bg1">
                        <a:lumMod val="95000"/>
                      </a:schemeClr>
                    </a:solidFill>
                  </a:tcPr>
                </a:tc>
                <a:extLst>
                  <a:ext uri="{0D108BD9-81ED-4DB2-BD59-A6C34878D82A}">
                    <a16:rowId xmlns:a16="http://schemas.microsoft.com/office/drawing/2014/main" val="1433344874"/>
                  </a:ext>
                </a:extLst>
              </a:tr>
              <a:tr h="166391">
                <a:tc>
                  <a:txBody>
                    <a:bodyPr/>
                    <a:lstStyle/>
                    <a:p>
                      <a:pPr marL="180000"/>
                      <a:r>
                        <a:rPr lang="en-US" sz="800" b="1" dirty="0"/>
                        <a:t>Yes</a:t>
                      </a:r>
                    </a:p>
                  </a:txBody>
                  <a:tcPr marT="17626" marB="17626">
                    <a:solidFill>
                      <a:schemeClr val="bg1">
                        <a:lumMod val="95000"/>
                      </a:schemeClr>
                    </a:solidFill>
                  </a:tcPr>
                </a:tc>
                <a:tc>
                  <a:txBody>
                    <a:bodyPr/>
                    <a:lstStyle/>
                    <a:p>
                      <a:pPr algn="ctr"/>
                      <a:r>
                        <a:rPr lang="en-US" sz="800" b="1" dirty="0"/>
                        <a:t>73% (8/11)</a:t>
                      </a:r>
                    </a:p>
                  </a:txBody>
                  <a:tcPr marT="17626" marB="17626">
                    <a:solidFill>
                      <a:schemeClr val="bg1">
                        <a:lumMod val="95000"/>
                      </a:schemeClr>
                    </a:solidFill>
                  </a:tcPr>
                </a:tc>
                <a:extLst>
                  <a:ext uri="{0D108BD9-81ED-4DB2-BD59-A6C34878D82A}">
                    <a16:rowId xmlns:a16="http://schemas.microsoft.com/office/drawing/2014/main" val="2508452887"/>
                  </a:ext>
                </a:extLst>
              </a:tr>
              <a:tr h="166391">
                <a:tc>
                  <a:txBody>
                    <a:bodyPr/>
                    <a:lstStyle/>
                    <a:p>
                      <a:r>
                        <a:rPr lang="en-US" sz="800" b="1" dirty="0"/>
                        <a:t>BMI (Median)</a:t>
                      </a:r>
                    </a:p>
                  </a:txBody>
                  <a:tcPr marT="17626" marB="17626">
                    <a:solidFill>
                      <a:schemeClr val="bg1">
                        <a:lumMod val="85000"/>
                      </a:schemeClr>
                    </a:solidFill>
                  </a:tcPr>
                </a:tc>
                <a:tc>
                  <a:txBody>
                    <a:bodyPr/>
                    <a:lstStyle/>
                    <a:p>
                      <a:pPr algn="ctr"/>
                      <a:endParaRPr lang="en-US" sz="800" b="1" dirty="0"/>
                    </a:p>
                  </a:txBody>
                  <a:tcPr marT="17626" marB="17626">
                    <a:solidFill>
                      <a:schemeClr val="bg1">
                        <a:lumMod val="85000"/>
                      </a:schemeClr>
                    </a:solidFill>
                  </a:tcPr>
                </a:tc>
                <a:extLst>
                  <a:ext uri="{0D108BD9-81ED-4DB2-BD59-A6C34878D82A}">
                    <a16:rowId xmlns:a16="http://schemas.microsoft.com/office/drawing/2014/main" val="1155045865"/>
                  </a:ext>
                </a:extLst>
              </a:tr>
              <a:tr h="166391">
                <a:tc>
                  <a:txBody>
                    <a:bodyPr/>
                    <a:lstStyle/>
                    <a:p>
                      <a:pPr marL="180000"/>
                      <a:r>
                        <a:rPr lang="en-US" sz="800" b="1" dirty="0"/>
                        <a:t>&lt;30.5</a:t>
                      </a:r>
                    </a:p>
                  </a:txBody>
                  <a:tcPr marT="17626" marB="17626">
                    <a:solidFill>
                      <a:schemeClr val="bg1">
                        <a:lumMod val="95000"/>
                      </a:schemeClr>
                    </a:solidFill>
                  </a:tcPr>
                </a:tc>
                <a:tc>
                  <a:txBody>
                    <a:bodyPr/>
                    <a:lstStyle/>
                    <a:p>
                      <a:pPr algn="ctr"/>
                      <a:r>
                        <a:rPr lang="en-US" sz="800" b="1" dirty="0"/>
                        <a:t>71% (15/21)</a:t>
                      </a:r>
                    </a:p>
                  </a:txBody>
                  <a:tcPr marT="17626" marB="17626">
                    <a:solidFill>
                      <a:schemeClr val="bg1">
                        <a:lumMod val="95000"/>
                      </a:schemeClr>
                    </a:solidFill>
                  </a:tcPr>
                </a:tc>
                <a:extLst>
                  <a:ext uri="{0D108BD9-81ED-4DB2-BD59-A6C34878D82A}">
                    <a16:rowId xmlns:a16="http://schemas.microsoft.com/office/drawing/2014/main" val="1428394374"/>
                  </a:ext>
                </a:extLst>
              </a:tr>
              <a:tr h="166391">
                <a:tc>
                  <a:txBody>
                    <a:bodyPr/>
                    <a:lstStyle/>
                    <a:p>
                      <a:pPr marL="180000"/>
                      <a:r>
                        <a:rPr lang="en-US" sz="800" b="1" dirty="0"/>
                        <a:t>≥30.5</a:t>
                      </a:r>
                    </a:p>
                  </a:txBody>
                  <a:tcPr marT="17626" marB="17626">
                    <a:solidFill>
                      <a:schemeClr val="bg1">
                        <a:lumMod val="95000"/>
                      </a:schemeClr>
                    </a:solidFill>
                  </a:tcPr>
                </a:tc>
                <a:tc>
                  <a:txBody>
                    <a:bodyPr/>
                    <a:lstStyle/>
                    <a:p>
                      <a:pPr algn="ctr"/>
                      <a:r>
                        <a:rPr lang="en-US" sz="800" b="1" dirty="0"/>
                        <a:t>48% (10/21)</a:t>
                      </a:r>
                    </a:p>
                  </a:txBody>
                  <a:tcPr marT="17626" marB="17626">
                    <a:solidFill>
                      <a:schemeClr val="bg1">
                        <a:lumMod val="95000"/>
                      </a:schemeClr>
                    </a:solidFill>
                  </a:tcPr>
                </a:tc>
                <a:extLst>
                  <a:ext uri="{0D108BD9-81ED-4DB2-BD59-A6C34878D82A}">
                    <a16:rowId xmlns:a16="http://schemas.microsoft.com/office/drawing/2014/main" val="1351163940"/>
                  </a:ext>
                </a:extLst>
              </a:tr>
              <a:tr h="166391">
                <a:tc>
                  <a:txBody>
                    <a:bodyPr/>
                    <a:lstStyle/>
                    <a:p>
                      <a:r>
                        <a:rPr lang="en-US" sz="800" b="1" dirty="0"/>
                        <a:t>Prior SDB Therapy</a:t>
                      </a:r>
                    </a:p>
                  </a:txBody>
                  <a:tcPr marT="17626" marB="17626">
                    <a:solidFill>
                      <a:schemeClr val="bg1">
                        <a:lumMod val="85000"/>
                      </a:schemeClr>
                    </a:solidFill>
                  </a:tcPr>
                </a:tc>
                <a:tc>
                  <a:txBody>
                    <a:bodyPr/>
                    <a:lstStyle/>
                    <a:p>
                      <a:pPr algn="ctr"/>
                      <a:endParaRPr lang="en-US" sz="800" b="1" dirty="0"/>
                    </a:p>
                  </a:txBody>
                  <a:tcPr marT="17626" marB="17626">
                    <a:solidFill>
                      <a:schemeClr val="bg1">
                        <a:lumMod val="85000"/>
                      </a:schemeClr>
                    </a:solidFill>
                  </a:tcPr>
                </a:tc>
                <a:extLst>
                  <a:ext uri="{0D108BD9-81ED-4DB2-BD59-A6C34878D82A}">
                    <a16:rowId xmlns:a16="http://schemas.microsoft.com/office/drawing/2014/main" val="3354900518"/>
                  </a:ext>
                </a:extLst>
              </a:tr>
              <a:tr h="166391">
                <a:tc>
                  <a:txBody>
                    <a:bodyPr/>
                    <a:lstStyle/>
                    <a:p>
                      <a:pPr marL="180000"/>
                      <a:r>
                        <a:rPr lang="en-US" sz="800" b="1" dirty="0"/>
                        <a:t>No</a:t>
                      </a:r>
                    </a:p>
                  </a:txBody>
                  <a:tcPr marT="17626" marB="17626">
                    <a:solidFill>
                      <a:schemeClr val="bg1">
                        <a:lumMod val="95000"/>
                      </a:schemeClr>
                    </a:solidFill>
                  </a:tcPr>
                </a:tc>
                <a:tc>
                  <a:txBody>
                    <a:bodyPr/>
                    <a:lstStyle/>
                    <a:p>
                      <a:pPr algn="ctr"/>
                      <a:r>
                        <a:rPr lang="en-US" sz="800" b="1" dirty="0"/>
                        <a:t>64% (14/22)</a:t>
                      </a:r>
                    </a:p>
                  </a:txBody>
                  <a:tcPr marT="17626" marB="17626">
                    <a:solidFill>
                      <a:schemeClr val="bg1">
                        <a:lumMod val="95000"/>
                      </a:schemeClr>
                    </a:solidFill>
                  </a:tcPr>
                </a:tc>
                <a:extLst>
                  <a:ext uri="{0D108BD9-81ED-4DB2-BD59-A6C34878D82A}">
                    <a16:rowId xmlns:a16="http://schemas.microsoft.com/office/drawing/2014/main" val="2573066752"/>
                  </a:ext>
                </a:extLst>
              </a:tr>
              <a:tr h="166391">
                <a:tc>
                  <a:txBody>
                    <a:bodyPr/>
                    <a:lstStyle/>
                    <a:p>
                      <a:pPr marL="180000"/>
                      <a:r>
                        <a:rPr lang="en-US" sz="800" b="1" dirty="0"/>
                        <a:t>Yes</a:t>
                      </a:r>
                    </a:p>
                  </a:txBody>
                  <a:tcPr marT="17626" marB="17626">
                    <a:solidFill>
                      <a:schemeClr val="bg1">
                        <a:lumMod val="95000"/>
                      </a:schemeClr>
                    </a:solidFill>
                  </a:tcPr>
                </a:tc>
                <a:tc>
                  <a:txBody>
                    <a:bodyPr/>
                    <a:lstStyle/>
                    <a:p>
                      <a:pPr algn="ctr"/>
                      <a:r>
                        <a:rPr lang="en-US" sz="800" b="1" dirty="0"/>
                        <a:t>55% (11/20)</a:t>
                      </a:r>
                    </a:p>
                  </a:txBody>
                  <a:tcPr marT="17626" marB="17626">
                    <a:solidFill>
                      <a:schemeClr val="bg1">
                        <a:lumMod val="95000"/>
                      </a:schemeClr>
                    </a:solidFill>
                  </a:tcPr>
                </a:tc>
                <a:extLst>
                  <a:ext uri="{0D108BD9-81ED-4DB2-BD59-A6C34878D82A}">
                    <a16:rowId xmlns:a16="http://schemas.microsoft.com/office/drawing/2014/main" val="625830385"/>
                  </a:ext>
                </a:extLst>
              </a:tr>
              <a:tr h="166391">
                <a:tc>
                  <a:txBody>
                    <a:bodyPr/>
                    <a:lstStyle/>
                    <a:p>
                      <a:r>
                        <a:rPr lang="en-US" sz="800" b="1" dirty="0"/>
                        <a:t>Atrial Fibrillation</a:t>
                      </a:r>
                    </a:p>
                  </a:txBody>
                  <a:tcPr marT="17626" marB="17626">
                    <a:solidFill>
                      <a:schemeClr val="bg1">
                        <a:lumMod val="85000"/>
                      </a:schemeClr>
                    </a:solidFill>
                  </a:tcPr>
                </a:tc>
                <a:tc>
                  <a:txBody>
                    <a:bodyPr/>
                    <a:lstStyle/>
                    <a:p>
                      <a:pPr algn="ctr"/>
                      <a:endParaRPr lang="en-US" sz="800" b="1" dirty="0"/>
                    </a:p>
                  </a:txBody>
                  <a:tcPr marT="17626" marB="17626">
                    <a:solidFill>
                      <a:schemeClr val="bg1">
                        <a:lumMod val="85000"/>
                      </a:schemeClr>
                    </a:solidFill>
                  </a:tcPr>
                </a:tc>
                <a:extLst>
                  <a:ext uri="{0D108BD9-81ED-4DB2-BD59-A6C34878D82A}">
                    <a16:rowId xmlns:a16="http://schemas.microsoft.com/office/drawing/2014/main" val="968667628"/>
                  </a:ext>
                </a:extLst>
              </a:tr>
              <a:tr h="166391">
                <a:tc>
                  <a:txBody>
                    <a:bodyPr/>
                    <a:lstStyle/>
                    <a:p>
                      <a:pPr marL="180000"/>
                      <a:r>
                        <a:rPr lang="en-US" sz="800" b="1" dirty="0"/>
                        <a:t>No</a:t>
                      </a:r>
                    </a:p>
                  </a:txBody>
                  <a:tcPr marT="17626" marB="17626">
                    <a:solidFill>
                      <a:schemeClr val="bg1">
                        <a:lumMod val="95000"/>
                      </a:schemeClr>
                    </a:solidFill>
                  </a:tcPr>
                </a:tc>
                <a:tc>
                  <a:txBody>
                    <a:bodyPr/>
                    <a:lstStyle/>
                    <a:p>
                      <a:pPr algn="ctr"/>
                      <a:r>
                        <a:rPr lang="en-US" sz="800" b="1" dirty="0"/>
                        <a:t>57% (17/30)</a:t>
                      </a:r>
                    </a:p>
                  </a:txBody>
                  <a:tcPr marT="17626" marB="17626">
                    <a:solidFill>
                      <a:schemeClr val="bg1">
                        <a:lumMod val="95000"/>
                      </a:schemeClr>
                    </a:solidFill>
                  </a:tcPr>
                </a:tc>
                <a:extLst>
                  <a:ext uri="{0D108BD9-81ED-4DB2-BD59-A6C34878D82A}">
                    <a16:rowId xmlns:a16="http://schemas.microsoft.com/office/drawing/2014/main" val="1991665928"/>
                  </a:ext>
                </a:extLst>
              </a:tr>
              <a:tr h="166391">
                <a:tc>
                  <a:txBody>
                    <a:bodyPr/>
                    <a:lstStyle/>
                    <a:p>
                      <a:pPr marL="180000"/>
                      <a:r>
                        <a:rPr lang="en-US" sz="800" b="1" dirty="0"/>
                        <a:t>Yes</a:t>
                      </a:r>
                    </a:p>
                  </a:txBody>
                  <a:tcPr marT="17626" marB="17626">
                    <a:solidFill>
                      <a:schemeClr val="bg1">
                        <a:lumMod val="95000"/>
                      </a:schemeClr>
                    </a:solidFill>
                  </a:tcPr>
                </a:tc>
                <a:tc>
                  <a:txBody>
                    <a:bodyPr/>
                    <a:lstStyle/>
                    <a:p>
                      <a:pPr algn="ctr"/>
                      <a:r>
                        <a:rPr lang="en-US" sz="800" b="1" dirty="0"/>
                        <a:t>67% (8/12)</a:t>
                      </a:r>
                    </a:p>
                  </a:txBody>
                  <a:tcPr marT="17626" marB="17626">
                    <a:solidFill>
                      <a:schemeClr val="bg1">
                        <a:lumMod val="95000"/>
                      </a:schemeClr>
                    </a:solidFill>
                  </a:tcPr>
                </a:tc>
                <a:extLst>
                  <a:ext uri="{0D108BD9-81ED-4DB2-BD59-A6C34878D82A}">
                    <a16:rowId xmlns:a16="http://schemas.microsoft.com/office/drawing/2014/main" val="4043989330"/>
                  </a:ext>
                </a:extLst>
              </a:tr>
            </a:tbl>
          </a:graphicData>
        </a:graphic>
      </p:graphicFrame>
      <p:grpSp>
        <p:nvGrpSpPr>
          <p:cNvPr id="6" name="Group 5">
            <a:extLst>
              <a:ext uri="{FF2B5EF4-FFF2-40B4-BE49-F238E27FC236}">
                <a16:creationId xmlns:a16="http://schemas.microsoft.com/office/drawing/2014/main" id="{188B7C5E-095C-1341-B73B-6080D5CC2233}"/>
              </a:ext>
            </a:extLst>
          </p:cNvPr>
          <p:cNvGrpSpPr/>
          <p:nvPr/>
        </p:nvGrpSpPr>
        <p:grpSpPr>
          <a:xfrm>
            <a:off x="7029397" y="1659391"/>
            <a:ext cx="3176237" cy="4508452"/>
            <a:chOff x="7269217" y="2099928"/>
            <a:chExt cx="2681417" cy="4294804"/>
          </a:xfrm>
        </p:grpSpPr>
        <p:sp>
          <p:nvSpPr>
            <p:cNvPr id="7" name="Rectangle 6">
              <a:extLst>
                <a:ext uri="{FF2B5EF4-FFF2-40B4-BE49-F238E27FC236}">
                  <a16:creationId xmlns:a16="http://schemas.microsoft.com/office/drawing/2014/main" id="{A734C37A-EE93-E146-B6EB-C65E71D33CAF}"/>
                </a:ext>
              </a:extLst>
            </p:cNvPr>
            <p:cNvSpPr/>
            <p:nvPr/>
          </p:nvSpPr>
          <p:spPr>
            <a:xfrm>
              <a:off x="7269217" y="2099928"/>
              <a:ext cx="2681417" cy="4294804"/>
            </a:xfrm>
            <a:prstGeom prst="rect">
              <a:avLst/>
            </a:prstGeom>
            <a:noFill/>
            <a:ln w="15875" cap="sq">
              <a:solidFill>
                <a:schemeClr val="tx1"/>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entury Gothic" panose="020F0302020204030204"/>
                <a:ea typeface="+mn-ea"/>
                <a:cs typeface="+mn-cs"/>
              </a:endParaRPr>
            </a:p>
          </p:txBody>
        </p:sp>
        <p:cxnSp>
          <p:nvCxnSpPr>
            <p:cNvPr id="8" name="Straight Connector 7">
              <a:extLst>
                <a:ext uri="{FF2B5EF4-FFF2-40B4-BE49-F238E27FC236}">
                  <a16:creationId xmlns:a16="http://schemas.microsoft.com/office/drawing/2014/main" id="{1A7BFFAF-9232-CB41-8F53-7A33744BBEA6}"/>
                </a:ext>
              </a:extLst>
            </p:cNvPr>
            <p:cNvCxnSpPr>
              <a:stCxn id="11" idx="0"/>
              <a:endCxn id="11" idx="2"/>
            </p:cNvCxnSpPr>
            <p:nvPr/>
          </p:nvCxnSpPr>
          <p:spPr>
            <a:xfrm>
              <a:off x="8609926" y="2099928"/>
              <a:ext cx="0" cy="4294804"/>
            </a:xfrm>
            <a:prstGeom prst="line">
              <a:avLst/>
            </a:prstGeom>
            <a:ln w="15875">
              <a:solidFill>
                <a:schemeClr val="tx1"/>
              </a:solidFill>
              <a:prstDash val="dash"/>
            </a:ln>
            <a:effectLst/>
          </p:spPr>
          <p:style>
            <a:lnRef idx="2">
              <a:schemeClr val="accent1"/>
            </a:lnRef>
            <a:fillRef idx="0">
              <a:schemeClr val="accent1"/>
            </a:fillRef>
            <a:effectRef idx="1">
              <a:schemeClr val="accent1"/>
            </a:effectRef>
            <a:fontRef idx="minor">
              <a:schemeClr val="tx1"/>
            </a:fontRef>
          </p:style>
        </p:cxnSp>
        <p:grpSp>
          <p:nvGrpSpPr>
            <p:cNvPr id="9" name="Group 8">
              <a:extLst>
                <a:ext uri="{FF2B5EF4-FFF2-40B4-BE49-F238E27FC236}">
                  <a16:creationId xmlns:a16="http://schemas.microsoft.com/office/drawing/2014/main" id="{1AE30E0A-5A9F-2F44-855D-507EAB8302B2}"/>
                </a:ext>
              </a:extLst>
            </p:cNvPr>
            <p:cNvGrpSpPr/>
            <p:nvPr/>
          </p:nvGrpSpPr>
          <p:grpSpPr>
            <a:xfrm>
              <a:off x="8205549" y="2286893"/>
              <a:ext cx="1001652" cy="90742"/>
              <a:chOff x="5025710" y="2174317"/>
              <a:chExt cx="1001652" cy="90742"/>
            </a:xfrm>
          </p:grpSpPr>
          <p:grpSp>
            <p:nvGrpSpPr>
              <p:cNvPr id="113" name="Group 112">
                <a:extLst>
                  <a:ext uri="{FF2B5EF4-FFF2-40B4-BE49-F238E27FC236}">
                    <a16:creationId xmlns:a16="http://schemas.microsoft.com/office/drawing/2014/main" id="{A0BCAB4F-323A-A247-B9B0-B80511C0890C}"/>
                  </a:ext>
                </a:extLst>
              </p:cNvPr>
              <p:cNvGrpSpPr/>
              <p:nvPr/>
            </p:nvGrpSpPr>
            <p:grpSpPr>
              <a:xfrm>
                <a:off x="5025710" y="2174317"/>
                <a:ext cx="1001652" cy="90742"/>
                <a:chOff x="5025710" y="2174317"/>
                <a:chExt cx="1001652" cy="90742"/>
              </a:xfrm>
            </p:grpSpPr>
            <p:cxnSp>
              <p:nvCxnSpPr>
                <p:cNvPr id="115" name="Straight Connector 114">
                  <a:extLst>
                    <a:ext uri="{FF2B5EF4-FFF2-40B4-BE49-F238E27FC236}">
                      <a16:creationId xmlns:a16="http://schemas.microsoft.com/office/drawing/2014/main" id="{469AE692-35B2-B447-A0B1-7BB6A7A4D821}"/>
                    </a:ext>
                  </a:extLst>
                </p:cNvPr>
                <p:cNvCxnSpPr>
                  <a:cxnSpLocks/>
                </p:cNvCxnSpPr>
                <p:nvPr/>
              </p:nvCxnSpPr>
              <p:spPr>
                <a:xfrm>
                  <a:off x="5025710" y="2219688"/>
                  <a:ext cx="1001652" cy="0"/>
                </a:xfrm>
                <a:prstGeom prst="line">
                  <a:avLst/>
                </a:prstGeom>
                <a:ln w="15875">
                  <a:solidFill>
                    <a:schemeClr val="tx1"/>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16" name="Straight Connector 115">
                  <a:extLst>
                    <a:ext uri="{FF2B5EF4-FFF2-40B4-BE49-F238E27FC236}">
                      <a16:creationId xmlns:a16="http://schemas.microsoft.com/office/drawing/2014/main" id="{52AFB021-2933-8D4D-8739-A2471A307288}"/>
                    </a:ext>
                  </a:extLst>
                </p:cNvPr>
                <p:cNvCxnSpPr>
                  <a:cxnSpLocks/>
                </p:cNvCxnSpPr>
                <p:nvPr/>
              </p:nvCxnSpPr>
              <p:spPr>
                <a:xfrm>
                  <a:off x="5025710" y="2174317"/>
                  <a:ext cx="0" cy="90742"/>
                </a:xfrm>
                <a:prstGeom prst="line">
                  <a:avLst/>
                </a:prstGeom>
                <a:ln w="15875">
                  <a:solidFill>
                    <a:schemeClr val="tx1"/>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17" name="Straight Connector 116">
                  <a:extLst>
                    <a:ext uri="{FF2B5EF4-FFF2-40B4-BE49-F238E27FC236}">
                      <a16:creationId xmlns:a16="http://schemas.microsoft.com/office/drawing/2014/main" id="{5846DC55-8F97-B948-8158-BC67851ECA4C}"/>
                    </a:ext>
                  </a:extLst>
                </p:cNvPr>
                <p:cNvCxnSpPr>
                  <a:cxnSpLocks/>
                </p:cNvCxnSpPr>
                <p:nvPr/>
              </p:nvCxnSpPr>
              <p:spPr>
                <a:xfrm>
                  <a:off x="6023872" y="2174317"/>
                  <a:ext cx="0" cy="90742"/>
                </a:xfrm>
                <a:prstGeom prst="line">
                  <a:avLst/>
                </a:prstGeom>
                <a:ln w="15875">
                  <a:solidFill>
                    <a:schemeClr val="tx1"/>
                  </a:solidFill>
                  <a:prstDash val="solid"/>
                </a:ln>
                <a:effectLst/>
              </p:spPr>
              <p:style>
                <a:lnRef idx="2">
                  <a:schemeClr val="accent1"/>
                </a:lnRef>
                <a:fillRef idx="0">
                  <a:schemeClr val="accent1"/>
                </a:fillRef>
                <a:effectRef idx="1">
                  <a:schemeClr val="accent1"/>
                </a:effectRef>
                <a:fontRef idx="minor">
                  <a:schemeClr val="tx1"/>
                </a:fontRef>
              </p:style>
            </p:cxnSp>
          </p:grpSp>
          <p:sp>
            <p:nvSpPr>
              <p:cNvPr id="114" name="Rectangle 113">
                <a:extLst>
                  <a:ext uri="{FF2B5EF4-FFF2-40B4-BE49-F238E27FC236}">
                    <a16:creationId xmlns:a16="http://schemas.microsoft.com/office/drawing/2014/main" id="{D8A5EBF1-2433-9B4B-B2CF-B26773F25ABF}"/>
                  </a:ext>
                </a:extLst>
              </p:cNvPr>
              <p:cNvSpPr/>
              <p:nvPr/>
            </p:nvSpPr>
            <p:spPr>
              <a:xfrm rot="2815778">
                <a:off x="5504002" y="2182978"/>
                <a:ext cx="73420" cy="73420"/>
              </a:xfrm>
              <a:prstGeom prst="rect">
                <a:avLst/>
              </a:prstGeom>
              <a:solidFill>
                <a:srgbClr val="D48236"/>
              </a:solidFill>
              <a:ln w="15875" cap="sq">
                <a:solidFill>
                  <a:schemeClr val="tx1"/>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entury Gothic" panose="020F0302020204030204"/>
                  <a:ea typeface="+mn-ea"/>
                  <a:cs typeface="+mn-cs"/>
                </a:endParaRPr>
              </a:p>
            </p:txBody>
          </p:sp>
        </p:grpSp>
        <p:grpSp>
          <p:nvGrpSpPr>
            <p:cNvPr id="10" name="Group 9">
              <a:extLst>
                <a:ext uri="{FF2B5EF4-FFF2-40B4-BE49-F238E27FC236}">
                  <a16:creationId xmlns:a16="http://schemas.microsoft.com/office/drawing/2014/main" id="{0D4C9017-B665-B14D-B3E4-0CF38459EC54}"/>
                </a:ext>
              </a:extLst>
            </p:cNvPr>
            <p:cNvGrpSpPr/>
            <p:nvPr/>
          </p:nvGrpSpPr>
          <p:grpSpPr>
            <a:xfrm>
              <a:off x="8447805" y="2439293"/>
              <a:ext cx="1084358" cy="90742"/>
              <a:chOff x="5025710" y="2174317"/>
              <a:chExt cx="1084358" cy="90742"/>
            </a:xfrm>
          </p:grpSpPr>
          <p:grpSp>
            <p:nvGrpSpPr>
              <p:cNvPr id="108" name="Group 107">
                <a:extLst>
                  <a:ext uri="{FF2B5EF4-FFF2-40B4-BE49-F238E27FC236}">
                    <a16:creationId xmlns:a16="http://schemas.microsoft.com/office/drawing/2014/main" id="{9E7B3D52-258C-4643-A1C4-4BBBBE391A97}"/>
                  </a:ext>
                </a:extLst>
              </p:cNvPr>
              <p:cNvGrpSpPr/>
              <p:nvPr/>
            </p:nvGrpSpPr>
            <p:grpSpPr>
              <a:xfrm>
                <a:off x="5025710" y="2174317"/>
                <a:ext cx="1084358" cy="90742"/>
                <a:chOff x="5025710" y="2174317"/>
                <a:chExt cx="1084358" cy="90742"/>
              </a:xfrm>
            </p:grpSpPr>
            <p:cxnSp>
              <p:nvCxnSpPr>
                <p:cNvPr id="110" name="Straight Connector 109">
                  <a:extLst>
                    <a:ext uri="{FF2B5EF4-FFF2-40B4-BE49-F238E27FC236}">
                      <a16:creationId xmlns:a16="http://schemas.microsoft.com/office/drawing/2014/main" id="{8E3D289A-6A0E-9A4A-A159-9E89D0B2A9C9}"/>
                    </a:ext>
                  </a:extLst>
                </p:cNvPr>
                <p:cNvCxnSpPr>
                  <a:cxnSpLocks/>
                </p:cNvCxnSpPr>
                <p:nvPr/>
              </p:nvCxnSpPr>
              <p:spPr>
                <a:xfrm>
                  <a:off x="5025710" y="2219688"/>
                  <a:ext cx="1084358" cy="0"/>
                </a:xfrm>
                <a:prstGeom prst="line">
                  <a:avLst/>
                </a:prstGeom>
                <a:ln w="15875">
                  <a:solidFill>
                    <a:schemeClr val="tx1"/>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11" name="Straight Connector 110">
                  <a:extLst>
                    <a:ext uri="{FF2B5EF4-FFF2-40B4-BE49-F238E27FC236}">
                      <a16:creationId xmlns:a16="http://schemas.microsoft.com/office/drawing/2014/main" id="{4EBAEBEC-B94F-0A43-AE15-E46F59C4FF9E}"/>
                    </a:ext>
                  </a:extLst>
                </p:cNvPr>
                <p:cNvCxnSpPr>
                  <a:cxnSpLocks/>
                </p:cNvCxnSpPr>
                <p:nvPr/>
              </p:nvCxnSpPr>
              <p:spPr>
                <a:xfrm>
                  <a:off x="5025710" y="2174317"/>
                  <a:ext cx="0" cy="90742"/>
                </a:xfrm>
                <a:prstGeom prst="line">
                  <a:avLst/>
                </a:prstGeom>
                <a:ln w="15875">
                  <a:solidFill>
                    <a:schemeClr val="tx1"/>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12" name="Straight Connector 111">
                  <a:extLst>
                    <a:ext uri="{FF2B5EF4-FFF2-40B4-BE49-F238E27FC236}">
                      <a16:creationId xmlns:a16="http://schemas.microsoft.com/office/drawing/2014/main" id="{95992E19-5AB1-1E42-91A2-5E6573A6C49B}"/>
                    </a:ext>
                  </a:extLst>
                </p:cNvPr>
                <p:cNvCxnSpPr>
                  <a:cxnSpLocks/>
                </p:cNvCxnSpPr>
                <p:nvPr/>
              </p:nvCxnSpPr>
              <p:spPr>
                <a:xfrm>
                  <a:off x="6110068" y="2174317"/>
                  <a:ext cx="0" cy="90742"/>
                </a:xfrm>
                <a:prstGeom prst="line">
                  <a:avLst/>
                </a:prstGeom>
                <a:ln w="15875">
                  <a:solidFill>
                    <a:schemeClr val="tx1"/>
                  </a:solidFill>
                  <a:prstDash val="solid"/>
                </a:ln>
                <a:effectLst/>
              </p:spPr>
              <p:style>
                <a:lnRef idx="2">
                  <a:schemeClr val="accent1"/>
                </a:lnRef>
                <a:fillRef idx="0">
                  <a:schemeClr val="accent1"/>
                </a:fillRef>
                <a:effectRef idx="1">
                  <a:schemeClr val="accent1"/>
                </a:effectRef>
                <a:fontRef idx="minor">
                  <a:schemeClr val="tx1"/>
                </a:fontRef>
              </p:style>
            </p:cxnSp>
          </p:grpSp>
          <p:sp>
            <p:nvSpPr>
              <p:cNvPr id="109" name="Rectangle 108">
                <a:extLst>
                  <a:ext uri="{FF2B5EF4-FFF2-40B4-BE49-F238E27FC236}">
                    <a16:creationId xmlns:a16="http://schemas.microsoft.com/office/drawing/2014/main" id="{3BD4B608-89A2-2940-A65B-78859F9F05AE}"/>
                  </a:ext>
                </a:extLst>
              </p:cNvPr>
              <p:cNvSpPr/>
              <p:nvPr/>
            </p:nvSpPr>
            <p:spPr>
              <a:xfrm rot="2815778">
                <a:off x="5616118" y="2182979"/>
                <a:ext cx="73420" cy="73420"/>
              </a:xfrm>
              <a:prstGeom prst="rect">
                <a:avLst/>
              </a:prstGeom>
              <a:solidFill>
                <a:srgbClr val="D48236"/>
              </a:solidFill>
              <a:ln w="15875" cap="sq">
                <a:solidFill>
                  <a:schemeClr val="tx1"/>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entury Gothic" panose="020F0302020204030204"/>
                  <a:ea typeface="+mn-ea"/>
                  <a:cs typeface="+mn-cs"/>
                </a:endParaRPr>
              </a:p>
            </p:txBody>
          </p:sp>
        </p:grpSp>
        <p:grpSp>
          <p:nvGrpSpPr>
            <p:cNvPr id="11" name="Group 10">
              <a:extLst>
                <a:ext uri="{FF2B5EF4-FFF2-40B4-BE49-F238E27FC236}">
                  <a16:creationId xmlns:a16="http://schemas.microsoft.com/office/drawing/2014/main" id="{934F4BF7-C963-7542-A511-25345DB87B70}"/>
                </a:ext>
              </a:extLst>
            </p:cNvPr>
            <p:cNvGrpSpPr/>
            <p:nvPr/>
          </p:nvGrpSpPr>
          <p:grpSpPr>
            <a:xfrm>
              <a:off x="8289159" y="2752837"/>
              <a:ext cx="1560296" cy="90742"/>
              <a:chOff x="5025710" y="2174317"/>
              <a:chExt cx="1560296" cy="90742"/>
            </a:xfrm>
          </p:grpSpPr>
          <p:grpSp>
            <p:nvGrpSpPr>
              <p:cNvPr id="103" name="Group 102">
                <a:extLst>
                  <a:ext uri="{FF2B5EF4-FFF2-40B4-BE49-F238E27FC236}">
                    <a16:creationId xmlns:a16="http://schemas.microsoft.com/office/drawing/2014/main" id="{126580CE-AE84-1542-BED5-50DE84B17E86}"/>
                  </a:ext>
                </a:extLst>
              </p:cNvPr>
              <p:cNvGrpSpPr/>
              <p:nvPr/>
            </p:nvGrpSpPr>
            <p:grpSpPr>
              <a:xfrm>
                <a:off x="5025710" y="2174317"/>
                <a:ext cx="1560296" cy="90742"/>
                <a:chOff x="5025710" y="2174317"/>
                <a:chExt cx="1560296" cy="90742"/>
              </a:xfrm>
            </p:grpSpPr>
            <p:cxnSp>
              <p:nvCxnSpPr>
                <p:cNvPr id="105" name="Straight Connector 104">
                  <a:extLst>
                    <a:ext uri="{FF2B5EF4-FFF2-40B4-BE49-F238E27FC236}">
                      <a16:creationId xmlns:a16="http://schemas.microsoft.com/office/drawing/2014/main" id="{4977BB2C-0AD2-5044-B5C0-728C81CE2622}"/>
                    </a:ext>
                  </a:extLst>
                </p:cNvPr>
                <p:cNvCxnSpPr>
                  <a:cxnSpLocks/>
                </p:cNvCxnSpPr>
                <p:nvPr/>
              </p:nvCxnSpPr>
              <p:spPr>
                <a:xfrm>
                  <a:off x="5025710" y="2219688"/>
                  <a:ext cx="1560296" cy="0"/>
                </a:xfrm>
                <a:prstGeom prst="line">
                  <a:avLst/>
                </a:prstGeom>
                <a:ln w="15875">
                  <a:solidFill>
                    <a:schemeClr val="tx1"/>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06" name="Straight Connector 105">
                  <a:extLst>
                    <a:ext uri="{FF2B5EF4-FFF2-40B4-BE49-F238E27FC236}">
                      <a16:creationId xmlns:a16="http://schemas.microsoft.com/office/drawing/2014/main" id="{171DA327-3EF7-DC40-A78A-33E4E50B5927}"/>
                    </a:ext>
                  </a:extLst>
                </p:cNvPr>
                <p:cNvCxnSpPr>
                  <a:cxnSpLocks/>
                </p:cNvCxnSpPr>
                <p:nvPr/>
              </p:nvCxnSpPr>
              <p:spPr>
                <a:xfrm>
                  <a:off x="5025710" y="2174317"/>
                  <a:ext cx="0" cy="90742"/>
                </a:xfrm>
                <a:prstGeom prst="line">
                  <a:avLst/>
                </a:prstGeom>
                <a:ln w="15875">
                  <a:solidFill>
                    <a:schemeClr val="tx1"/>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07" name="Straight Connector 106">
                  <a:extLst>
                    <a:ext uri="{FF2B5EF4-FFF2-40B4-BE49-F238E27FC236}">
                      <a16:creationId xmlns:a16="http://schemas.microsoft.com/office/drawing/2014/main" id="{2A3D079E-05AF-B441-A9E9-A6CAC0EAA4A5}"/>
                    </a:ext>
                  </a:extLst>
                </p:cNvPr>
                <p:cNvCxnSpPr>
                  <a:cxnSpLocks/>
                </p:cNvCxnSpPr>
                <p:nvPr/>
              </p:nvCxnSpPr>
              <p:spPr>
                <a:xfrm>
                  <a:off x="6586006" y="2174317"/>
                  <a:ext cx="0" cy="90742"/>
                </a:xfrm>
                <a:prstGeom prst="line">
                  <a:avLst/>
                </a:prstGeom>
                <a:ln w="15875">
                  <a:solidFill>
                    <a:schemeClr val="tx1"/>
                  </a:solidFill>
                  <a:prstDash val="solid"/>
                </a:ln>
                <a:effectLst/>
              </p:spPr>
              <p:style>
                <a:lnRef idx="2">
                  <a:schemeClr val="accent1"/>
                </a:lnRef>
                <a:fillRef idx="0">
                  <a:schemeClr val="accent1"/>
                </a:fillRef>
                <a:effectRef idx="1">
                  <a:schemeClr val="accent1"/>
                </a:effectRef>
                <a:fontRef idx="minor">
                  <a:schemeClr val="tx1"/>
                </a:fontRef>
              </p:style>
            </p:cxnSp>
          </p:grpSp>
          <p:sp>
            <p:nvSpPr>
              <p:cNvPr id="104" name="Rectangle 103">
                <a:extLst>
                  <a:ext uri="{FF2B5EF4-FFF2-40B4-BE49-F238E27FC236}">
                    <a16:creationId xmlns:a16="http://schemas.microsoft.com/office/drawing/2014/main" id="{314F21AC-A14D-474C-BA41-6DFED65CFCA9}"/>
                  </a:ext>
                </a:extLst>
              </p:cNvPr>
              <p:cNvSpPr/>
              <p:nvPr/>
            </p:nvSpPr>
            <p:spPr>
              <a:xfrm rot="2815778">
                <a:off x="6119523" y="2182979"/>
                <a:ext cx="73420" cy="73420"/>
              </a:xfrm>
              <a:prstGeom prst="rect">
                <a:avLst/>
              </a:prstGeom>
              <a:solidFill>
                <a:srgbClr val="D48236"/>
              </a:solidFill>
              <a:ln w="15875" cap="sq">
                <a:solidFill>
                  <a:schemeClr val="tx1"/>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entury Gothic" panose="020F0302020204030204"/>
                  <a:ea typeface="+mn-ea"/>
                  <a:cs typeface="+mn-cs"/>
                </a:endParaRPr>
              </a:p>
            </p:txBody>
          </p:sp>
        </p:grpSp>
        <p:grpSp>
          <p:nvGrpSpPr>
            <p:cNvPr id="12" name="Group 11">
              <a:extLst>
                <a:ext uri="{FF2B5EF4-FFF2-40B4-BE49-F238E27FC236}">
                  <a16:creationId xmlns:a16="http://schemas.microsoft.com/office/drawing/2014/main" id="{8A6DFE05-20A3-9A44-BA43-3C0BCC418609}"/>
                </a:ext>
              </a:extLst>
            </p:cNvPr>
            <p:cNvGrpSpPr/>
            <p:nvPr/>
          </p:nvGrpSpPr>
          <p:grpSpPr>
            <a:xfrm>
              <a:off x="8366143" y="2911753"/>
              <a:ext cx="1005400" cy="90742"/>
              <a:chOff x="5025710" y="2174317"/>
              <a:chExt cx="1005400" cy="90742"/>
            </a:xfrm>
          </p:grpSpPr>
          <p:grpSp>
            <p:nvGrpSpPr>
              <p:cNvPr id="98" name="Group 97">
                <a:extLst>
                  <a:ext uri="{FF2B5EF4-FFF2-40B4-BE49-F238E27FC236}">
                    <a16:creationId xmlns:a16="http://schemas.microsoft.com/office/drawing/2014/main" id="{D4978A4D-51AF-BF41-BC1A-FE7925CEC39A}"/>
                  </a:ext>
                </a:extLst>
              </p:cNvPr>
              <p:cNvGrpSpPr/>
              <p:nvPr/>
            </p:nvGrpSpPr>
            <p:grpSpPr>
              <a:xfrm>
                <a:off x="5025710" y="2174317"/>
                <a:ext cx="1005400" cy="90742"/>
                <a:chOff x="5025710" y="2174317"/>
                <a:chExt cx="1005400" cy="90742"/>
              </a:xfrm>
            </p:grpSpPr>
            <p:cxnSp>
              <p:nvCxnSpPr>
                <p:cNvPr id="100" name="Straight Connector 99">
                  <a:extLst>
                    <a:ext uri="{FF2B5EF4-FFF2-40B4-BE49-F238E27FC236}">
                      <a16:creationId xmlns:a16="http://schemas.microsoft.com/office/drawing/2014/main" id="{9E18112C-2CAA-1B43-A114-6ACB4B8A92F9}"/>
                    </a:ext>
                  </a:extLst>
                </p:cNvPr>
                <p:cNvCxnSpPr>
                  <a:cxnSpLocks/>
                </p:cNvCxnSpPr>
                <p:nvPr/>
              </p:nvCxnSpPr>
              <p:spPr>
                <a:xfrm>
                  <a:off x="5025710" y="2219688"/>
                  <a:ext cx="1005400" cy="0"/>
                </a:xfrm>
                <a:prstGeom prst="line">
                  <a:avLst/>
                </a:prstGeom>
                <a:ln w="15875">
                  <a:solidFill>
                    <a:schemeClr val="tx1"/>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01" name="Straight Connector 100">
                  <a:extLst>
                    <a:ext uri="{FF2B5EF4-FFF2-40B4-BE49-F238E27FC236}">
                      <a16:creationId xmlns:a16="http://schemas.microsoft.com/office/drawing/2014/main" id="{5B50B4FB-8B50-DE48-A9D6-8639B1A6E594}"/>
                    </a:ext>
                  </a:extLst>
                </p:cNvPr>
                <p:cNvCxnSpPr>
                  <a:cxnSpLocks/>
                </p:cNvCxnSpPr>
                <p:nvPr/>
              </p:nvCxnSpPr>
              <p:spPr>
                <a:xfrm>
                  <a:off x="5025710" y="2174317"/>
                  <a:ext cx="0" cy="90742"/>
                </a:xfrm>
                <a:prstGeom prst="line">
                  <a:avLst/>
                </a:prstGeom>
                <a:ln w="15875">
                  <a:solidFill>
                    <a:schemeClr val="tx1"/>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02" name="Straight Connector 101">
                  <a:extLst>
                    <a:ext uri="{FF2B5EF4-FFF2-40B4-BE49-F238E27FC236}">
                      <a16:creationId xmlns:a16="http://schemas.microsoft.com/office/drawing/2014/main" id="{9FAAF50C-FF9F-DD41-8CFE-979BB8F20096}"/>
                    </a:ext>
                  </a:extLst>
                </p:cNvPr>
                <p:cNvCxnSpPr>
                  <a:cxnSpLocks/>
                </p:cNvCxnSpPr>
                <p:nvPr/>
              </p:nvCxnSpPr>
              <p:spPr>
                <a:xfrm>
                  <a:off x="6023872" y="2174317"/>
                  <a:ext cx="0" cy="90742"/>
                </a:xfrm>
                <a:prstGeom prst="line">
                  <a:avLst/>
                </a:prstGeom>
                <a:ln w="15875">
                  <a:solidFill>
                    <a:schemeClr val="tx1"/>
                  </a:solidFill>
                  <a:prstDash val="solid"/>
                </a:ln>
                <a:effectLst/>
              </p:spPr>
              <p:style>
                <a:lnRef idx="2">
                  <a:schemeClr val="accent1"/>
                </a:lnRef>
                <a:fillRef idx="0">
                  <a:schemeClr val="accent1"/>
                </a:fillRef>
                <a:effectRef idx="1">
                  <a:schemeClr val="accent1"/>
                </a:effectRef>
                <a:fontRef idx="minor">
                  <a:schemeClr val="tx1"/>
                </a:fontRef>
              </p:style>
            </p:cxnSp>
          </p:grpSp>
          <p:sp>
            <p:nvSpPr>
              <p:cNvPr id="99" name="Rectangle 98">
                <a:extLst>
                  <a:ext uri="{FF2B5EF4-FFF2-40B4-BE49-F238E27FC236}">
                    <a16:creationId xmlns:a16="http://schemas.microsoft.com/office/drawing/2014/main" id="{32779A78-8302-A44C-A475-1D2BFDD566B2}"/>
                  </a:ext>
                </a:extLst>
              </p:cNvPr>
              <p:cNvSpPr/>
              <p:nvPr/>
            </p:nvSpPr>
            <p:spPr>
              <a:xfrm rot="2815778">
                <a:off x="5421899" y="2182978"/>
                <a:ext cx="73420" cy="73420"/>
              </a:xfrm>
              <a:prstGeom prst="rect">
                <a:avLst/>
              </a:prstGeom>
              <a:solidFill>
                <a:srgbClr val="D48236"/>
              </a:solidFill>
              <a:ln w="15875" cap="sq">
                <a:solidFill>
                  <a:schemeClr val="tx1"/>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entury Gothic" panose="020F0302020204030204"/>
                  <a:ea typeface="+mn-ea"/>
                  <a:cs typeface="+mn-cs"/>
                </a:endParaRPr>
              </a:p>
            </p:txBody>
          </p:sp>
        </p:grpSp>
        <p:grpSp>
          <p:nvGrpSpPr>
            <p:cNvPr id="13" name="Group 12">
              <a:extLst>
                <a:ext uri="{FF2B5EF4-FFF2-40B4-BE49-F238E27FC236}">
                  <a16:creationId xmlns:a16="http://schemas.microsoft.com/office/drawing/2014/main" id="{FA9D1370-1F2B-8842-A9AE-FE77D6EA0BAE}"/>
                </a:ext>
              </a:extLst>
            </p:cNvPr>
            <p:cNvGrpSpPr/>
            <p:nvPr/>
          </p:nvGrpSpPr>
          <p:grpSpPr>
            <a:xfrm>
              <a:off x="8369891" y="3231813"/>
              <a:ext cx="1026359" cy="90742"/>
              <a:chOff x="5025710" y="2174317"/>
              <a:chExt cx="1026359" cy="90742"/>
            </a:xfrm>
          </p:grpSpPr>
          <p:grpSp>
            <p:nvGrpSpPr>
              <p:cNvPr id="93" name="Group 92">
                <a:extLst>
                  <a:ext uri="{FF2B5EF4-FFF2-40B4-BE49-F238E27FC236}">
                    <a16:creationId xmlns:a16="http://schemas.microsoft.com/office/drawing/2014/main" id="{3122C146-15B9-D247-81BF-3FD5BE9735B8}"/>
                  </a:ext>
                </a:extLst>
              </p:cNvPr>
              <p:cNvGrpSpPr/>
              <p:nvPr/>
            </p:nvGrpSpPr>
            <p:grpSpPr>
              <a:xfrm>
                <a:off x="5025710" y="2174317"/>
                <a:ext cx="1026359" cy="90742"/>
                <a:chOff x="5025710" y="2174317"/>
                <a:chExt cx="1026359" cy="90742"/>
              </a:xfrm>
            </p:grpSpPr>
            <p:cxnSp>
              <p:nvCxnSpPr>
                <p:cNvPr id="95" name="Straight Connector 94">
                  <a:extLst>
                    <a:ext uri="{FF2B5EF4-FFF2-40B4-BE49-F238E27FC236}">
                      <a16:creationId xmlns:a16="http://schemas.microsoft.com/office/drawing/2014/main" id="{62DAE170-0B88-8A4A-8DBB-6CD132CEBE4F}"/>
                    </a:ext>
                  </a:extLst>
                </p:cNvPr>
                <p:cNvCxnSpPr>
                  <a:cxnSpLocks/>
                </p:cNvCxnSpPr>
                <p:nvPr/>
              </p:nvCxnSpPr>
              <p:spPr>
                <a:xfrm>
                  <a:off x="5025710" y="2219688"/>
                  <a:ext cx="1026359" cy="0"/>
                </a:xfrm>
                <a:prstGeom prst="line">
                  <a:avLst/>
                </a:prstGeom>
                <a:ln w="15875">
                  <a:solidFill>
                    <a:schemeClr val="tx1"/>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96" name="Straight Connector 95">
                  <a:extLst>
                    <a:ext uri="{FF2B5EF4-FFF2-40B4-BE49-F238E27FC236}">
                      <a16:creationId xmlns:a16="http://schemas.microsoft.com/office/drawing/2014/main" id="{2CAB5EDC-9AF9-1D47-B94A-00BBC04D79AB}"/>
                    </a:ext>
                  </a:extLst>
                </p:cNvPr>
                <p:cNvCxnSpPr>
                  <a:cxnSpLocks/>
                </p:cNvCxnSpPr>
                <p:nvPr/>
              </p:nvCxnSpPr>
              <p:spPr>
                <a:xfrm>
                  <a:off x="5025710" y="2174317"/>
                  <a:ext cx="0" cy="90742"/>
                </a:xfrm>
                <a:prstGeom prst="line">
                  <a:avLst/>
                </a:prstGeom>
                <a:ln w="15875">
                  <a:solidFill>
                    <a:schemeClr val="tx1"/>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97" name="Straight Connector 96">
                  <a:extLst>
                    <a:ext uri="{FF2B5EF4-FFF2-40B4-BE49-F238E27FC236}">
                      <a16:creationId xmlns:a16="http://schemas.microsoft.com/office/drawing/2014/main" id="{E3E6EC7B-4C27-2546-BF9A-3FD4C6E0DB3C}"/>
                    </a:ext>
                  </a:extLst>
                </p:cNvPr>
                <p:cNvCxnSpPr>
                  <a:cxnSpLocks/>
                </p:cNvCxnSpPr>
                <p:nvPr/>
              </p:nvCxnSpPr>
              <p:spPr>
                <a:xfrm>
                  <a:off x="6045517" y="2174317"/>
                  <a:ext cx="0" cy="90742"/>
                </a:xfrm>
                <a:prstGeom prst="line">
                  <a:avLst/>
                </a:prstGeom>
                <a:ln w="15875">
                  <a:solidFill>
                    <a:schemeClr val="tx1"/>
                  </a:solidFill>
                  <a:prstDash val="solid"/>
                </a:ln>
                <a:effectLst/>
              </p:spPr>
              <p:style>
                <a:lnRef idx="2">
                  <a:schemeClr val="accent1"/>
                </a:lnRef>
                <a:fillRef idx="0">
                  <a:schemeClr val="accent1"/>
                </a:fillRef>
                <a:effectRef idx="1">
                  <a:schemeClr val="accent1"/>
                </a:effectRef>
                <a:fontRef idx="minor">
                  <a:schemeClr val="tx1"/>
                </a:fontRef>
              </p:style>
            </p:cxnSp>
          </p:grpSp>
          <p:sp>
            <p:nvSpPr>
              <p:cNvPr id="94" name="Rectangle 93">
                <a:extLst>
                  <a:ext uri="{FF2B5EF4-FFF2-40B4-BE49-F238E27FC236}">
                    <a16:creationId xmlns:a16="http://schemas.microsoft.com/office/drawing/2014/main" id="{A995A32E-8AA9-E24E-AB6A-59FB04C4C7E4}"/>
                  </a:ext>
                </a:extLst>
              </p:cNvPr>
              <p:cNvSpPr/>
              <p:nvPr/>
            </p:nvSpPr>
            <p:spPr>
              <a:xfrm rot="2815778">
                <a:off x="5555581" y="2182979"/>
                <a:ext cx="73420" cy="73420"/>
              </a:xfrm>
              <a:prstGeom prst="rect">
                <a:avLst/>
              </a:prstGeom>
              <a:solidFill>
                <a:srgbClr val="D48236"/>
              </a:solidFill>
              <a:ln w="15875" cap="sq">
                <a:solidFill>
                  <a:schemeClr val="tx1"/>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entury Gothic" panose="020F0302020204030204"/>
                  <a:ea typeface="+mn-ea"/>
                  <a:cs typeface="+mn-cs"/>
                </a:endParaRPr>
              </a:p>
            </p:txBody>
          </p:sp>
        </p:grpSp>
        <p:grpSp>
          <p:nvGrpSpPr>
            <p:cNvPr id="14" name="Group 13">
              <a:extLst>
                <a:ext uri="{FF2B5EF4-FFF2-40B4-BE49-F238E27FC236}">
                  <a16:creationId xmlns:a16="http://schemas.microsoft.com/office/drawing/2014/main" id="{6EFDD4AD-35D4-8743-96EC-A3F29B169E79}"/>
                </a:ext>
              </a:extLst>
            </p:cNvPr>
            <p:cNvGrpSpPr/>
            <p:nvPr/>
          </p:nvGrpSpPr>
          <p:grpSpPr>
            <a:xfrm>
              <a:off x="8259955" y="3387961"/>
              <a:ext cx="1057286" cy="90742"/>
              <a:chOff x="5025710" y="2174317"/>
              <a:chExt cx="1057286" cy="90742"/>
            </a:xfrm>
          </p:grpSpPr>
          <p:grpSp>
            <p:nvGrpSpPr>
              <p:cNvPr id="88" name="Group 87">
                <a:extLst>
                  <a:ext uri="{FF2B5EF4-FFF2-40B4-BE49-F238E27FC236}">
                    <a16:creationId xmlns:a16="http://schemas.microsoft.com/office/drawing/2014/main" id="{DB382FB2-62B1-9143-AD05-4803B27E869B}"/>
                  </a:ext>
                </a:extLst>
              </p:cNvPr>
              <p:cNvGrpSpPr/>
              <p:nvPr/>
            </p:nvGrpSpPr>
            <p:grpSpPr>
              <a:xfrm>
                <a:off x="5025710" y="2174317"/>
                <a:ext cx="1057286" cy="90742"/>
                <a:chOff x="5025710" y="2174317"/>
                <a:chExt cx="1057286" cy="90742"/>
              </a:xfrm>
            </p:grpSpPr>
            <p:cxnSp>
              <p:nvCxnSpPr>
                <p:cNvPr id="90" name="Straight Connector 89">
                  <a:extLst>
                    <a:ext uri="{FF2B5EF4-FFF2-40B4-BE49-F238E27FC236}">
                      <a16:creationId xmlns:a16="http://schemas.microsoft.com/office/drawing/2014/main" id="{57DDEF74-1A74-E544-81F4-57638CC8978C}"/>
                    </a:ext>
                  </a:extLst>
                </p:cNvPr>
                <p:cNvCxnSpPr>
                  <a:cxnSpLocks/>
                </p:cNvCxnSpPr>
                <p:nvPr/>
              </p:nvCxnSpPr>
              <p:spPr>
                <a:xfrm>
                  <a:off x="5025710" y="2219688"/>
                  <a:ext cx="1057286" cy="0"/>
                </a:xfrm>
                <a:prstGeom prst="line">
                  <a:avLst/>
                </a:prstGeom>
                <a:ln w="15875">
                  <a:solidFill>
                    <a:schemeClr val="tx1"/>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91" name="Straight Connector 90">
                  <a:extLst>
                    <a:ext uri="{FF2B5EF4-FFF2-40B4-BE49-F238E27FC236}">
                      <a16:creationId xmlns:a16="http://schemas.microsoft.com/office/drawing/2014/main" id="{4F7508DF-62D9-4140-A2A6-B1EEE4CC0081}"/>
                    </a:ext>
                  </a:extLst>
                </p:cNvPr>
                <p:cNvCxnSpPr>
                  <a:cxnSpLocks/>
                </p:cNvCxnSpPr>
                <p:nvPr/>
              </p:nvCxnSpPr>
              <p:spPr>
                <a:xfrm>
                  <a:off x="5025710" y="2174317"/>
                  <a:ext cx="0" cy="90742"/>
                </a:xfrm>
                <a:prstGeom prst="line">
                  <a:avLst/>
                </a:prstGeom>
                <a:ln w="15875">
                  <a:solidFill>
                    <a:schemeClr val="tx1"/>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92" name="Straight Connector 91">
                  <a:extLst>
                    <a:ext uri="{FF2B5EF4-FFF2-40B4-BE49-F238E27FC236}">
                      <a16:creationId xmlns:a16="http://schemas.microsoft.com/office/drawing/2014/main" id="{D6CE7FF4-6189-F744-896A-290ADCE8580A}"/>
                    </a:ext>
                  </a:extLst>
                </p:cNvPr>
                <p:cNvCxnSpPr>
                  <a:cxnSpLocks/>
                </p:cNvCxnSpPr>
                <p:nvPr/>
              </p:nvCxnSpPr>
              <p:spPr>
                <a:xfrm>
                  <a:off x="6082996" y="2174317"/>
                  <a:ext cx="0" cy="90742"/>
                </a:xfrm>
                <a:prstGeom prst="line">
                  <a:avLst/>
                </a:prstGeom>
                <a:ln w="15875">
                  <a:solidFill>
                    <a:schemeClr val="tx1"/>
                  </a:solidFill>
                  <a:prstDash val="solid"/>
                </a:ln>
                <a:effectLst/>
              </p:spPr>
              <p:style>
                <a:lnRef idx="2">
                  <a:schemeClr val="accent1"/>
                </a:lnRef>
                <a:fillRef idx="0">
                  <a:schemeClr val="accent1"/>
                </a:fillRef>
                <a:effectRef idx="1">
                  <a:schemeClr val="accent1"/>
                </a:effectRef>
                <a:fontRef idx="minor">
                  <a:schemeClr val="tx1"/>
                </a:fontRef>
              </p:style>
            </p:cxnSp>
          </p:grpSp>
          <p:sp>
            <p:nvSpPr>
              <p:cNvPr id="89" name="Rectangle 88">
                <a:extLst>
                  <a:ext uri="{FF2B5EF4-FFF2-40B4-BE49-F238E27FC236}">
                    <a16:creationId xmlns:a16="http://schemas.microsoft.com/office/drawing/2014/main" id="{B3DEC6FB-B6D8-E841-8E06-9EC6D20212E3}"/>
                  </a:ext>
                </a:extLst>
              </p:cNvPr>
              <p:cNvSpPr/>
              <p:nvPr/>
            </p:nvSpPr>
            <p:spPr>
              <a:xfrm rot="2815778">
                <a:off x="5533093" y="2182979"/>
                <a:ext cx="73420" cy="73420"/>
              </a:xfrm>
              <a:prstGeom prst="rect">
                <a:avLst/>
              </a:prstGeom>
              <a:solidFill>
                <a:srgbClr val="D48236"/>
              </a:solidFill>
              <a:ln w="15875" cap="sq">
                <a:solidFill>
                  <a:schemeClr val="tx1"/>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entury Gothic" panose="020F0302020204030204"/>
                  <a:ea typeface="+mn-ea"/>
                  <a:cs typeface="+mn-cs"/>
                </a:endParaRPr>
              </a:p>
            </p:txBody>
          </p:sp>
        </p:grpSp>
        <p:grpSp>
          <p:nvGrpSpPr>
            <p:cNvPr id="15" name="Group 14">
              <a:extLst>
                <a:ext uri="{FF2B5EF4-FFF2-40B4-BE49-F238E27FC236}">
                  <a16:creationId xmlns:a16="http://schemas.microsoft.com/office/drawing/2014/main" id="{7BD7FF21-D396-D840-93E0-9983822FC2FE}"/>
                </a:ext>
              </a:extLst>
            </p:cNvPr>
            <p:cNvGrpSpPr/>
            <p:nvPr/>
          </p:nvGrpSpPr>
          <p:grpSpPr>
            <a:xfrm>
              <a:off x="8426568" y="3701852"/>
              <a:ext cx="1049791" cy="90742"/>
              <a:chOff x="5025710" y="2174317"/>
              <a:chExt cx="1049791" cy="90742"/>
            </a:xfrm>
          </p:grpSpPr>
          <p:grpSp>
            <p:nvGrpSpPr>
              <p:cNvPr id="83" name="Group 82">
                <a:extLst>
                  <a:ext uri="{FF2B5EF4-FFF2-40B4-BE49-F238E27FC236}">
                    <a16:creationId xmlns:a16="http://schemas.microsoft.com/office/drawing/2014/main" id="{21771504-115F-D441-AFDC-C67A5B0451EC}"/>
                  </a:ext>
                </a:extLst>
              </p:cNvPr>
              <p:cNvGrpSpPr/>
              <p:nvPr/>
            </p:nvGrpSpPr>
            <p:grpSpPr>
              <a:xfrm>
                <a:off x="5025710" y="2174317"/>
                <a:ext cx="1049791" cy="90742"/>
                <a:chOff x="5025710" y="2174317"/>
                <a:chExt cx="1049791" cy="90742"/>
              </a:xfrm>
            </p:grpSpPr>
            <p:cxnSp>
              <p:nvCxnSpPr>
                <p:cNvPr id="85" name="Straight Connector 84">
                  <a:extLst>
                    <a:ext uri="{FF2B5EF4-FFF2-40B4-BE49-F238E27FC236}">
                      <a16:creationId xmlns:a16="http://schemas.microsoft.com/office/drawing/2014/main" id="{0008120A-7A38-B646-9D5C-E89435A75C9D}"/>
                    </a:ext>
                  </a:extLst>
                </p:cNvPr>
                <p:cNvCxnSpPr>
                  <a:cxnSpLocks/>
                </p:cNvCxnSpPr>
                <p:nvPr/>
              </p:nvCxnSpPr>
              <p:spPr>
                <a:xfrm>
                  <a:off x="5025710" y="2219688"/>
                  <a:ext cx="1045001" cy="0"/>
                </a:xfrm>
                <a:prstGeom prst="line">
                  <a:avLst/>
                </a:prstGeom>
                <a:ln w="15875">
                  <a:solidFill>
                    <a:schemeClr val="tx1"/>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86" name="Straight Connector 85">
                  <a:extLst>
                    <a:ext uri="{FF2B5EF4-FFF2-40B4-BE49-F238E27FC236}">
                      <a16:creationId xmlns:a16="http://schemas.microsoft.com/office/drawing/2014/main" id="{0B18965D-4162-0844-9E37-A974FD00DC3F}"/>
                    </a:ext>
                  </a:extLst>
                </p:cNvPr>
                <p:cNvCxnSpPr>
                  <a:cxnSpLocks/>
                </p:cNvCxnSpPr>
                <p:nvPr/>
              </p:nvCxnSpPr>
              <p:spPr>
                <a:xfrm>
                  <a:off x="5025710" y="2174317"/>
                  <a:ext cx="0" cy="90742"/>
                </a:xfrm>
                <a:prstGeom prst="line">
                  <a:avLst/>
                </a:prstGeom>
                <a:ln w="15875">
                  <a:solidFill>
                    <a:schemeClr val="tx1"/>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87" name="Straight Connector 86">
                  <a:extLst>
                    <a:ext uri="{FF2B5EF4-FFF2-40B4-BE49-F238E27FC236}">
                      <a16:creationId xmlns:a16="http://schemas.microsoft.com/office/drawing/2014/main" id="{D05FBA9E-2CBC-9646-9E5A-C5A412151180}"/>
                    </a:ext>
                  </a:extLst>
                </p:cNvPr>
                <p:cNvCxnSpPr>
                  <a:cxnSpLocks/>
                </p:cNvCxnSpPr>
                <p:nvPr/>
              </p:nvCxnSpPr>
              <p:spPr>
                <a:xfrm>
                  <a:off x="6075501" y="2174317"/>
                  <a:ext cx="0" cy="90742"/>
                </a:xfrm>
                <a:prstGeom prst="line">
                  <a:avLst/>
                </a:prstGeom>
                <a:ln w="15875">
                  <a:solidFill>
                    <a:schemeClr val="tx1"/>
                  </a:solidFill>
                  <a:prstDash val="solid"/>
                </a:ln>
                <a:effectLst/>
              </p:spPr>
              <p:style>
                <a:lnRef idx="2">
                  <a:schemeClr val="accent1"/>
                </a:lnRef>
                <a:fillRef idx="0">
                  <a:schemeClr val="accent1"/>
                </a:fillRef>
                <a:effectRef idx="1">
                  <a:schemeClr val="accent1"/>
                </a:effectRef>
                <a:fontRef idx="minor">
                  <a:schemeClr val="tx1"/>
                </a:fontRef>
              </p:style>
            </p:cxnSp>
          </p:grpSp>
          <p:sp>
            <p:nvSpPr>
              <p:cNvPr id="84" name="Rectangle 83">
                <a:extLst>
                  <a:ext uri="{FF2B5EF4-FFF2-40B4-BE49-F238E27FC236}">
                    <a16:creationId xmlns:a16="http://schemas.microsoft.com/office/drawing/2014/main" id="{591E5967-6A27-CA41-B135-82A902A4DB1D}"/>
                  </a:ext>
                </a:extLst>
              </p:cNvPr>
              <p:cNvSpPr/>
              <p:nvPr/>
            </p:nvSpPr>
            <p:spPr>
              <a:xfrm rot="2815778">
                <a:off x="5578069" y="2182979"/>
                <a:ext cx="73420" cy="73420"/>
              </a:xfrm>
              <a:prstGeom prst="rect">
                <a:avLst/>
              </a:prstGeom>
              <a:solidFill>
                <a:srgbClr val="D48236"/>
              </a:solidFill>
              <a:ln w="15875" cap="sq">
                <a:solidFill>
                  <a:schemeClr val="tx1"/>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entury Gothic" panose="020F0302020204030204"/>
                  <a:ea typeface="+mn-ea"/>
                  <a:cs typeface="+mn-cs"/>
                </a:endParaRPr>
              </a:p>
            </p:txBody>
          </p:sp>
        </p:grpSp>
        <p:grpSp>
          <p:nvGrpSpPr>
            <p:cNvPr id="16" name="Group 15">
              <a:extLst>
                <a:ext uri="{FF2B5EF4-FFF2-40B4-BE49-F238E27FC236}">
                  <a16:creationId xmlns:a16="http://schemas.microsoft.com/office/drawing/2014/main" id="{D715E357-20B8-1F45-8F44-FB3860631EBB}"/>
                </a:ext>
              </a:extLst>
            </p:cNvPr>
            <p:cNvGrpSpPr/>
            <p:nvPr/>
          </p:nvGrpSpPr>
          <p:grpSpPr>
            <a:xfrm>
              <a:off x="8208068" y="3861748"/>
              <a:ext cx="1023555" cy="90742"/>
              <a:chOff x="5025710" y="2174317"/>
              <a:chExt cx="1023555" cy="90742"/>
            </a:xfrm>
          </p:grpSpPr>
          <p:grpSp>
            <p:nvGrpSpPr>
              <p:cNvPr id="78" name="Group 77">
                <a:extLst>
                  <a:ext uri="{FF2B5EF4-FFF2-40B4-BE49-F238E27FC236}">
                    <a16:creationId xmlns:a16="http://schemas.microsoft.com/office/drawing/2014/main" id="{40DC2E8B-2033-5B42-A978-F889E8EC6A8A}"/>
                  </a:ext>
                </a:extLst>
              </p:cNvPr>
              <p:cNvGrpSpPr/>
              <p:nvPr/>
            </p:nvGrpSpPr>
            <p:grpSpPr>
              <a:xfrm>
                <a:off x="5025710" y="2174317"/>
                <a:ext cx="1023555" cy="90742"/>
                <a:chOff x="5025710" y="2174317"/>
                <a:chExt cx="1023555" cy="90742"/>
              </a:xfrm>
            </p:grpSpPr>
            <p:cxnSp>
              <p:nvCxnSpPr>
                <p:cNvPr id="80" name="Straight Connector 79">
                  <a:extLst>
                    <a:ext uri="{FF2B5EF4-FFF2-40B4-BE49-F238E27FC236}">
                      <a16:creationId xmlns:a16="http://schemas.microsoft.com/office/drawing/2014/main" id="{7FC1C4A1-3CE5-AC40-9560-F81BA4BD31A9}"/>
                    </a:ext>
                  </a:extLst>
                </p:cNvPr>
                <p:cNvCxnSpPr>
                  <a:cxnSpLocks/>
                </p:cNvCxnSpPr>
                <p:nvPr/>
              </p:nvCxnSpPr>
              <p:spPr>
                <a:xfrm>
                  <a:off x="5025710" y="2219688"/>
                  <a:ext cx="1023555" cy="0"/>
                </a:xfrm>
                <a:prstGeom prst="line">
                  <a:avLst/>
                </a:prstGeom>
                <a:ln w="15875">
                  <a:solidFill>
                    <a:schemeClr val="tx1"/>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81" name="Straight Connector 80">
                  <a:extLst>
                    <a:ext uri="{FF2B5EF4-FFF2-40B4-BE49-F238E27FC236}">
                      <a16:creationId xmlns:a16="http://schemas.microsoft.com/office/drawing/2014/main" id="{D891D19B-A8C2-5C4B-9D52-4E4A2A3576BA}"/>
                    </a:ext>
                  </a:extLst>
                </p:cNvPr>
                <p:cNvCxnSpPr>
                  <a:cxnSpLocks/>
                </p:cNvCxnSpPr>
                <p:nvPr/>
              </p:nvCxnSpPr>
              <p:spPr>
                <a:xfrm>
                  <a:off x="5025710" y="2174317"/>
                  <a:ext cx="0" cy="90742"/>
                </a:xfrm>
                <a:prstGeom prst="line">
                  <a:avLst/>
                </a:prstGeom>
                <a:ln w="15875">
                  <a:solidFill>
                    <a:schemeClr val="tx1"/>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82" name="Straight Connector 81">
                  <a:extLst>
                    <a:ext uri="{FF2B5EF4-FFF2-40B4-BE49-F238E27FC236}">
                      <a16:creationId xmlns:a16="http://schemas.microsoft.com/office/drawing/2014/main" id="{4A979AE6-6C51-8840-8920-14981455D358}"/>
                    </a:ext>
                  </a:extLst>
                </p:cNvPr>
                <p:cNvCxnSpPr>
                  <a:cxnSpLocks/>
                </p:cNvCxnSpPr>
                <p:nvPr/>
              </p:nvCxnSpPr>
              <p:spPr>
                <a:xfrm>
                  <a:off x="6049265" y="2174317"/>
                  <a:ext cx="0" cy="90742"/>
                </a:xfrm>
                <a:prstGeom prst="line">
                  <a:avLst/>
                </a:prstGeom>
                <a:ln w="15875">
                  <a:solidFill>
                    <a:schemeClr val="tx1"/>
                  </a:solidFill>
                  <a:prstDash val="solid"/>
                </a:ln>
                <a:effectLst/>
              </p:spPr>
              <p:style>
                <a:lnRef idx="2">
                  <a:schemeClr val="accent1"/>
                </a:lnRef>
                <a:fillRef idx="0">
                  <a:schemeClr val="accent1"/>
                </a:fillRef>
                <a:effectRef idx="1">
                  <a:schemeClr val="accent1"/>
                </a:effectRef>
                <a:fontRef idx="minor">
                  <a:schemeClr val="tx1"/>
                </a:fontRef>
              </p:style>
            </p:cxnSp>
          </p:grpSp>
          <p:sp>
            <p:nvSpPr>
              <p:cNvPr id="79" name="Rectangle 78">
                <a:extLst>
                  <a:ext uri="{FF2B5EF4-FFF2-40B4-BE49-F238E27FC236}">
                    <a16:creationId xmlns:a16="http://schemas.microsoft.com/office/drawing/2014/main" id="{EF0369D0-C17A-1E4D-9791-F1EA19125F64}"/>
                  </a:ext>
                </a:extLst>
              </p:cNvPr>
              <p:cNvSpPr/>
              <p:nvPr/>
            </p:nvSpPr>
            <p:spPr>
              <a:xfrm rot="2815778">
                <a:off x="5529347" y="2182979"/>
                <a:ext cx="73420" cy="73420"/>
              </a:xfrm>
              <a:prstGeom prst="rect">
                <a:avLst/>
              </a:prstGeom>
              <a:solidFill>
                <a:srgbClr val="D48236"/>
              </a:solidFill>
              <a:ln w="15875" cap="sq">
                <a:solidFill>
                  <a:schemeClr val="tx1"/>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entury Gothic" panose="020F0302020204030204"/>
                  <a:ea typeface="+mn-ea"/>
                  <a:cs typeface="+mn-cs"/>
                </a:endParaRPr>
              </a:p>
            </p:txBody>
          </p:sp>
        </p:grpSp>
        <p:grpSp>
          <p:nvGrpSpPr>
            <p:cNvPr id="17" name="Group 16">
              <a:extLst>
                <a:ext uri="{FF2B5EF4-FFF2-40B4-BE49-F238E27FC236}">
                  <a16:creationId xmlns:a16="http://schemas.microsoft.com/office/drawing/2014/main" id="{C608A5CF-AD54-9342-BEB9-B612F6D4E5F8}"/>
                </a:ext>
              </a:extLst>
            </p:cNvPr>
            <p:cNvGrpSpPr/>
            <p:nvPr/>
          </p:nvGrpSpPr>
          <p:grpSpPr>
            <a:xfrm>
              <a:off x="7914790" y="4180828"/>
              <a:ext cx="1046043" cy="90742"/>
              <a:chOff x="5025710" y="2174317"/>
              <a:chExt cx="1046043" cy="90742"/>
            </a:xfrm>
          </p:grpSpPr>
          <p:grpSp>
            <p:nvGrpSpPr>
              <p:cNvPr id="73" name="Group 72">
                <a:extLst>
                  <a:ext uri="{FF2B5EF4-FFF2-40B4-BE49-F238E27FC236}">
                    <a16:creationId xmlns:a16="http://schemas.microsoft.com/office/drawing/2014/main" id="{6D4822A2-2534-544A-B88E-2D1A18D57716}"/>
                  </a:ext>
                </a:extLst>
              </p:cNvPr>
              <p:cNvGrpSpPr/>
              <p:nvPr/>
            </p:nvGrpSpPr>
            <p:grpSpPr>
              <a:xfrm>
                <a:off x="5025710" y="2174317"/>
                <a:ext cx="1046043" cy="90742"/>
                <a:chOff x="5025710" y="2174317"/>
                <a:chExt cx="1046043" cy="90742"/>
              </a:xfrm>
            </p:grpSpPr>
            <p:cxnSp>
              <p:nvCxnSpPr>
                <p:cNvPr id="75" name="Straight Connector 74">
                  <a:extLst>
                    <a:ext uri="{FF2B5EF4-FFF2-40B4-BE49-F238E27FC236}">
                      <a16:creationId xmlns:a16="http://schemas.microsoft.com/office/drawing/2014/main" id="{84324CA0-8C37-A246-A12D-4512F39988B8}"/>
                    </a:ext>
                  </a:extLst>
                </p:cNvPr>
                <p:cNvCxnSpPr>
                  <a:cxnSpLocks/>
                </p:cNvCxnSpPr>
                <p:nvPr/>
              </p:nvCxnSpPr>
              <p:spPr>
                <a:xfrm>
                  <a:off x="5025710" y="2219688"/>
                  <a:ext cx="1046043" cy="0"/>
                </a:xfrm>
                <a:prstGeom prst="line">
                  <a:avLst/>
                </a:prstGeom>
                <a:ln w="15875">
                  <a:solidFill>
                    <a:schemeClr val="tx1"/>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76" name="Straight Connector 75">
                  <a:extLst>
                    <a:ext uri="{FF2B5EF4-FFF2-40B4-BE49-F238E27FC236}">
                      <a16:creationId xmlns:a16="http://schemas.microsoft.com/office/drawing/2014/main" id="{BCDB1997-3BB0-5E4B-A470-3699A7689948}"/>
                    </a:ext>
                  </a:extLst>
                </p:cNvPr>
                <p:cNvCxnSpPr>
                  <a:cxnSpLocks/>
                </p:cNvCxnSpPr>
                <p:nvPr/>
              </p:nvCxnSpPr>
              <p:spPr>
                <a:xfrm>
                  <a:off x="5025710" y="2174317"/>
                  <a:ext cx="0" cy="90742"/>
                </a:xfrm>
                <a:prstGeom prst="line">
                  <a:avLst/>
                </a:prstGeom>
                <a:ln w="15875">
                  <a:solidFill>
                    <a:schemeClr val="tx1"/>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77" name="Straight Connector 76">
                  <a:extLst>
                    <a:ext uri="{FF2B5EF4-FFF2-40B4-BE49-F238E27FC236}">
                      <a16:creationId xmlns:a16="http://schemas.microsoft.com/office/drawing/2014/main" id="{7B9DCECC-62B7-A447-9A65-D8741AEC3010}"/>
                    </a:ext>
                  </a:extLst>
                </p:cNvPr>
                <p:cNvCxnSpPr>
                  <a:cxnSpLocks/>
                </p:cNvCxnSpPr>
                <p:nvPr/>
              </p:nvCxnSpPr>
              <p:spPr>
                <a:xfrm>
                  <a:off x="6071753" y="2174317"/>
                  <a:ext cx="0" cy="90742"/>
                </a:xfrm>
                <a:prstGeom prst="line">
                  <a:avLst/>
                </a:prstGeom>
                <a:ln w="15875">
                  <a:solidFill>
                    <a:schemeClr val="tx1"/>
                  </a:solidFill>
                  <a:prstDash val="solid"/>
                </a:ln>
                <a:effectLst/>
              </p:spPr>
              <p:style>
                <a:lnRef idx="2">
                  <a:schemeClr val="accent1"/>
                </a:lnRef>
                <a:fillRef idx="0">
                  <a:schemeClr val="accent1"/>
                </a:fillRef>
                <a:effectRef idx="1">
                  <a:schemeClr val="accent1"/>
                </a:effectRef>
                <a:fontRef idx="minor">
                  <a:schemeClr val="tx1"/>
                </a:fontRef>
              </p:style>
            </p:cxnSp>
          </p:grpSp>
          <p:sp>
            <p:nvSpPr>
              <p:cNvPr id="74" name="Rectangle 73">
                <a:extLst>
                  <a:ext uri="{FF2B5EF4-FFF2-40B4-BE49-F238E27FC236}">
                    <a16:creationId xmlns:a16="http://schemas.microsoft.com/office/drawing/2014/main" id="{B3840DA2-689C-6B45-B006-2049DFB546DE}"/>
                  </a:ext>
                </a:extLst>
              </p:cNvPr>
              <p:cNvSpPr/>
              <p:nvPr/>
            </p:nvSpPr>
            <p:spPr>
              <a:xfrm rot="2815778">
                <a:off x="5499365" y="2182979"/>
                <a:ext cx="73420" cy="73420"/>
              </a:xfrm>
              <a:prstGeom prst="rect">
                <a:avLst/>
              </a:prstGeom>
              <a:solidFill>
                <a:srgbClr val="D48236"/>
              </a:solidFill>
              <a:ln w="15875" cap="sq">
                <a:solidFill>
                  <a:schemeClr val="tx1"/>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entury Gothic" panose="020F0302020204030204"/>
                  <a:ea typeface="+mn-ea"/>
                  <a:cs typeface="+mn-cs"/>
                </a:endParaRPr>
              </a:p>
            </p:txBody>
          </p:sp>
        </p:grpSp>
        <p:grpSp>
          <p:nvGrpSpPr>
            <p:cNvPr id="19" name="Group 18">
              <a:extLst>
                <a:ext uri="{FF2B5EF4-FFF2-40B4-BE49-F238E27FC236}">
                  <a16:creationId xmlns:a16="http://schemas.microsoft.com/office/drawing/2014/main" id="{A4B8189B-97A9-844D-81DD-A4A2E00F4104}"/>
                </a:ext>
              </a:extLst>
            </p:cNvPr>
            <p:cNvGrpSpPr/>
            <p:nvPr/>
          </p:nvGrpSpPr>
          <p:grpSpPr>
            <a:xfrm>
              <a:off x="8744188" y="4333228"/>
              <a:ext cx="1046043" cy="90742"/>
              <a:chOff x="5025710" y="2174317"/>
              <a:chExt cx="1046043" cy="90742"/>
            </a:xfrm>
          </p:grpSpPr>
          <p:grpSp>
            <p:nvGrpSpPr>
              <p:cNvPr id="68" name="Group 67">
                <a:extLst>
                  <a:ext uri="{FF2B5EF4-FFF2-40B4-BE49-F238E27FC236}">
                    <a16:creationId xmlns:a16="http://schemas.microsoft.com/office/drawing/2014/main" id="{CC55FACF-9659-1A4B-B23A-C9D343201575}"/>
                  </a:ext>
                </a:extLst>
              </p:cNvPr>
              <p:cNvGrpSpPr/>
              <p:nvPr/>
            </p:nvGrpSpPr>
            <p:grpSpPr>
              <a:xfrm>
                <a:off x="5025710" y="2174317"/>
                <a:ext cx="1046043" cy="90742"/>
                <a:chOff x="5025710" y="2174317"/>
                <a:chExt cx="1046043" cy="90742"/>
              </a:xfrm>
            </p:grpSpPr>
            <p:cxnSp>
              <p:nvCxnSpPr>
                <p:cNvPr id="70" name="Straight Connector 69">
                  <a:extLst>
                    <a:ext uri="{FF2B5EF4-FFF2-40B4-BE49-F238E27FC236}">
                      <a16:creationId xmlns:a16="http://schemas.microsoft.com/office/drawing/2014/main" id="{501628C2-6FDD-1347-B3A3-ECBA4BCF1AFD}"/>
                    </a:ext>
                  </a:extLst>
                </p:cNvPr>
                <p:cNvCxnSpPr>
                  <a:cxnSpLocks/>
                </p:cNvCxnSpPr>
                <p:nvPr/>
              </p:nvCxnSpPr>
              <p:spPr>
                <a:xfrm>
                  <a:off x="5025710" y="2219688"/>
                  <a:ext cx="1046043" cy="0"/>
                </a:xfrm>
                <a:prstGeom prst="line">
                  <a:avLst/>
                </a:prstGeom>
                <a:ln w="15875">
                  <a:solidFill>
                    <a:schemeClr val="tx1"/>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71" name="Straight Connector 70">
                  <a:extLst>
                    <a:ext uri="{FF2B5EF4-FFF2-40B4-BE49-F238E27FC236}">
                      <a16:creationId xmlns:a16="http://schemas.microsoft.com/office/drawing/2014/main" id="{037E765F-CBF0-424B-AF5F-40B97C6D1EE5}"/>
                    </a:ext>
                  </a:extLst>
                </p:cNvPr>
                <p:cNvCxnSpPr>
                  <a:cxnSpLocks/>
                </p:cNvCxnSpPr>
                <p:nvPr/>
              </p:nvCxnSpPr>
              <p:spPr>
                <a:xfrm>
                  <a:off x="5025710" y="2174317"/>
                  <a:ext cx="0" cy="90742"/>
                </a:xfrm>
                <a:prstGeom prst="line">
                  <a:avLst/>
                </a:prstGeom>
                <a:ln w="15875">
                  <a:solidFill>
                    <a:schemeClr val="tx1"/>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72" name="Straight Connector 71">
                  <a:extLst>
                    <a:ext uri="{FF2B5EF4-FFF2-40B4-BE49-F238E27FC236}">
                      <a16:creationId xmlns:a16="http://schemas.microsoft.com/office/drawing/2014/main" id="{951D3961-B735-B647-89E5-F87C94179A15}"/>
                    </a:ext>
                  </a:extLst>
                </p:cNvPr>
                <p:cNvCxnSpPr>
                  <a:cxnSpLocks/>
                </p:cNvCxnSpPr>
                <p:nvPr/>
              </p:nvCxnSpPr>
              <p:spPr>
                <a:xfrm>
                  <a:off x="6071753" y="2174317"/>
                  <a:ext cx="0" cy="90742"/>
                </a:xfrm>
                <a:prstGeom prst="line">
                  <a:avLst/>
                </a:prstGeom>
                <a:ln w="15875">
                  <a:solidFill>
                    <a:schemeClr val="tx1"/>
                  </a:solidFill>
                  <a:prstDash val="solid"/>
                </a:ln>
                <a:effectLst/>
              </p:spPr>
              <p:style>
                <a:lnRef idx="2">
                  <a:schemeClr val="accent1"/>
                </a:lnRef>
                <a:fillRef idx="0">
                  <a:schemeClr val="accent1"/>
                </a:fillRef>
                <a:effectRef idx="1">
                  <a:schemeClr val="accent1"/>
                </a:effectRef>
                <a:fontRef idx="minor">
                  <a:schemeClr val="tx1"/>
                </a:fontRef>
              </p:style>
            </p:cxnSp>
          </p:grpSp>
          <p:sp>
            <p:nvSpPr>
              <p:cNvPr id="69" name="Rectangle 68">
                <a:extLst>
                  <a:ext uri="{FF2B5EF4-FFF2-40B4-BE49-F238E27FC236}">
                    <a16:creationId xmlns:a16="http://schemas.microsoft.com/office/drawing/2014/main" id="{43348C30-EAAC-394C-A7EA-B1072F2ABCB8}"/>
                  </a:ext>
                </a:extLst>
              </p:cNvPr>
              <p:cNvSpPr/>
              <p:nvPr/>
            </p:nvSpPr>
            <p:spPr>
              <a:xfrm rot="2815778">
                <a:off x="5555582" y="2182980"/>
                <a:ext cx="73420" cy="73420"/>
              </a:xfrm>
              <a:prstGeom prst="rect">
                <a:avLst/>
              </a:prstGeom>
              <a:solidFill>
                <a:srgbClr val="D48236"/>
              </a:solidFill>
              <a:ln w="15875" cap="sq">
                <a:solidFill>
                  <a:schemeClr val="tx1"/>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entury Gothic" panose="020F0302020204030204"/>
                  <a:ea typeface="+mn-ea"/>
                  <a:cs typeface="+mn-cs"/>
                </a:endParaRPr>
              </a:p>
            </p:txBody>
          </p:sp>
        </p:grpSp>
        <p:grpSp>
          <p:nvGrpSpPr>
            <p:cNvPr id="20" name="Group 19">
              <a:extLst>
                <a:ext uri="{FF2B5EF4-FFF2-40B4-BE49-F238E27FC236}">
                  <a16:creationId xmlns:a16="http://schemas.microsoft.com/office/drawing/2014/main" id="{8679AF8E-4BFE-ED46-B013-88289B9B09FC}"/>
                </a:ext>
              </a:extLst>
            </p:cNvPr>
            <p:cNvGrpSpPr/>
            <p:nvPr/>
          </p:nvGrpSpPr>
          <p:grpSpPr>
            <a:xfrm>
              <a:off x="8289159" y="4650234"/>
              <a:ext cx="1046043" cy="90742"/>
              <a:chOff x="5025710" y="2174317"/>
              <a:chExt cx="1046043" cy="90742"/>
            </a:xfrm>
          </p:grpSpPr>
          <p:grpSp>
            <p:nvGrpSpPr>
              <p:cNvPr id="63" name="Group 62">
                <a:extLst>
                  <a:ext uri="{FF2B5EF4-FFF2-40B4-BE49-F238E27FC236}">
                    <a16:creationId xmlns:a16="http://schemas.microsoft.com/office/drawing/2014/main" id="{94967E2A-6DC6-1D42-8848-D46EC30018F1}"/>
                  </a:ext>
                </a:extLst>
              </p:cNvPr>
              <p:cNvGrpSpPr/>
              <p:nvPr/>
            </p:nvGrpSpPr>
            <p:grpSpPr>
              <a:xfrm>
                <a:off x="5025710" y="2174317"/>
                <a:ext cx="1046043" cy="90742"/>
                <a:chOff x="5025710" y="2174317"/>
                <a:chExt cx="1046043" cy="90742"/>
              </a:xfrm>
            </p:grpSpPr>
            <p:cxnSp>
              <p:nvCxnSpPr>
                <p:cNvPr id="65" name="Straight Connector 64">
                  <a:extLst>
                    <a:ext uri="{FF2B5EF4-FFF2-40B4-BE49-F238E27FC236}">
                      <a16:creationId xmlns:a16="http://schemas.microsoft.com/office/drawing/2014/main" id="{32542842-278B-9843-9DA1-7BCAB36A80C6}"/>
                    </a:ext>
                  </a:extLst>
                </p:cNvPr>
                <p:cNvCxnSpPr>
                  <a:cxnSpLocks/>
                </p:cNvCxnSpPr>
                <p:nvPr/>
              </p:nvCxnSpPr>
              <p:spPr>
                <a:xfrm>
                  <a:off x="5025710" y="2219688"/>
                  <a:ext cx="1046043" cy="0"/>
                </a:xfrm>
                <a:prstGeom prst="line">
                  <a:avLst/>
                </a:prstGeom>
                <a:ln w="15875">
                  <a:solidFill>
                    <a:schemeClr val="tx1"/>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66" name="Straight Connector 65">
                  <a:extLst>
                    <a:ext uri="{FF2B5EF4-FFF2-40B4-BE49-F238E27FC236}">
                      <a16:creationId xmlns:a16="http://schemas.microsoft.com/office/drawing/2014/main" id="{9B59DC26-D809-DB47-95F2-94A062049536}"/>
                    </a:ext>
                  </a:extLst>
                </p:cNvPr>
                <p:cNvCxnSpPr>
                  <a:cxnSpLocks/>
                </p:cNvCxnSpPr>
                <p:nvPr/>
              </p:nvCxnSpPr>
              <p:spPr>
                <a:xfrm>
                  <a:off x="5025710" y="2174317"/>
                  <a:ext cx="0" cy="90742"/>
                </a:xfrm>
                <a:prstGeom prst="line">
                  <a:avLst/>
                </a:prstGeom>
                <a:ln w="15875">
                  <a:solidFill>
                    <a:schemeClr val="tx1"/>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67" name="Straight Connector 66">
                  <a:extLst>
                    <a:ext uri="{FF2B5EF4-FFF2-40B4-BE49-F238E27FC236}">
                      <a16:creationId xmlns:a16="http://schemas.microsoft.com/office/drawing/2014/main" id="{E774AE69-ECEE-564C-929B-E36A5968F3F6}"/>
                    </a:ext>
                  </a:extLst>
                </p:cNvPr>
                <p:cNvCxnSpPr>
                  <a:cxnSpLocks/>
                </p:cNvCxnSpPr>
                <p:nvPr/>
              </p:nvCxnSpPr>
              <p:spPr>
                <a:xfrm>
                  <a:off x="6071753" y="2174317"/>
                  <a:ext cx="0" cy="90742"/>
                </a:xfrm>
                <a:prstGeom prst="line">
                  <a:avLst/>
                </a:prstGeom>
                <a:ln w="15875">
                  <a:solidFill>
                    <a:schemeClr val="tx1"/>
                  </a:solidFill>
                  <a:prstDash val="solid"/>
                </a:ln>
                <a:effectLst/>
              </p:spPr>
              <p:style>
                <a:lnRef idx="2">
                  <a:schemeClr val="accent1"/>
                </a:lnRef>
                <a:fillRef idx="0">
                  <a:schemeClr val="accent1"/>
                </a:fillRef>
                <a:effectRef idx="1">
                  <a:schemeClr val="accent1"/>
                </a:effectRef>
                <a:fontRef idx="minor">
                  <a:schemeClr val="tx1"/>
                </a:fontRef>
              </p:style>
            </p:cxnSp>
          </p:grpSp>
          <p:sp>
            <p:nvSpPr>
              <p:cNvPr id="64" name="Rectangle 63">
                <a:extLst>
                  <a:ext uri="{FF2B5EF4-FFF2-40B4-BE49-F238E27FC236}">
                    <a16:creationId xmlns:a16="http://schemas.microsoft.com/office/drawing/2014/main" id="{720FEB6D-4CFF-F345-AEB3-CA2ECBA46408}"/>
                  </a:ext>
                </a:extLst>
              </p:cNvPr>
              <p:cNvSpPr/>
              <p:nvPr/>
            </p:nvSpPr>
            <p:spPr>
              <a:xfrm rot="2815778">
                <a:off x="5446996" y="2182980"/>
                <a:ext cx="73420" cy="73420"/>
              </a:xfrm>
              <a:prstGeom prst="rect">
                <a:avLst/>
              </a:prstGeom>
              <a:solidFill>
                <a:srgbClr val="D48236"/>
              </a:solidFill>
              <a:ln w="15875" cap="sq">
                <a:solidFill>
                  <a:schemeClr val="tx1"/>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entury Gothic" panose="020F0302020204030204"/>
                  <a:ea typeface="+mn-ea"/>
                  <a:cs typeface="+mn-cs"/>
                </a:endParaRPr>
              </a:p>
            </p:txBody>
          </p:sp>
        </p:grpSp>
        <p:grpSp>
          <p:nvGrpSpPr>
            <p:cNvPr id="21" name="Group 20">
              <a:extLst>
                <a:ext uri="{FF2B5EF4-FFF2-40B4-BE49-F238E27FC236}">
                  <a16:creationId xmlns:a16="http://schemas.microsoft.com/office/drawing/2014/main" id="{80798218-64B8-F946-8239-B7EC91B6656C}"/>
                </a:ext>
              </a:extLst>
            </p:cNvPr>
            <p:cNvGrpSpPr/>
            <p:nvPr/>
          </p:nvGrpSpPr>
          <p:grpSpPr>
            <a:xfrm>
              <a:off x="8425609" y="4810512"/>
              <a:ext cx="1263400" cy="90742"/>
              <a:chOff x="5025710" y="2174317"/>
              <a:chExt cx="1263400" cy="90742"/>
            </a:xfrm>
          </p:grpSpPr>
          <p:grpSp>
            <p:nvGrpSpPr>
              <p:cNvPr id="58" name="Group 57">
                <a:extLst>
                  <a:ext uri="{FF2B5EF4-FFF2-40B4-BE49-F238E27FC236}">
                    <a16:creationId xmlns:a16="http://schemas.microsoft.com/office/drawing/2014/main" id="{F40144DF-61C2-0041-B783-14377FFBBB32}"/>
                  </a:ext>
                </a:extLst>
              </p:cNvPr>
              <p:cNvGrpSpPr/>
              <p:nvPr/>
            </p:nvGrpSpPr>
            <p:grpSpPr>
              <a:xfrm>
                <a:off x="5025710" y="2174317"/>
                <a:ext cx="1263400" cy="90742"/>
                <a:chOff x="5025710" y="2174317"/>
                <a:chExt cx="1263400" cy="90742"/>
              </a:xfrm>
            </p:grpSpPr>
            <p:cxnSp>
              <p:nvCxnSpPr>
                <p:cNvPr id="60" name="Straight Connector 59">
                  <a:extLst>
                    <a:ext uri="{FF2B5EF4-FFF2-40B4-BE49-F238E27FC236}">
                      <a16:creationId xmlns:a16="http://schemas.microsoft.com/office/drawing/2014/main" id="{FA3C27B4-1E02-C24C-8579-AE6975E6245B}"/>
                    </a:ext>
                  </a:extLst>
                </p:cNvPr>
                <p:cNvCxnSpPr>
                  <a:cxnSpLocks/>
                </p:cNvCxnSpPr>
                <p:nvPr/>
              </p:nvCxnSpPr>
              <p:spPr>
                <a:xfrm>
                  <a:off x="5025710" y="2219688"/>
                  <a:ext cx="1263400" cy="0"/>
                </a:xfrm>
                <a:prstGeom prst="line">
                  <a:avLst/>
                </a:prstGeom>
                <a:ln w="15875">
                  <a:solidFill>
                    <a:schemeClr val="tx1"/>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61" name="Straight Connector 60">
                  <a:extLst>
                    <a:ext uri="{FF2B5EF4-FFF2-40B4-BE49-F238E27FC236}">
                      <a16:creationId xmlns:a16="http://schemas.microsoft.com/office/drawing/2014/main" id="{CE63115E-5DCC-9345-A6E6-BAB93DA78657}"/>
                    </a:ext>
                  </a:extLst>
                </p:cNvPr>
                <p:cNvCxnSpPr>
                  <a:cxnSpLocks/>
                </p:cNvCxnSpPr>
                <p:nvPr/>
              </p:nvCxnSpPr>
              <p:spPr>
                <a:xfrm>
                  <a:off x="5025710" y="2174317"/>
                  <a:ext cx="0" cy="90742"/>
                </a:xfrm>
                <a:prstGeom prst="line">
                  <a:avLst/>
                </a:prstGeom>
                <a:ln w="15875">
                  <a:solidFill>
                    <a:schemeClr val="tx1"/>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62" name="Straight Connector 61">
                  <a:extLst>
                    <a:ext uri="{FF2B5EF4-FFF2-40B4-BE49-F238E27FC236}">
                      <a16:creationId xmlns:a16="http://schemas.microsoft.com/office/drawing/2014/main" id="{E33C228B-1B31-0449-A9E5-D1D91C07B728}"/>
                    </a:ext>
                  </a:extLst>
                </p:cNvPr>
                <p:cNvCxnSpPr>
                  <a:cxnSpLocks/>
                </p:cNvCxnSpPr>
                <p:nvPr/>
              </p:nvCxnSpPr>
              <p:spPr>
                <a:xfrm>
                  <a:off x="6289110" y="2174317"/>
                  <a:ext cx="0" cy="90742"/>
                </a:xfrm>
                <a:prstGeom prst="line">
                  <a:avLst/>
                </a:prstGeom>
                <a:ln w="15875">
                  <a:solidFill>
                    <a:schemeClr val="tx1"/>
                  </a:solidFill>
                  <a:prstDash val="solid"/>
                </a:ln>
                <a:effectLst/>
              </p:spPr>
              <p:style>
                <a:lnRef idx="2">
                  <a:schemeClr val="accent1"/>
                </a:lnRef>
                <a:fillRef idx="0">
                  <a:schemeClr val="accent1"/>
                </a:fillRef>
                <a:effectRef idx="1">
                  <a:schemeClr val="accent1"/>
                </a:effectRef>
                <a:fontRef idx="minor">
                  <a:schemeClr val="tx1"/>
                </a:fontRef>
              </p:style>
            </p:cxnSp>
          </p:grpSp>
          <p:sp>
            <p:nvSpPr>
              <p:cNvPr id="59" name="Rectangle 58">
                <a:extLst>
                  <a:ext uri="{FF2B5EF4-FFF2-40B4-BE49-F238E27FC236}">
                    <a16:creationId xmlns:a16="http://schemas.microsoft.com/office/drawing/2014/main" id="{B501AD0B-3FD8-9B4D-951D-1FF4F9F91A3E}"/>
                  </a:ext>
                </a:extLst>
              </p:cNvPr>
              <p:cNvSpPr/>
              <p:nvPr/>
            </p:nvSpPr>
            <p:spPr>
              <a:xfrm rot="2815778">
                <a:off x="5790393" y="2182980"/>
                <a:ext cx="73420" cy="73420"/>
              </a:xfrm>
              <a:prstGeom prst="rect">
                <a:avLst/>
              </a:prstGeom>
              <a:solidFill>
                <a:srgbClr val="D48236"/>
              </a:solidFill>
              <a:ln w="15875" cap="sq">
                <a:solidFill>
                  <a:schemeClr val="tx1"/>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entury Gothic" panose="020F0302020204030204"/>
                  <a:ea typeface="+mn-ea"/>
                  <a:cs typeface="+mn-cs"/>
                </a:endParaRPr>
              </a:p>
            </p:txBody>
          </p:sp>
        </p:grpSp>
        <p:grpSp>
          <p:nvGrpSpPr>
            <p:cNvPr id="22" name="Group 21">
              <a:extLst>
                <a:ext uri="{FF2B5EF4-FFF2-40B4-BE49-F238E27FC236}">
                  <a16:creationId xmlns:a16="http://schemas.microsoft.com/office/drawing/2014/main" id="{DAC88A96-BF6B-BC45-991B-61F979B662C6}"/>
                </a:ext>
              </a:extLst>
            </p:cNvPr>
            <p:cNvGrpSpPr/>
            <p:nvPr/>
          </p:nvGrpSpPr>
          <p:grpSpPr>
            <a:xfrm>
              <a:off x="8608683" y="5109740"/>
              <a:ext cx="1046043" cy="90742"/>
              <a:chOff x="5025710" y="2174317"/>
              <a:chExt cx="1046043" cy="90742"/>
            </a:xfrm>
          </p:grpSpPr>
          <p:grpSp>
            <p:nvGrpSpPr>
              <p:cNvPr id="53" name="Group 52">
                <a:extLst>
                  <a:ext uri="{FF2B5EF4-FFF2-40B4-BE49-F238E27FC236}">
                    <a16:creationId xmlns:a16="http://schemas.microsoft.com/office/drawing/2014/main" id="{47C89241-AF27-A140-8A73-72034C64BC6F}"/>
                  </a:ext>
                </a:extLst>
              </p:cNvPr>
              <p:cNvGrpSpPr/>
              <p:nvPr/>
            </p:nvGrpSpPr>
            <p:grpSpPr>
              <a:xfrm>
                <a:off x="5025710" y="2174317"/>
                <a:ext cx="1046043" cy="90742"/>
                <a:chOff x="5025710" y="2174317"/>
                <a:chExt cx="1046043" cy="90742"/>
              </a:xfrm>
            </p:grpSpPr>
            <p:cxnSp>
              <p:nvCxnSpPr>
                <p:cNvPr id="55" name="Straight Connector 54">
                  <a:extLst>
                    <a:ext uri="{FF2B5EF4-FFF2-40B4-BE49-F238E27FC236}">
                      <a16:creationId xmlns:a16="http://schemas.microsoft.com/office/drawing/2014/main" id="{F6A8B08E-003A-B049-82FC-9BF616751CCC}"/>
                    </a:ext>
                  </a:extLst>
                </p:cNvPr>
                <p:cNvCxnSpPr>
                  <a:cxnSpLocks/>
                </p:cNvCxnSpPr>
                <p:nvPr/>
              </p:nvCxnSpPr>
              <p:spPr>
                <a:xfrm>
                  <a:off x="5025710" y="2219688"/>
                  <a:ext cx="1046043" cy="0"/>
                </a:xfrm>
                <a:prstGeom prst="line">
                  <a:avLst/>
                </a:prstGeom>
                <a:ln w="15875">
                  <a:solidFill>
                    <a:schemeClr val="tx1"/>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56" name="Straight Connector 55">
                  <a:extLst>
                    <a:ext uri="{FF2B5EF4-FFF2-40B4-BE49-F238E27FC236}">
                      <a16:creationId xmlns:a16="http://schemas.microsoft.com/office/drawing/2014/main" id="{F1C919BE-EC97-434F-84F0-C311C6742DCC}"/>
                    </a:ext>
                  </a:extLst>
                </p:cNvPr>
                <p:cNvCxnSpPr>
                  <a:cxnSpLocks/>
                </p:cNvCxnSpPr>
                <p:nvPr/>
              </p:nvCxnSpPr>
              <p:spPr>
                <a:xfrm>
                  <a:off x="5025710" y="2174317"/>
                  <a:ext cx="0" cy="90742"/>
                </a:xfrm>
                <a:prstGeom prst="line">
                  <a:avLst/>
                </a:prstGeom>
                <a:ln w="15875">
                  <a:solidFill>
                    <a:schemeClr val="tx1"/>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57" name="Straight Connector 56">
                  <a:extLst>
                    <a:ext uri="{FF2B5EF4-FFF2-40B4-BE49-F238E27FC236}">
                      <a16:creationId xmlns:a16="http://schemas.microsoft.com/office/drawing/2014/main" id="{29DAF499-9154-C64A-A44D-BE72FE90CB0A}"/>
                    </a:ext>
                  </a:extLst>
                </p:cNvPr>
                <p:cNvCxnSpPr>
                  <a:cxnSpLocks/>
                </p:cNvCxnSpPr>
                <p:nvPr/>
              </p:nvCxnSpPr>
              <p:spPr>
                <a:xfrm>
                  <a:off x="6071753" y="2174317"/>
                  <a:ext cx="0" cy="90742"/>
                </a:xfrm>
                <a:prstGeom prst="line">
                  <a:avLst/>
                </a:prstGeom>
                <a:ln w="15875">
                  <a:solidFill>
                    <a:schemeClr val="tx1"/>
                  </a:solidFill>
                  <a:prstDash val="solid"/>
                </a:ln>
                <a:effectLst/>
              </p:spPr>
              <p:style>
                <a:lnRef idx="2">
                  <a:schemeClr val="accent1"/>
                </a:lnRef>
                <a:fillRef idx="0">
                  <a:schemeClr val="accent1"/>
                </a:fillRef>
                <a:effectRef idx="1">
                  <a:schemeClr val="accent1"/>
                </a:effectRef>
                <a:fontRef idx="minor">
                  <a:schemeClr val="tx1"/>
                </a:fontRef>
              </p:style>
            </p:cxnSp>
          </p:grpSp>
          <p:sp>
            <p:nvSpPr>
              <p:cNvPr id="54" name="Rectangle 53">
                <a:extLst>
                  <a:ext uri="{FF2B5EF4-FFF2-40B4-BE49-F238E27FC236}">
                    <a16:creationId xmlns:a16="http://schemas.microsoft.com/office/drawing/2014/main" id="{9A141CE5-AF7F-5345-9873-52BBB013EDD7}"/>
                  </a:ext>
                </a:extLst>
              </p:cNvPr>
              <p:cNvSpPr/>
              <p:nvPr/>
            </p:nvSpPr>
            <p:spPr>
              <a:xfrm rot="2815778">
                <a:off x="5548186" y="2182980"/>
                <a:ext cx="73420" cy="73420"/>
              </a:xfrm>
              <a:prstGeom prst="rect">
                <a:avLst/>
              </a:prstGeom>
              <a:solidFill>
                <a:srgbClr val="D48236"/>
              </a:solidFill>
              <a:ln w="15875" cap="sq">
                <a:solidFill>
                  <a:schemeClr val="tx1"/>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entury Gothic" panose="020F0302020204030204"/>
                  <a:ea typeface="+mn-ea"/>
                  <a:cs typeface="+mn-cs"/>
                </a:endParaRPr>
              </a:p>
            </p:txBody>
          </p:sp>
        </p:grpSp>
        <p:grpSp>
          <p:nvGrpSpPr>
            <p:cNvPr id="23" name="Group 22">
              <a:extLst>
                <a:ext uri="{FF2B5EF4-FFF2-40B4-BE49-F238E27FC236}">
                  <a16:creationId xmlns:a16="http://schemas.microsoft.com/office/drawing/2014/main" id="{44DF2C21-08A9-8845-97EA-721778D366FA}"/>
                </a:ext>
              </a:extLst>
            </p:cNvPr>
            <p:cNvGrpSpPr/>
            <p:nvPr/>
          </p:nvGrpSpPr>
          <p:grpSpPr>
            <a:xfrm>
              <a:off x="7992137" y="5284075"/>
              <a:ext cx="1106804" cy="90742"/>
              <a:chOff x="5025710" y="2174317"/>
              <a:chExt cx="1106804" cy="90742"/>
            </a:xfrm>
          </p:grpSpPr>
          <p:grpSp>
            <p:nvGrpSpPr>
              <p:cNvPr id="48" name="Group 47">
                <a:extLst>
                  <a:ext uri="{FF2B5EF4-FFF2-40B4-BE49-F238E27FC236}">
                    <a16:creationId xmlns:a16="http://schemas.microsoft.com/office/drawing/2014/main" id="{7F022BBF-87B8-4D4D-99DD-B70E3EF518F4}"/>
                  </a:ext>
                </a:extLst>
              </p:cNvPr>
              <p:cNvGrpSpPr/>
              <p:nvPr/>
            </p:nvGrpSpPr>
            <p:grpSpPr>
              <a:xfrm>
                <a:off x="5025710" y="2174317"/>
                <a:ext cx="1106804" cy="90742"/>
                <a:chOff x="5025710" y="2174317"/>
                <a:chExt cx="1106804" cy="90742"/>
              </a:xfrm>
            </p:grpSpPr>
            <p:cxnSp>
              <p:nvCxnSpPr>
                <p:cNvPr id="50" name="Straight Connector 49">
                  <a:extLst>
                    <a:ext uri="{FF2B5EF4-FFF2-40B4-BE49-F238E27FC236}">
                      <a16:creationId xmlns:a16="http://schemas.microsoft.com/office/drawing/2014/main" id="{62F37D12-2006-854B-9FE3-A61E5E5E56FC}"/>
                    </a:ext>
                  </a:extLst>
                </p:cNvPr>
                <p:cNvCxnSpPr>
                  <a:cxnSpLocks/>
                </p:cNvCxnSpPr>
                <p:nvPr/>
              </p:nvCxnSpPr>
              <p:spPr>
                <a:xfrm>
                  <a:off x="5025710" y="2219688"/>
                  <a:ext cx="1106804" cy="0"/>
                </a:xfrm>
                <a:prstGeom prst="line">
                  <a:avLst/>
                </a:prstGeom>
                <a:ln w="15875">
                  <a:solidFill>
                    <a:schemeClr val="tx1"/>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51" name="Straight Connector 50">
                  <a:extLst>
                    <a:ext uri="{FF2B5EF4-FFF2-40B4-BE49-F238E27FC236}">
                      <a16:creationId xmlns:a16="http://schemas.microsoft.com/office/drawing/2014/main" id="{ABC456BC-4936-F14A-8D45-47D40AE0BB20}"/>
                    </a:ext>
                  </a:extLst>
                </p:cNvPr>
                <p:cNvCxnSpPr>
                  <a:cxnSpLocks/>
                </p:cNvCxnSpPr>
                <p:nvPr/>
              </p:nvCxnSpPr>
              <p:spPr>
                <a:xfrm>
                  <a:off x="5025710" y="2174317"/>
                  <a:ext cx="0" cy="90742"/>
                </a:xfrm>
                <a:prstGeom prst="line">
                  <a:avLst/>
                </a:prstGeom>
                <a:ln w="15875">
                  <a:solidFill>
                    <a:schemeClr val="tx1"/>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52" name="Straight Connector 51">
                  <a:extLst>
                    <a:ext uri="{FF2B5EF4-FFF2-40B4-BE49-F238E27FC236}">
                      <a16:creationId xmlns:a16="http://schemas.microsoft.com/office/drawing/2014/main" id="{132F1316-1D5F-BF4C-A83C-EC210091AF0D}"/>
                    </a:ext>
                  </a:extLst>
                </p:cNvPr>
                <p:cNvCxnSpPr>
                  <a:cxnSpLocks/>
                </p:cNvCxnSpPr>
                <p:nvPr/>
              </p:nvCxnSpPr>
              <p:spPr>
                <a:xfrm>
                  <a:off x="6132514" y="2174317"/>
                  <a:ext cx="0" cy="90742"/>
                </a:xfrm>
                <a:prstGeom prst="line">
                  <a:avLst/>
                </a:prstGeom>
                <a:ln w="15875">
                  <a:solidFill>
                    <a:schemeClr val="tx1"/>
                  </a:solidFill>
                  <a:prstDash val="solid"/>
                </a:ln>
                <a:effectLst/>
              </p:spPr>
              <p:style>
                <a:lnRef idx="2">
                  <a:schemeClr val="accent1"/>
                </a:lnRef>
                <a:fillRef idx="0">
                  <a:schemeClr val="accent1"/>
                </a:fillRef>
                <a:effectRef idx="1">
                  <a:schemeClr val="accent1"/>
                </a:effectRef>
                <a:fontRef idx="minor">
                  <a:schemeClr val="tx1"/>
                </a:fontRef>
              </p:style>
            </p:cxnSp>
          </p:grpSp>
          <p:sp>
            <p:nvSpPr>
              <p:cNvPr id="49" name="Rectangle 48">
                <a:extLst>
                  <a:ext uri="{FF2B5EF4-FFF2-40B4-BE49-F238E27FC236}">
                    <a16:creationId xmlns:a16="http://schemas.microsoft.com/office/drawing/2014/main" id="{68D22A27-C9D4-9F4D-9E9B-732881728AF7}"/>
                  </a:ext>
                </a:extLst>
              </p:cNvPr>
              <p:cNvSpPr/>
              <p:nvPr/>
            </p:nvSpPr>
            <p:spPr>
              <a:xfrm rot="2815778">
                <a:off x="5548186" y="2182980"/>
                <a:ext cx="73420" cy="73420"/>
              </a:xfrm>
              <a:prstGeom prst="rect">
                <a:avLst/>
              </a:prstGeom>
              <a:solidFill>
                <a:srgbClr val="D48236"/>
              </a:solidFill>
              <a:ln w="15875" cap="sq">
                <a:solidFill>
                  <a:schemeClr val="tx1"/>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entury Gothic" panose="020F0302020204030204"/>
                  <a:ea typeface="+mn-ea"/>
                  <a:cs typeface="+mn-cs"/>
                </a:endParaRPr>
              </a:p>
            </p:txBody>
          </p:sp>
        </p:grpSp>
        <p:grpSp>
          <p:nvGrpSpPr>
            <p:cNvPr id="24" name="Group 23">
              <a:extLst>
                <a:ext uri="{FF2B5EF4-FFF2-40B4-BE49-F238E27FC236}">
                  <a16:creationId xmlns:a16="http://schemas.microsoft.com/office/drawing/2014/main" id="{356BD873-E9C2-4046-A0D4-8F946B12024B}"/>
                </a:ext>
              </a:extLst>
            </p:cNvPr>
            <p:cNvGrpSpPr/>
            <p:nvPr/>
          </p:nvGrpSpPr>
          <p:grpSpPr>
            <a:xfrm>
              <a:off x="8425359" y="5597741"/>
              <a:ext cx="994323" cy="90742"/>
              <a:chOff x="5025710" y="2174317"/>
              <a:chExt cx="994323" cy="90742"/>
            </a:xfrm>
          </p:grpSpPr>
          <p:grpSp>
            <p:nvGrpSpPr>
              <p:cNvPr id="43" name="Group 42">
                <a:extLst>
                  <a:ext uri="{FF2B5EF4-FFF2-40B4-BE49-F238E27FC236}">
                    <a16:creationId xmlns:a16="http://schemas.microsoft.com/office/drawing/2014/main" id="{C2EC209C-4126-2E48-BB5B-DC5C58F6DFEA}"/>
                  </a:ext>
                </a:extLst>
              </p:cNvPr>
              <p:cNvGrpSpPr/>
              <p:nvPr/>
            </p:nvGrpSpPr>
            <p:grpSpPr>
              <a:xfrm>
                <a:off x="5025710" y="2174317"/>
                <a:ext cx="994323" cy="90742"/>
                <a:chOff x="5025710" y="2174317"/>
                <a:chExt cx="994323" cy="90742"/>
              </a:xfrm>
            </p:grpSpPr>
            <p:cxnSp>
              <p:nvCxnSpPr>
                <p:cNvPr id="45" name="Straight Connector 44">
                  <a:extLst>
                    <a:ext uri="{FF2B5EF4-FFF2-40B4-BE49-F238E27FC236}">
                      <a16:creationId xmlns:a16="http://schemas.microsoft.com/office/drawing/2014/main" id="{B00C6EA5-075E-6E40-BDE5-F5226FA988D1}"/>
                    </a:ext>
                  </a:extLst>
                </p:cNvPr>
                <p:cNvCxnSpPr>
                  <a:cxnSpLocks/>
                </p:cNvCxnSpPr>
                <p:nvPr/>
              </p:nvCxnSpPr>
              <p:spPr>
                <a:xfrm>
                  <a:off x="5025710" y="2219688"/>
                  <a:ext cx="994323" cy="0"/>
                </a:xfrm>
                <a:prstGeom prst="line">
                  <a:avLst/>
                </a:prstGeom>
                <a:ln w="15875">
                  <a:solidFill>
                    <a:schemeClr val="tx1"/>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46" name="Straight Connector 45">
                  <a:extLst>
                    <a:ext uri="{FF2B5EF4-FFF2-40B4-BE49-F238E27FC236}">
                      <a16:creationId xmlns:a16="http://schemas.microsoft.com/office/drawing/2014/main" id="{3A64DA07-B93C-554A-AECD-0557E0BE3158}"/>
                    </a:ext>
                  </a:extLst>
                </p:cNvPr>
                <p:cNvCxnSpPr>
                  <a:cxnSpLocks/>
                </p:cNvCxnSpPr>
                <p:nvPr/>
              </p:nvCxnSpPr>
              <p:spPr>
                <a:xfrm>
                  <a:off x="5025710" y="2174317"/>
                  <a:ext cx="0" cy="90742"/>
                </a:xfrm>
                <a:prstGeom prst="line">
                  <a:avLst/>
                </a:prstGeom>
                <a:ln w="15875">
                  <a:solidFill>
                    <a:schemeClr val="tx1"/>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47" name="Straight Connector 46">
                  <a:extLst>
                    <a:ext uri="{FF2B5EF4-FFF2-40B4-BE49-F238E27FC236}">
                      <a16:creationId xmlns:a16="http://schemas.microsoft.com/office/drawing/2014/main" id="{3E006A33-6FC6-8747-86AC-829059C61D2D}"/>
                    </a:ext>
                  </a:extLst>
                </p:cNvPr>
                <p:cNvCxnSpPr>
                  <a:cxnSpLocks/>
                </p:cNvCxnSpPr>
                <p:nvPr/>
              </p:nvCxnSpPr>
              <p:spPr>
                <a:xfrm>
                  <a:off x="6020033" y="2174317"/>
                  <a:ext cx="0" cy="90742"/>
                </a:xfrm>
                <a:prstGeom prst="line">
                  <a:avLst/>
                </a:prstGeom>
                <a:ln w="15875">
                  <a:solidFill>
                    <a:schemeClr val="tx1"/>
                  </a:solidFill>
                  <a:prstDash val="solid"/>
                </a:ln>
                <a:effectLst/>
              </p:spPr>
              <p:style>
                <a:lnRef idx="2">
                  <a:schemeClr val="accent1"/>
                </a:lnRef>
                <a:fillRef idx="0">
                  <a:schemeClr val="accent1"/>
                </a:fillRef>
                <a:effectRef idx="1">
                  <a:schemeClr val="accent1"/>
                </a:effectRef>
                <a:fontRef idx="minor">
                  <a:schemeClr val="tx1"/>
                </a:fontRef>
              </p:style>
            </p:cxnSp>
          </p:grpSp>
          <p:sp>
            <p:nvSpPr>
              <p:cNvPr id="44" name="Rectangle 43">
                <a:extLst>
                  <a:ext uri="{FF2B5EF4-FFF2-40B4-BE49-F238E27FC236}">
                    <a16:creationId xmlns:a16="http://schemas.microsoft.com/office/drawing/2014/main" id="{C8AA39AE-A20D-0640-9671-7DE87ECA0BC9}"/>
                  </a:ext>
                </a:extLst>
              </p:cNvPr>
              <p:cNvSpPr/>
              <p:nvPr/>
            </p:nvSpPr>
            <p:spPr>
              <a:xfrm rot="2815778">
                <a:off x="5548186" y="2182980"/>
                <a:ext cx="73420" cy="73420"/>
              </a:xfrm>
              <a:prstGeom prst="rect">
                <a:avLst/>
              </a:prstGeom>
              <a:solidFill>
                <a:srgbClr val="D48236"/>
              </a:solidFill>
              <a:ln w="15875" cap="sq">
                <a:solidFill>
                  <a:schemeClr val="tx1"/>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entury Gothic" panose="020F0302020204030204"/>
                  <a:ea typeface="+mn-ea"/>
                  <a:cs typeface="+mn-cs"/>
                </a:endParaRPr>
              </a:p>
            </p:txBody>
          </p:sp>
        </p:grpSp>
        <p:grpSp>
          <p:nvGrpSpPr>
            <p:cNvPr id="25" name="Group 24">
              <a:extLst>
                <a:ext uri="{FF2B5EF4-FFF2-40B4-BE49-F238E27FC236}">
                  <a16:creationId xmlns:a16="http://schemas.microsoft.com/office/drawing/2014/main" id="{0E66454D-BA7D-ED4A-8FEB-603099CE01F1}"/>
                </a:ext>
              </a:extLst>
            </p:cNvPr>
            <p:cNvGrpSpPr/>
            <p:nvPr/>
          </p:nvGrpSpPr>
          <p:grpSpPr>
            <a:xfrm>
              <a:off x="8188318" y="5757637"/>
              <a:ext cx="1074313" cy="90742"/>
              <a:chOff x="5025710" y="2174317"/>
              <a:chExt cx="1074313" cy="90742"/>
            </a:xfrm>
          </p:grpSpPr>
          <p:grpSp>
            <p:nvGrpSpPr>
              <p:cNvPr id="38" name="Group 37">
                <a:extLst>
                  <a:ext uri="{FF2B5EF4-FFF2-40B4-BE49-F238E27FC236}">
                    <a16:creationId xmlns:a16="http://schemas.microsoft.com/office/drawing/2014/main" id="{78A50BBA-9617-1B4B-91EE-1831E48571F9}"/>
                  </a:ext>
                </a:extLst>
              </p:cNvPr>
              <p:cNvGrpSpPr/>
              <p:nvPr/>
            </p:nvGrpSpPr>
            <p:grpSpPr>
              <a:xfrm>
                <a:off x="5025710" y="2174317"/>
                <a:ext cx="1074313" cy="90742"/>
                <a:chOff x="5025710" y="2174317"/>
                <a:chExt cx="1074313" cy="90742"/>
              </a:xfrm>
            </p:grpSpPr>
            <p:cxnSp>
              <p:nvCxnSpPr>
                <p:cNvPr id="40" name="Straight Connector 39">
                  <a:extLst>
                    <a:ext uri="{FF2B5EF4-FFF2-40B4-BE49-F238E27FC236}">
                      <a16:creationId xmlns:a16="http://schemas.microsoft.com/office/drawing/2014/main" id="{13923D4A-4A54-EB4F-86D4-8DB62DD414E1}"/>
                    </a:ext>
                  </a:extLst>
                </p:cNvPr>
                <p:cNvCxnSpPr>
                  <a:cxnSpLocks/>
                </p:cNvCxnSpPr>
                <p:nvPr/>
              </p:nvCxnSpPr>
              <p:spPr>
                <a:xfrm>
                  <a:off x="5025710" y="2219688"/>
                  <a:ext cx="1070565" cy="0"/>
                </a:xfrm>
                <a:prstGeom prst="line">
                  <a:avLst/>
                </a:prstGeom>
                <a:ln w="15875">
                  <a:solidFill>
                    <a:schemeClr val="tx1"/>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41" name="Straight Connector 40">
                  <a:extLst>
                    <a:ext uri="{FF2B5EF4-FFF2-40B4-BE49-F238E27FC236}">
                      <a16:creationId xmlns:a16="http://schemas.microsoft.com/office/drawing/2014/main" id="{52727FD5-7410-3C4E-B13E-1A42CFFCA83E}"/>
                    </a:ext>
                  </a:extLst>
                </p:cNvPr>
                <p:cNvCxnSpPr>
                  <a:cxnSpLocks/>
                </p:cNvCxnSpPr>
                <p:nvPr/>
              </p:nvCxnSpPr>
              <p:spPr>
                <a:xfrm>
                  <a:off x="5025710" y="2174317"/>
                  <a:ext cx="0" cy="90742"/>
                </a:xfrm>
                <a:prstGeom prst="line">
                  <a:avLst/>
                </a:prstGeom>
                <a:ln w="15875">
                  <a:solidFill>
                    <a:schemeClr val="tx1"/>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42" name="Straight Connector 41">
                  <a:extLst>
                    <a:ext uri="{FF2B5EF4-FFF2-40B4-BE49-F238E27FC236}">
                      <a16:creationId xmlns:a16="http://schemas.microsoft.com/office/drawing/2014/main" id="{AE74139D-F735-B849-B05A-647FC4A52172}"/>
                    </a:ext>
                  </a:extLst>
                </p:cNvPr>
                <p:cNvCxnSpPr>
                  <a:cxnSpLocks/>
                </p:cNvCxnSpPr>
                <p:nvPr/>
              </p:nvCxnSpPr>
              <p:spPr>
                <a:xfrm>
                  <a:off x="6100023" y="2174317"/>
                  <a:ext cx="0" cy="90742"/>
                </a:xfrm>
                <a:prstGeom prst="line">
                  <a:avLst/>
                </a:prstGeom>
                <a:ln w="15875">
                  <a:solidFill>
                    <a:schemeClr val="tx1"/>
                  </a:solidFill>
                  <a:prstDash val="solid"/>
                </a:ln>
                <a:effectLst/>
              </p:spPr>
              <p:style>
                <a:lnRef idx="2">
                  <a:schemeClr val="accent1"/>
                </a:lnRef>
                <a:fillRef idx="0">
                  <a:schemeClr val="accent1"/>
                </a:fillRef>
                <a:effectRef idx="1">
                  <a:schemeClr val="accent1"/>
                </a:effectRef>
                <a:fontRef idx="minor">
                  <a:schemeClr val="tx1"/>
                </a:fontRef>
              </p:style>
            </p:cxnSp>
          </p:grpSp>
          <p:sp>
            <p:nvSpPr>
              <p:cNvPr id="39" name="Rectangle 38">
                <a:extLst>
                  <a:ext uri="{FF2B5EF4-FFF2-40B4-BE49-F238E27FC236}">
                    <a16:creationId xmlns:a16="http://schemas.microsoft.com/office/drawing/2014/main" id="{DFF5DB70-629B-9E48-BDE4-2421961E8EF0}"/>
                  </a:ext>
                </a:extLst>
              </p:cNvPr>
              <p:cNvSpPr/>
              <p:nvPr/>
            </p:nvSpPr>
            <p:spPr>
              <a:xfrm rot="2815778">
                <a:off x="5548186" y="2182980"/>
                <a:ext cx="73420" cy="73420"/>
              </a:xfrm>
              <a:prstGeom prst="rect">
                <a:avLst/>
              </a:prstGeom>
              <a:solidFill>
                <a:srgbClr val="D48236"/>
              </a:solidFill>
              <a:ln w="15875" cap="sq">
                <a:solidFill>
                  <a:schemeClr val="tx1"/>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entury Gothic" panose="020F0302020204030204"/>
                  <a:ea typeface="+mn-ea"/>
                  <a:cs typeface="+mn-cs"/>
                </a:endParaRPr>
              </a:p>
            </p:txBody>
          </p:sp>
        </p:grpSp>
        <p:grpSp>
          <p:nvGrpSpPr>
            <p:cNvPr id="26" name="Group 25">
              <a:extLst>
                <a:ext uri="{FF2B5EF4-FFF2-40B4-BE49-F238E27FC236}">
                  <a16:creationId xmlns:a16="http://schemas.microsoft.com/office/drawing/2014/main" id="{9CD89DA3-1F53-5746-B3BB-76CB09A4658D}"/>
                </a:ext>
              </a:extLst>
            </p:cNvPr>
            <p:cNvGrpSpPr/>
            <p:nvPr/>
          </p:nvGrpSpPr>
          <p:grpSpPr>
            <a:xfrm>
              <a:off x="8318189" y="6072281"/>
              <a:ext cx="913434" cy="90742"/>
              <a:chOff x="5025710" y="2174317"/>
              <a:chExt cx="913434" cy="90742"/>
            </a:xfrm>
          </p:grpSpPr>
          <p:grpSp>
            <p:nvGrpSpPr>
              <p:cNvPr id="33" name="Group 32">
                <a:extLst>
                  <a:ext uri="{FF2B5EF4-FFF2-40B4-BE49-F238E27FC236}">
                    <a16:creationId xmlns:a16="http://schemas.microsoft.com/office/drawing/2014/main" id="{12334451-EAEF-6C44-84CF-666AEA29F4C7}"/>
                  </a:ext>
                </a:extLst>
              </p:cNvPr>
              <p:cNvGrpSpPr/>
              <p:nvPr/>
            </p:nvGrpSpPr>
            <p:grpSpPr>
              <a:xfrm>
                <a:off x="5025710" y="2174317"/>
                <a:ext cx="913434" cy="90742"/>
                <a:chOff x="5025710" y="2174317"/>
                <a:chExt cx="913434" cy="90742"/>
              </a:xfrm>
            </p:grpSpPr>
            <p:cxnSp>
              <p:nvCxnSpPr>
                <p:cNvPr id="35" name="Straight Connector 34">
                  <a:extLst>
                    <a:ext uri="{FF2B5EF4-FFF2-40B4-BE49-F238E27FC236}">
                      <a16:creationId xmlns:a16="http://schemas.microsoft.com/office/drawing/2014/main" id="{04F6E644-33C0-0647-9FCB-D6181A8B4A22}"/>
                    </a:ext>
                  </a:extLst>
                </p:cNvPr>
                <p:cNvCxnSpPr>
                  <a:cxnSpLocks/>
                </p:cNvCxnSpPr>
                <p:nvPr/>
              </p:nvCxnSpPr>
              <p:spPr>
                <a:xfrm>
                  <a:off x="5025710" y="2219688"/>
                  <a:ext cx="913434" cy="0"/>
                </a:xfrm>
                <a:prstGeom prst="line">
                  <a:avLst/>
                </a:prstGeom>
                <a:ln w="15875">
                  <a:solidFill>
                    <a:schemeClr val="tx1"/>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36" name="Straight Connector 35">
                  <a:extLst>
                    <a:ext uri="{FF2B5EF4-FFF2-40B4-BE49-F238E27FC236}">
                      <a16:creationId xmlns:a16="http://schemas.microsoft.com/office/drawing/2014/main" id="{421CC27F-0583-834B-98B4-190484561D5E}"/>
                    </a:ext>
                  </a:extLst>
                </p:cNvPr>
                <p:cNvCxnSpPr>
                  <a:cxnSpLocks/>
                </p:cNvCxnSpPr>
                <p:nvPr/>
              </p:nvCxnSpPr>
              <p:spPr>
                <a:xfrm>
                  <a:off x="5025710" y="2174317"/>
                  <a:ext cx="0" cy="90742"/>
                </a:xfrm>
                <a:prstGeom prst="line">
                  <a:avLst/>
                </a:prstGeom>
                <a:ln w="15875">
                  <a:solidFill>
                    <a:schemeClr val="tx1"/>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37" name="Straight Connector 36">
                  <a:extLst>
                    <a:ext uri="{FF2B5EF4-FFF2-40B4-BE49-F238E27FC236}">
                      <a16:creationId xmlns:a16="http://schemas.microsoft.com/office/drawing/2014/main" id="{EB870972-5287-FC4E-A588-782FB42BC676}"/>
                    </a:ext>
                  </a:extLst>
                </p:cNvPr>
                <p:cNvCxnSpPr>
                  <a:cxnSpLocks/>
                </p:cNvCxnSpPr>
                <p:nvPr/>
              </p:nvCxnSpPr>
              <p:spPr>
                <a:xfrm>
                  <a:off x="5939144" y="2174317"/>
                  <a:ext cx="0" cy="90742"/>
                </a:xfrm>
                <a:prstGeom prst="line">
                  <a:avLst/>
                </a:prstGeom>
                <a:ln w="15875">
                  <a:solidFill>
                    <a:schemeClr val="tx1"/>
                  </a:solidFill>
                  <a:prstDash val="solid"/>
                </a:ln>
                <a:effectLst/>
              </p:spPr>
              <p:style>
                <a:lnRef idx="2">
                  <a:schemeClr val="accent1"/>
                </a:lnRef>
                <a:fillRef idx="0">
                  <a:schemeClr val="accent1"/>
                </a:fillRef>
                <a:effectRef idx="1">
                  <a:schemeClr val="accent1"/>
                </a:effectRef>
                <a:fontRef idx="minor">
                  <a:schemeClr val="tx1"/>
                </a:fontRef>
              </p:style>
            </p:cxnSp>
          </p:grpSp>
          <p:sp>
            <p:nvSpPr>
              <p:cNvPr id="34" name="Rectangle 33">
                <a:extLst>
                  <a:ext uri="{FF2B5EF4-FFF2-40B4-BE49-F238E27FC236}">
                    <a16:creationId xmlns:a16="http://schemas.microsoft.com/office/drawing/2014/main" id="{FB5F9DD9-82F7-7446-87F7-D9B01A302437}"/>
                  </a:ext>
                </a:extLst>
              </p:cNvPr>
              <p:cNvSpPr/>
              <p:nvPr/>
            </p:nvSpPr>
            <p:spPr>
              <a:xfrm rot="2815778">
                <a:off x="5469851" y="2182981"/>
                <a:ext cx="73420" cy="73420"/>
              </a:xfrm>
              <a:prstGeom prst="rect">
                <a:avLst/>
              </a:prstGeom>
              <a:solidFill>
                <a:srgbClr val="D48236"/>
              </a:solidFill>
              <a:ln w="15875" cap="sq">
                <a:solidFill>
                  <a:schemeClr val="tx1"/>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entury Gothic" panose="020F0302020204030204"/>
                  <a:ea typeface="+mn-ea"/>
                  <a:cs typeface="+mn-cs"/>
                </a:endParaRPr>
              </a:p>
            </p:txBody>
          </p:sp>
        </p:grpSp>
        <p:grpSp>
          <p:nvGrpSpPr>
            <p:cNvPr id="27" name="Group 26">
              <a:extLst>
                <a:ext uri="{FF2B5EF4-FFF2-40B4-BE49-F238E27FC236}">
                  <a16:creationId xmlns:a16="http://schemas.microsoft.com/office/drawing/2014/main" id="{F7DAEC8C-9597-DF46-B653-1A755830E02B}"/>
                </a:ext>
              </a:extLst>
            </p:cNvPr>
            <p:cNvGrpSpPr/>
            <p:nvPr/>
          </p:nvGrpSpPr>
          <p:grpSpPr>
            <a:xfrm>
              <a:off x="8316934" y="6232177"/>
              <a:ext cx="1265703" cy="90742"/>
              <a:chOff x="5025710" y="2174317"/>
              <a:chExt cx="1265703" cy="90742"/>
            </a:xfrm>
          </p:grpSpPr>
          <p:grpSp>
            <p:nvGrpSpPr>
              <p:cNvPr id="28" name="Group 27">
                <a:extLst>
                  <a:ext uri="{FF2B5EF4-FFF2-40B4-BE49-F238E27FC236}">
                    <a16:creationId xmlns:a16="http://schemas.microsoft.com/office/drawing/2014/main" id="{61140CCD-DEEA-2B43-8908-3240DB9F61BF}"/>
                  </a:ext>
                </a:extLst>
              </p:cNvPr>
              <p:cNvGrpSpPr/>
              <p:nvPr/>
            </p:nvGrpSpPr>
            <p:grpSpPr>
              <a:xfrm>
                <a:off x="5025710" y="2174317"/>
                <a:ext cx="1265703" cy="90742"/>
                <a:chOff x="5025710" y="2174317"/>
                <a:chExt cx="1265703" cy="90742"/>
              </a:xfrm>
            </p:grpSpPr>
            <p:cxnSp>
              <p:nvCxnSpPr>
                <p:cNvPr id="30" name="Straight Connector 29">
                  <a:extLst>
                    <a:ext uri="{FF2B5EF4-FFF2-40B4-BE49-F238E27FC236}">
                      <a16:creationId xmlns:a16="http://schemas.microsoft.com/office/drawing/2014/main" id="{83B8D526-8B71-5248-AD72-2D109E697B9C}"/>
                    </a:ext>
                  </a:extLst>
                </p:cNvPr>
                <p:cNvCxnSpPr>
                  <a:cxnSpLocks/>
                </p:cNvCxnSpPr>
                <p:nvPr/>
              </p:nvCxnSpPr>
              <p:spPr>
                <a:xfrm>
                  <a:off x="5025710" y="2219688"/>
                  <a:ext cx="1265703" cy="0"/>
                </a:xfrm>
                <a:prstGeom prst="line">
                  <a:avLst/>
                </a:prstGeom>
                <a:ln w="15875">
                  <a:solidFill>
                    <a:schemeClr val="tx1"/>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31" name="Straight Connector 30">
                  <a:extLst>
                    <a:ext uri="{FF2B5EF4-FFF2-40B4-BE49-F238E27FC236}">
                      <a16:creationId xmlns:a16="http://schemas.microsoft.com/office/drawing/2014/main" id="{B185DD99-5671-4449-8AC3-00A7866146D6}"/>
                    </a:ext>
                  </a:extLst>
                </p:cNvPr>
                <p:cNvCxnSpPr>
                  <a:cxnSpLocks/>
                </p:cNvCxnSpPr>
                <p:nvPr/>
              </p:nvCxnSpPr>
              <p:spPr>
                <a:xfrm>
                  <a:off x="5025710" y="2174317"/>
                  <a:ext cx="0" cy="90742"/>
                </a:xfrm>
                <a:prstGeom prst="line">
                  <a:avLst/>
                </a:prstGeom>
                <a:ln w="15875">
                  <a:solidFill>
                    <a:schemeClr val="tx1"/>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32" name="Straight Connector 31">
                  <a:extLst>
                    <a:ext uri="{FF2B5EF4-FFF2-40B4-BE49-F238E27FC236}">
                      <a16:creationId xmlns:a16="http://schemas.microsoft.com/office/drawing/2014/main" id="{39223104-579D-2746-82A0-EB7B920942FD}"/>
                    </a:ext>
                  </a:extLst>
                </p:cNvPr>
                <p:cNvCxnSpPr>
                  <a:cxnSpLocks/>
                </p:cNvCxnSpPr>
                <p:nvPr/>
              </p:nvCxnSpPr>
              <p:spPr>
                <a:xfrm>
                  <a:off x="6291413" y="2174317"/>
                  <a:ext cx="0" cy="90742"/>
                </a:xfrm>
                <a:prstGeom prst="line">
                  <a:avLst/>
                </a:prstGeom>
                <a:ln w="15875">
                  <a:solidFill>
                    <a:schemeClr val="tx1"/>
                  </a:solidFill>
                  <a:prstDash val="solid"/>
                </a:ln>
                <a:effectLst/>
              </p:spPr>
              <p:style>
                <a:lnRef idx="2">
                  <a:schemeClr val="accent1"/>
                </a:lnRef>
                <a:fillRef idx="0">
                  <a:schemeClr val="accent1"/>
                </a:fillRef>
                <a:effectRef idx="1">
                  <a:schemeClr val="accent1"/>
                </a:effectRef>
                <a:fontRef idx="minor">
                  <a:schemeClr val="tx1"/>
                </a:fontRef>
              </p:style>
            </p:cxnSp>
          </p:grpSp>
          <p:sp>
            <p:nvSpPr>
              <p:cNvPr id="29" name="Rectangle 28">
                <a:extLst>
                  <a:ext uri="{FF2B5EF4-FFF2-40B4-BE49-F238E27FC236}">
                    <a16:creationId xmlns:a16="http://schemas.microsoft.com/office/drawing/2014/main" id="{F3D294F0-D5A7-CD4E-A95C-33D02FDE6B60}"/>
                  </a:ext>
                </a:extLst>
              </p:cNvPr>
              <p:cNvSpPr/>
              <p:nvPr/>
            </p:nvSpPr>
            <p:spPr>
              <a:xfrm rot="2815778">
                <a:off x="5746989" y="2182982"/>
                <a:ext cx="73420" cy="73420"/>
              </a:xfrm>
              <a:prstGeom prst="rect">
                <a:avLst/>
              </a:prstGeom>
              <a:solidFill>
                <a:srgbClr val="D48236"/>
              </a:solidFill>
              <a:ln w="15875" cap="sq">
                <a:solidFill>
                  <a:schemeClr val="tx1"/>
                </a:solid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entury Gothic" panose="020F0302020204030204"/>
                  <a:ea typeface="+mn-ea"/>
                  <a:cs typeface="+mn-cs"/>
                </a:endParaRPr>
              </a:p>
            </p:txBody>
          </p:sp>
        </p:grpSp>
      </p:grpSp>
      <p:sp>
        <p:nvSpPr>
          <p:cNvPr id="118" name="TextBox 117">
            <a:extLst>
              <a:ext uri="{FF2B5EF4-FFF2-40B4-BE49-F238E27FC236}">
                <a16:creationId xmlns:a16="http://schemas.microsoft.com/office/drawing/2014/main" id="{355D719A-1AAE-0D4A-9DAA-1BC9E30733AD}"/>
              </a:ext>
            </a:extLst>
          </p:cNvPr>
          <p:cNvSpPr txBox="1"/>
          <p:nvPr/>
        </p:nvSpPr>
        <p:spPr>
          <a:xfrm>
            <a:off x="6884381" y="6155926"/>
            <a:ext cx="278771" cy="230832"/>
          </a:xfrm>
          <a:prstGeom prst="rect">
            <a:avLst/>
          </a:prstGeom>
          <a:noFill/>
        </p:spPr>
        <p:txBody>
          <a:bodyPr wrap="square"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Century Gothic" panose="020F0302020204030204"/>
                <a:ea typeface="ＭＳ Ｐゴシック" pitchFamily="-106" charset="-128"/>
                <a:cs typeface="+mn-cs"/>
              </a:rPr>
              <a:t>0</a:t>
            </a:r>
          </a:p>
        </p:txBody>
      </p:sp>
      <p:sp>
        <p:nvSpPr>
          <p:cNvPr id="119" name="TextBox 118">
            <a:extLst>
              <a:ext uri="{FF2B5EF4-FFF2-40B4-BE49-F238E27FC236}">
                <a16:creationId xmlns:a16="http://schemas.microsoft.com/office/drawing/2014/main" id="{06A46D86-7D5B-264D-866B-C130DFC4EEC4}"/>
              </a:ext>
            </a:extLst>
          </p:cNvPr>
          <p:cNvSpPr txBox="1"/>
          <p:nvPr/>
        </p:nvSpPr>
        <p:spPr>
          <a:xfrm>
            <a:off x="7540697" y="6176135"/>
            <a:ext cx="337880" cy="230832"/>
          </a:xfrm>
          <a:prstGeom prst="rect">
            <a:avLst/>
          </a:prstGeom>
          <a:noFill/>
        </p:spPr>
        <p:txBody>
          <a:bodyPr wrap="square"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Century Gothic" panose="020F0302020204030204"/>
                <a:ea typeface="ＭＳ Ｐゴシック" pitchFamily="-106" charset="-128"/>
                <a:cs typeface="+mn-cs"/>
              </a:rPr>
              <a:t>25</a:t>
            </a:r>
          </a:p>
        </p:txBody>
      </p:sp>
      <p:sp>
        <p:nvSpPr>
          <p:cNvPr id="120" name="TextBox 119">
            <a:extLst>
              <a:ext uri="{FF2B5EF4-FFF2-40B4-BE49-F238E27FC236}">
                <a16:creationId xmlns:a16="http://schemas.microsoft.com/office/drawing/2014/main" id="{6832A4C6-A578-4B4B-89C1-C2CC60B45F5E}"/>
              </a:ext>
            </a:extLst>
          </p:cNvPr>
          <p:cNvSpPr txBox="1"/>
          <p:nvPr/>
        </p:nvSpPr>
        <p:spPr>
          <a:xfrm>
            <a:off x="8430312" y="6174514"/>
            <a:ext cx="337880" cy="230832"/>
          </a:xfrm>
          <a:prstGeom prst="rect">
            <a:avLst/>
          </a:prstGeom>
          <a:noFill/>
        </p:spPr>
        <p:txBody>
          <a:bodyPr wrap="square"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Century Gothic" panose="020F0302020204030204"/>
                <a:ea typeface="ＭＳ Ｐゴシック" pitchFamily="-106" charset="-128"/>
                <a:cs typeface="+mn-cs"/>
              </a:rPr>
              <a:t>50</a:t>
            </a:r>
          </a:p>
        </p:txBody>
      </p:sp>
      <p:sp>
        <p:nvSpPr>
          <p:cNvPr id="121" name="TextBox 120">
            <a:extLst>
              <a:ext uri="{FF2B5EF4-FFF2-40B4-BE49-F238E27FC236}">
                <a16:creationId xmlns:a16="http://schemas.microsoft.com/office/drawing/2014/main" id="{F6503CBD-4D67-9C4F-8E9C-E9F19CEB9671}"/>
              </a:ext>
            </a:extLst>
          </p:cNvPr>
          <p:cNvSpPr txBox="1"/>
          <p:nvPr/>
        </p:nvSpPr>
        <p:spPr>
          <a:xfrm>
            <a:off x="9198187" y="6148539"/>
            <a:ext cx="337880" cy="230832"/>
          </a:xfrm>
          <a:prstGeom prst="rect">
            <a:avLst/>
          </a:prstGeom>
          <a:noFill/>
        </p:spPr>
        <p:txBody>
          <a:bodyPr wrap="square"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Century Gothic" panose="020F0302020204030204"/>
                <a:ea typeface="ＭＳ Ｐゴシック" pitchFamily="-106" charset="-128"/>
                <a:cs typeface="+mn-cs"/>
              </a:rPr>
              <a:t>75</a:t>
            </a:r>
          </a:p>
        </p:txBody>
      </p:sp>
      <p:sp>
        <p:nvSpPr>
          <p:cNvPr id="122" name="TextBox 121">
            <a:extLst>
              <a:ext uri="{FF2B5EF4-FFF2-40B4-BE49-F238E27FC236}">
                <a16:creationId xmlns:a16="http://schemas.microsoft.com/office/drawing/2014/main" id="{78ED555A-5042-B74D-8E9B-1A73FDB086B4}"/>
              </a:ext>
            </a:extLst>
          </p:cNvPr>
          <p:cNvSpPr txBox="1"/>
          <p:nvPr/>
        </p:nvSpPr>
        <p:spPr>
          <a:xfrm>
            <a:off x="9913612" y="6153542"/>
            <a:ext cx="396990" cy="230832"/>
          </a:xfrm>
          <a:prstGeom prst="rect">
            <a:avLst/>
          </a:prstGeom>
          <a:noFill/>
        </p:spPr>
        <p:txBody>
          <a:bodyPr wrap="square"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Century Gothic" panose="020F0302020204030204"/>
                <a:ea typeface="ＭＳ Ｐゴシック" pitchFamily="-106" charset="-128"/>
                <a:cs typeface="+mn-cs"/>
              </a:rPr>
              <a:t>100</a:t>
            </a:r>
          </a:p>
        </p:txBody>
      </p:sp>
      <p:sp>
        <p:nvSpPr>
          <p:cNvPr id="2" name="Rectangle 1">
            <a:extLst>
              <a:ext uri="{FF2B5EF4-FFF2-40B4-BE49-F238E27FC236}">
                <a16:creationId xmlns:a16="http://schemas.microsoft.com/office/drawing/2014/main" id="{93264F4C-6F98-1A4D-80B7-82C310C2BC8C}"/>
              </a:ext>
            </a:extLst>
          </p:cNvPr>
          <p:cNvSpPr/>
          <p:nvPr/>
        </p:nvSpPr>
        <p:spPr>
          <a:xfrm>
            <a:off x="7029398" y="1105550"/>
            <a:ext cx="3193698" cy="553841"/>
          </a:xfrm>
          <a:prstGeom prst="rect">
            <a:avLst/>
          </a:prstGeom>
          <a:solidFill>
            <a:srgbClr val="0081C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Century Gothic" panose="020F0302020204030204"/>
              <a:ea typeface="+mn-ea"/>
              <a:cs typeface="+mn-cs"/>
            </a:endParaRPr>
          </a:p>
        </p:txBody>
      </p:sp>
      <p:sp>
        <p:nvSpPr>
          <p:cNvPr id="123" name="TextBox 122">
            <a:extLst>
              <a:ext uri="{FF2B5EF4-FFF2-40B4-BE49-F238E27FC236}">
                <a16:creationId xmlns:a16="http://schemas.microsoft.com/office/drawing/2014/main" id="{DAB0039C-4D46-7F4E-A3F3-E8DFC91FE841}"/>
              </a:ext>
            </a:extLst>
          </p:cNvPr>
          <p:cNvSpPr txBox="1"/>
          <p:nvPr/>
        </p:nvSpPr>
        <p:spPr>
          <a:xfrm>
            <a:off x="7207177" y="1194667"/>
            <a:ext cx="2809059" cy="400110"/>
          </a:xfrm>
          <a:prstGeom prst="rect">
            <a:avLst/>
          </a:prstGeom>
          <a:noFill/>
        </p:spPr>
        <p:txBody>
          <a:bodyPr wrap="square"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dirty="0">
                <a:ln>
                  <a:noFill/>
                </a:ln>
                <a:solidFill>
                  <a:srgbClr val="FFFFFF"/>
                </a:solidFill>
                <a:effectLst/>
                <a:uLnTx/>
                <a:uFillTx/>
                <a:latin typeface="Century Gothic" panose="020F0302020204030204"/>
                <a:ea typeface="ＭＳ Ｐゴシック" pitchFamily="-106" charset="-128"/>
                <a:cs typeface="+mn-cs"/>
              </a:rPr>
              <a:t>Proportion With AHI Reduced ≥ 50%</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dirty="0">
                <a:ln>
                  <a:noFill/>
                </a:ln>
                <a:solidFill>
                  <a:srgbClr val="FFFFFF"/>
                </a:solidFill>
                <a:effectLst/>
                <a:uLnTx/>
                <a:uFillTx/>
                <a:latin typeface="Century Gothic" panose="020F0302020204030204"/>
                <a:ea typeface="ＭＳ Ｐゴシック" pitchFamily="-106" charset="-128"/>
                <a:cs typeface="+mn-cs"/>
              </a:rPr>
              <a:t>(95% CI)</a:t>
            </a:r>
          </a:p>
        </p:txBody>
      </p:sp>
      <p:sp>
        <p:nvSpPr>
          <p:cNvPr id="124" name="Rectangle 123">
            <a:extLst>
              <a:ext uri="{FF2B5EF4-FFF2-40B4-BE49-F238E27FC236}">
                <a16:creationId xmlns:a16="http://schemas.microsoft.com/office/drawing/2014/main" id="{6FB4CE57-F708-FF4E-B3BF-4F176D56FE9E}"/>
              </a:ext>
            </a:extLst>
          </p:cNvPr>
          <p:cNvSpPr/>
          <p:nvPr/>
        </p:nvSpPr>
        <p:spPr>
          <a:xfrm>
            <a:off x="191620" y="6148539"/>
            <a:ext cx="4335188" cy="230832"/>
          </a:xfrm>
          <a:prstGeom prst="rect">
            <a:avLst/>
          </a:prstGeom>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Century Gothic" panose="020B0502020202020204" pitchFamily="34" charset="0"/>
                <a:ea typeface="ＭＳ Ｐゴシック" pitchFamily="-106" charset="-128"/>
                <a:cs typeface="+mn-cs"/>
              </a:rPr>
              <a:t>1 Fox H, et al, SLEEP, zsz158, https://doi.org/10.1093/sleep/zsz158</a:t>
            </a:r>
          </a:p>
        </p:txBody>
      </p:sp>
      <p:sp>
        <p:nvSpPr>
          <p:cNvPr id="18" name="Slide Number Placeholder 17">
            <a:extLst>
              <a:ext uri="{FF2B5EF4-FFF2-40B4-BE49-F238E27FC236}">
                <a16:creationId xmlns:a16="http://schemas.microsoft.com/office/drawing/2014/main" id="{3402A662-D3ED-02D5-3AC2-8603F2E5D066}"/>
              </a:ext>
            </a:extLst>
          </p:cNvPr>
          <p:cNvSpPr>
            <a:spLocks noGrp="1"/>
          </p:cNvSpPr>
          <p:nvPr>
            <p:ph type="sldNum" sz="quarter" idx="12"/>
          </p:nvPr>
        </p:nvSpPr>
        <p:spPr/>
        <p:txBody>
          <a:bodyPr/>
          <a:lstStyle/>
          <a:p>
            <a:fld id="{21D51F98-DEF0-4E23-AE94-24E7CFC19B28}" type="slidenum">
              <a:rPr lang="en-US" smtClean="0"/>
              <a:t>53</a:t>
            </a:fld>
            <a:endParaRPr lang="en-US"/>
          </a:p>
        </p:txBody>
      </p:sp>
      <p:sp>
        <p:nvSpPr>
          <p:cNvPr id="127" name="Footer Placeholder 5">
            <a:extLst>
              <a:ext uri="{FF2B5EF4-FFF2-40B4-BE49-F238E27FC236}">
                <a16:creationId xmlns:a16="http://schemas.microsoft.com/office/drawing/2014/main" id="{53620349-A4F1-9E25-1898-7AC05AF5AD0A}"/>
              </a:ext>
            </a:extLst>
          </p:cNvPr>
          <p:cNvSpPr>
            <a:spLocks noGrp="1"/>
          </p:cNvSpPr>
          <p:nvPr>
            <p:ph type="ftr" sz="quarter" idx="11"/>
          </p:nvPr>
        </p:nvSpPr>
        <p:spPr>
          <a:xfrm>
            <a:off x="3684598" y="6459785"/>
            <a:ext cx="4822804" cy="365125"/>
          </a:xfrm>
        </p:spPr>
        <p:txBody>
          <a:bodyPr/>
          <a:lstStyle/>
          <a:p>
            <a:r>
              <a:rPr lang="en-US" dirty="0"/>
              <a:t>MAF1937 Rev E</a:t>
            </a:r>
          </a:p>
        </p:txBody>
      </p:sp>
    </p:spTree>
    <p:extLst>
      <p:ext uri="{BB962C8B-B14F-4D97-AF65-F5344CB8AC3E}">
        <p14:creationId xmlns:p14="http://schemas.microsoft.com/office/powerpoint/2010/main" val="3325942428"/>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8"/>
          <p:cNvGraphicFramePr>
            <a:graphicFrameLocks noGrp="1"/>
          </p:cNvGraphicFramePr>
          <p:nvPr>
            <p:extLst>
              <p:ext uri="{D42A27DB-BD31-4B8C-83A1-F6EECF244321}">
                <p14:modId xmlns:p14="http://schemas.microsoft.com/office/powerpoint/2010/main" val="1595413279"/>
              </p:ext>
            </p:extLst>
          </p:nvPr>
        </p:nvGraphicFramePr>
        <p:xfrm>
          <a:off x="1771651" y="1480314"/>
          <a:ext cx="8432147" cy="4435728"/>
        </p:xfrm>
        <a:graphic>
          <a:graphicData uri="http://schemas.openxmlformats.org/drawingml/2006/table">
            <a:tbl>
              <a:tblPr firstRow="1" bandRow="1">
                <a:tableStyleId>{0E3FDE45-AF77-4B5C-9715-49D594BDF05E}</a:tableStyleId>
              </a:tblPr>
              <a:tblGrid>
                <a:gridCol w="5229815">
                  <a:extLst>
                    <a:ext uri="{9D8B030D-6E8A-4147-A177-3AD203B41FA5}">
                      <a16:colId xmlns:a16="http://schemas.microsoft.com/office/drawing/2014/main" val="3849470744"/>
                    </a:ext>
                  </a:extLst>
                </a:gridCol>
                <a:gridCol w="1615404">
                  <a:extLst>
                    <a:ext uri="{9D8B030D-6E8A-4147-A177-3AD203B41FA5}">
                      <a16:colId xmlns:a16="http://schemas.microsoft.com/office/drawing/2014/main" val="3210730695"/>
                    </a:ext>
                  </a:extLst>
                </a:gridCol>
                <a:gridCol w="1586928">
                  <a:extLst>
                    <a:ext uri="{9D8B030D-6E8A-4147-A177-3AD203B41FA5}">
                      <a16:colId xmlns:a16="http://schemas.microsoft.com/office/drawing/2014/main" val="3942545096"/>
                    </a:ext>
                  </a:extLst>
                </a:gridCol>
              </a:tblGrid>
              <a:tr h="341704">
                <a:tc>
                  <a:txBody>
                    <a:bodyPr/>
                    <a:lstStyle/>
                    <a:p>
                      <a:endParaRPr lang="en-US" sz="1600" dirty="0"/>
                    </a:p>
                  </a:txBody>
                  <a:tcPr/>
                </a:tc>
                <a:tc>
                  <a:txBody>
                    <a:bodyPr/>
                    <a:lstStyle/>
                    <a:p>
                      <a:endParaRPr lang="en-US" sz="1600"/>
                    </a:p>
                  </a:txBody>
                  <a:tcPr/>
                </a:tc>
                <a:tc>
                  <a:txBody>
                    <a:bodyPr/>
                    <a:lstStyle/>
                    <a:p>
                      <a:endParaRPr lang="en-US" sz="1600"/>
                    </a:p>
                  </a:txBody>
                  <a:tcPr/>
                </a:tc>
                <a:extLst>
                  <a:ext uri="{0D108BD9-81ED-4DB2-BD59-A6C34878D82A}">
                    <a16:rowId xmlns:a16="http://schemas.microsoft.com/office/drawing/2014/main" val="1444709051"/>
                  </a:ext>
                </a:extLst>
              </a:tr>
              <a:tr h="341704">
                <a:tc>
                  <a:txBody>
                    <a:bodyPr/>
                    <a:lstStyle/>
                    <a:p>
                      <a:endParaRPr lang="en-US" sz="1600"/>
                    </a:p>
                  </a:txBody>
                  <a:tcPr/>
                </a:tc>
                <a:tc>
                  <a:txBody>
                    <a:bodyPr/>
                    <a:lstStyle/>
                    <a:p>
                      <a:endParaRPr lang="en-US" sz="1600" dirty="0"/>
                    </a:p>
                  </a:txBody>
                  <a:tcPr/>
                </a:tc>
                <a:tc>
                  <a:txBody>
                    <a:bodyPr/>
                    <a:lstStyle/>
                    <a:p>
                      <a:endParaRPr lang="en-US" sz="1600"/>
                    </a:p>
                  </a:txBody>
                  <a:tcPr/>
                </a:tc>
                <a:extLst>
                  <a:ext uri="{0D108BD9-81ED-4DB2-BD59-A6C34878D82A}">
                    <a16:rowId xmlns:a16="http://schemas.microsoft.com/office/drawing/2014/main" val="3012283071"/>
                  </a:ext>
                </a:extLst>
              </a:tr>
              <a:tr h="294374">
                <a:tc>
                  <a:txBody>
                    <a:bodyPr/>
                    <a:lstStyle/>
                    <a:p>
                      <a:r>
                        <a:rPr lang="en-US" sz="1600" b="1" dirty="0"/>
                        <a:t>Any serious</a:t>
                      </a:r>
                      <a:r>
                        <a:rPr lang="en-US" sz="1600" b="1" baseline="0" dirty="0"/>
                        <a:t> related AE</a:t>
                      </a:r>
                      <a:endParaRPr lang="en-US" sz="1600" b="1" dirty="0"/>
                    </a:p>
                  </a:txBody>
                  <a:tcPr>
                    <a:lnB w="12700" cap="flat" cmpd="sng" algn="ctr">
                      <a:solidFill>
                        <a:schemeClr val="tx1"/>
                      </a:solidFill>
                      <a:prstDash val="solid"/>
                      <a:round/>
                      <a:headEnd type="none" w="med" len="med"/>
                      <a:tailEnd type="none" w="med" len="med"/>
                    </a:lnB>
                  </a:tcPr>
                </a:tc>
                <a:tc>
                  <a:txBody>
                    <a:bodyPr/>
                    <a:lstStyle/>
                    <a:p>
                      <a:pPr algn="ctr"/>
                      <a:r>
                        <a:rPr lang="en-US" sz="1600" b="1" dirty="0"/>
                        <a:t>13</a:t>
                      </a:r>
                    </a:p>
                  </a:txBody>
                  <a:tcPr>
                    <a:lnB w="12700" cap="flat" cmpd="sng" algn="ctr">
                      <a:solidFill>
                        <a:schemeClr val="tx1"/>
                      </a:solidFill>
                      <a:prstDash val="solid"/>
                      <a:round/>
                      <a:headEnd type="none" w="med" len="med"/>
                      <a:tailEnd type="none" w="med" len="med"/>
                    </a:lnB>
                  </a:tcPr>
                </a:tc>
                <a:tc>
                  <a:txBody>
                    <a:bodyPr/>
                    <a:lstStyle/>
                    <a:p>
                      <a:pPr algn="ctr"/>
                      <a:r>
                        <a:rPr lang="en-US" sz="1600" b="1" dirty="0"/>
                        <a:t>9%</a:t>
                      </a:r>
                    </a:p>
                  </a:txBody>
                  <a:tcP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530428955"/>
                  </a:ext>
                </a:extLst>
              </a:tr>
              <a:tr h="341704">
                <a:tc>
                  <a:txBody>
                    <a:bodyPr/>
                    <a:lstStyle/>
                    <a:p>
                      <a:pPr marL="285750" indent="0"/>
                      <a:r>
                        <a:rPr lang="en-US" sz="1600" dirty="0"/>
                        <a:t>Lead Dislodgment</a:t>
                      </a:r>
                      <a:r>
                        <a:rPr lang="en-US" sz="1600" baseline="30000" dirty="0"/>
                        <a:t>1</a:t>
                      </a:r>
                    </a:p>
                  </a:txBody>
                  <a:tcPr>
                    <a:lnT w="12700" cap="flat" cmpd="sng" algn="ctr">
                      <a:solidFill>
                        <a:schemeClr val="tx1"/>
                      </a:solidFill>
                      <a:prstDash val="solid"/>
                      <a:round/>
                      <a:headEnd type="none" w="med" len="med"/>
                      <a:tailEnd type="none" w="med" len="med"/>
                    </a:lnT>
                  </a:tcPr>
                </a:tc>
                <a:tc>
                  <a:txBody>
                    <a:bodyPr/>
                    <a:lstStyle/>
                    <a:p>
                      <a:pPr algn="ctr"/>
                      <a:r>
                        <a:rPr lang="en-US" sz="1600" dirty="0"/>
                        <a:t>2</a:t>
                      </a:r>
                    </a:p>
                  </a:txBody>
                  <a:tcPr>
                    <a:lnT w="12700" cap="flat" cmpd="sng" algn="ctr">
                      <a:solidFill>
                        <a:schemeClr val="tx1"/>
                      </a:solidFill>
                      <a:prstDash val="solid"/>
                      <a:round/>
                      <a:headEnd type="none" w="med" len="med"/>
                      <a:tailEnd type="none" w="med" len="med"/>
                    </a:lnT>
                  </a:tcPr>
                </a:tc>
                <a:tc>
                  <a:txBody>
                    <a:bodyPr/>
                    <a:lstStyle/>
                    <a:p>
                      <a:pPr algn="ctr"/>
                      <a:r>
                        <a:rPr lang="en-US" sz="1600" dirty="0"/>
                        <a:t>1%</a:t>
                      </a:r>
                    </a:p>
                  </a:txBody>
                  <a:tcP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867559463"/>
                  </a:ext>
                </a:extLst>
              </a:tr>
              <a:tr h="341704">
                <a:tc>
                  <a:txBody>
                    <a:bodyPr/>
                    <a:lstStyle/>
                    <a:p>
                      <a:pPr marL="288925" indent="0"/>
                      <a:r>
                        <a:rPr lang="en-US" sz="1600" dirty="0"/>
                        <a:t>Impending Pocket Erosion</a:t>
                      </a:r>
                    </a:p>
                  </a:txBody>
                  <a:tcPr/>
                </a:tc>
                <a:tc>
                  <a:txBody>
                    <a:bodyPr/>
                    <a:lstStyle/>
                    <a:p>
                      <a:pPr algn="ctr"/>
                      <a:r>
                        <a:rPr lang="en-US" sz="1600" dirty="0"/>
                        <a:t>2</a:t>
                      </a:r>
                    </a:p>
                  </a:txBody>
                  <a:tcPr/>
                </a:tc>
                <a:tc>
                  <a:txBody>
                    <a:bodyPr/>
                    <a:lstStyle/>
                    <a:p>
                      <a:pPr algn="ctr"/>
                      <a:r>
                        <a:rPr lang="en-US" sz="1600" dirty="0"/>
                        <a:t>1%</a:t>
                      </a:r>
                    </a:p>
                  </a:txBody>
                  <a:tcPr/>
                </a:tc>
                <a:extLst>
                  <a:ext uri="{0D108BD9-81ED-4DB2-BD59-A6C34878D82A}">
                    <a16:rowId xmlns:a16="http://schemas.microsoft.com/office/drawing/2014/main" val="2648754129"/>
                  </a:ext>
                </a:extLst>
              </a:tr>
              <a:tr h="341704">
                <a:tc>
                  <a:txBody>
                    <a:bodyPr/>
                    <a:lstStyle/>
                    <a:p>
                      <a:pPr marL="288925" indent="0"/>
                      <a:r>
                        <a:rPr lang="en-US" sz="1600" dirty="0"/>
                        <a:t>Implant Site Infection</a:t>
                      </a:r>
                    </a:p>
                  </a:txBody>
                  <a:tcPr/>
                </a:tc>
                <a:tc>
                  <a:txBody>
                    <a:bodyPr/>
                    <a:lstStyle/>
                    <a:p>
                      <a:pPr algn="ctr"/>
                      <a:r>
                        <a:rPr lang="en-US" sz="1600" dirty="0"/>
                        <a:t>2</a:t>
                      </a:r>
                    </a:p>
                  </a:txBody>
                  <a:tcPr/>
                </a:tc>
                <a:tc>
                  <a:txBody>
                    <a:bodyPr/>
                    <a:lstStyle/>
                    <a:p>
                      <a:pPr algn="ctr"/>
                      <a:r>
                        <a:rPr lang="en-US" sz="1600" dirty="0"/>
                        <a:t>1%</a:t>
                      </a:r>
                    </a:p>
                  </a:txBody>
                  <a:tcPr/>
                </a:tc>
                <a:extLst>
                  <a:ext uri="{0D108BD9-81ED-4DB2-BD59-A6C34878D82A}">
                    <a16:rowId xmlns:a16="http://schemas.microsoft.com/office/drawing/2014/main" val="3927153674"/>
                  </a:ext>
                </a:extLst>
              </a:tr>
              <a:tr h="341704">
                <a:tc>
                  <a:txBody>
                    <a:bodyPr/>
                    <a:lstStyle/>
                    <a:p>
                      <a:pPr marL="288925" indent="0"/>
                      <a:r>
                        <a:rPr lang="en-US" sz="1600" dirty="0"/>
                        <a:t>Concomitant Device Interaction</a:t>
                      </a:r>
                    </a:p>
                  </a:txBody>
                  <a:tcPr/>
                </a:tc>
                <a:tc>
                  <a:txBody>
                    <a:bodyPr/>
                    <a:lstStyle/>
                    <a:p>
                      <a:pPr algn="ctr"/>
                      <a:r>
                        <a:rPr lang="en-US" sz="1600" dirty="0"/>
                        <a:t>1</a:t>
                      </a:r>
                    </a:p>
                  </a:txBody>
                  <a:tcPr/>
                </a:tc>
                <a:tc>
                  <a:txBody>
                    <a:bodyPr/>
                    <a:lstStyle/>
                    <a:p>
                      <a:pPr algn="ctr"/>
                      <a:r>
                        <a:rPr lang="en-US" sz="1600" dirty="0"/>
                        <a:t>1%</a:t>
                      </a:r>
                    </a:p>
                  </a:txBody>
                  <a:tcPr/>
                </a:tc>
                <a:extLst>
                  <a:ext uri="{0D108BD9-81ED-4DB2-BD59-A6C34878D82A}">
                    <a16:rowId xmlns:a16="http://schemas.microsoft.com/office/drawing/2014/main" val="3832159968"/>
                  </a:ext>
                </a:extLst>
              </a:tr>
              <a:tr h="341704">
                <a:tc>
                  <a:txBody>
                    <a:bodyPr/>
                    <a:lstStyle/>
                    <a:p>
                      <a:pPr marL="288925" indent="0"/>
                      <a:r>
                        <a:rPr lang="en-US" sz="1600" dirty="0"/>
                        <a:t>Extra Respiratory Stimulation</a:t>
                      </a:r>
                      <a:r>
                        <a:rPr lang="en-US" sz="1600" baseline="30000" dirty="0"/>
                        <a:t>2</a:t>
                      </a:r>
                    </a:p>
                  </a:txBody>
                  <a:tcPr/>
                </a:tc>
                <a:tc>
                  <a:txBody>
                    <a:bodyPr/>
                    <a:lstStyle/>
                    <a:p>
                      <a:pPr algn="ctr"/>
                      <a:r>
                        <a:rPr lang="en-US" sz="1600" dirty="0"/>
                        <a:t>1</a:t>
                      </a:r>
                    </a:p>
                  </a:txBody>
                  <a:tcPr/>
                </a:tc>
                <a:tc>
                  <a:txBody>
                    <a:bodyPr/>
                    <a:lstStyle/>
                    <a:p>
                      <a:pPr algn="ctr"/>
                      <a:r>
                        <a:rPr lang="en-US" sz="1600" dirty="0"/>
                        <a:t>1%</a:t>
                      </a:r>
                    </a:p>
                  </a:txBody>
                  <a:tcPr/>
                </a:tc>
                <a:extLst>
                  <a:ext uri="{0D108BD9-81ED-4DB2-BD59-A6C34878D82A}">
                    <a16:rowId xmlns:a16="http://schemas.microsoft.com/office/drawing/2014/main" val="1181447897"/>
                  </a:ext>
                </a:extLst>
              </a:tr>
              <a:tr h="341704">
                <a:tc>
                  <a:txBody>
                    <a:bodyPr/>
                    <a:lstStyle/>
                    <a:p>
                      <a:pPr marL="288925" indent="0"/>
                      <a:r>
                        <a:rPr lang="en-US" sz="1600" dirty="0"/>
                        <a:t>Lead Component Failure</a:t>
                      </a:r>
                    </a:p>
                  </a:txBody>
                  <a:tcPr/>
                </a:tc>
                <a:tc>
                  <a:txBody>
                    <a:bodyPr/>
                    <a:lstStyle/>
                    <a:p>
                      <a:pPr algn="ctr"/>
                      <a:r>
                        <a:rPr lang="en-US" sz="1600" dirty="0"/>
                        <a:t>1</a:t>
                      </a:r>
                    </a:p>
                  </a:txBody>
                  <a:tcPr/>
                </a:tc>
                <a:tc>
                  <a:txBody>
                    <a:bodyPr/>
                    <a:lstStyle/>
                    <a:p>
                      <a:pPr algn="ctr"/>
                      <a:r>
                        <a:rPr lang="en-US" sz="1600" dirty="0"/>
                        <a:t>1%</a:t>
                      </a:r>
                    </a:p>
                  </a:txBody>
                  <a:tcPr/>
                </a:tc>
                <a:extLst>
                  <a:ext uri="{0D108BD9-81ED-4DB2-BD59-A6C34878D82A}">
                    <a16:rowId xmlns:a16="http://schemas.microsoft.com/office/drawing/2014/main" val="2866125747"/>
                  </a:ext>
                </a:extLst>
              </a:tr>
              <a:tr h="341704">
                <a:tc>
                  <a:txBody>
                    <a:bodyPr/>
                    <a:lstStyle/>
                    <a:p>
                      <a:pPr marL="288925" indent="0"/>
                      <a:r>
                        <a:rPr lang="en-US" sz="1600" dirty="0"/>
                        <a:t>Lead Displacement</a:t>
                      </a:r>
                      <a:r>
                        <a:rPr lang="en-US" sz="1600" baseline="30000" dirty="0"/>
                        <a:t>3</a:t>
                      </a:r>
                    </a:p>
                  </a:txBody>
                  <a:tcPr/>
                </a:tc>
                <a:tc>
                  <a:txBody>
                    <a:bodyPr/>
                    <a:lstStyle/>
                    <a:p>
                      <a:pPr algn="ctr"/>
                      <a:r>
                        <a:rPr lang="en-US" sz="1600" dirty="0"/>
                        <a:t>1</a:t>
                      </a:r>
                    </a:p>
                  </a:txBody>
                  <a:tcPr/>
                </a:tc>
                <a:tc>
                  <a:txBody>
                    <a:bodyPr/>
                    <a:lstStyle/>
                    <a:p>
                      <a:pPr algn="ctr"/>
                      <a:r>
                        <a:rPr lang="en-US" sz="1600" dirty="0"/>
                        <a:t>1%</a:t>
                      </a:r>
                    </a:p>
                  </a:txBody>
                  <a:tcPr/>
                </a:tc>
                <a:extLst>
                  <a:ext uri="{0D108BD9-81ED-4DB2-BD59-A6C34878D82A}">
                    <a16:rowId xmlns:a16="http://schemas.microsoft.com/office/drawing/2014/main" val="3212567647"/>
                  </a:ext>
                </a:extLst>
              </a:tr>
              <a:tr h="341704">
                <a:tc>
                  <a:txBody>
                    <a:bodyPr/>
                    <a:lstStyle/>
                    <a:p>
                      <a:pPr marL="288925" indent="0"/>
                      <a:r>
                        <a:rPr lang="en-US" sz="1600" dirty="0"/>
                        <a:t>Implant Site Hematoma</a:t>
                      </a:r>
                    </a:p>
                  </a:txBody>
                  <a:tcPr/>
                </a:tc>
                <a:tc>
                  <a:txBody>
                    <a:bodyPr/>
                    <a:lstStyle/>
                    <a:p>
                      <a:pPr algn="ctr"/>
                      <a:r>
                        <a:rPr lang="en-US" sz="1600" dirty="0"/>
                        <a:t>1</a:t>
                      </a:r>
                    </a:p>
                  </a:txBody>
                  <a:tcPr/>
                </a:tc>
                <a:tc>
                  <a:txBody>
                    <a:bodyPr/>
                    <a:lstStyle/>
                    <a:p>
                      <a:pPr algn="ctr"/>
                      <a:r>
                        <a:rPr lang="en-US" sz="1600" dirty="0"/>
                        <a:t>1%</a:t>
                      </a:r>
                    </a:p>
                  </a:txBody>
                  <a:tcPr/>
                </a:tc>
                <a:extLst>
                  <a:ext uri="{0D108BD9-81ED-4DB2-BD59-A6C34878D82A}">
                    <a16:rowId xmlns:a16="http://schemas.microsoft.com/office/drawing/2014/main" val="95703872"/>
                  </a:ext>
                </a:extLst>
              </a:tr>
              <a:tr h="341704">
                <a:tc>
                  <a:txBody>
                    <a:bodyPr/>
                    <a:lstStyle/>
                    <a:p>
                      <a:pPr marL="288925" indent="0"/>
                      <a:r>
                        <a:rPr lang="en-US" sz="1600" dirty="0"/>
                        <a:t>Non-Cardiac</a:t>
                      </a:r>
                      <a:r>
                        <a:rPr lang="en-US" sz="1600" baseline="0" dirty="0"/>
                        <a:t> Chest Pain</a:t>
                      </a:r>
                      <a:endParaRPr lang="en-US" sz="1600" dirty="0"/>
                    </a:p>
                  </a:txBody>
                  <a:tcPr/>
                </a:tc>
                <a:tc>
                  <a:txBody>
                    <a:bodyPr/>
                    <a:lstStyle/>
                    <a:p>
                      <a:pPr algn="ctr"/>
                      <a:r>
                        <a:rPr lang="en-US" sz="1600" dirty="0"/>
                        <a:t>1</a:t>
                      </a:r>
                    </a:p>
                  </a:txBody>
                  <a:tcPr/>
                </a:tc>
                <a:tc>
                  <a:txBody>
                    <a:bodyPr/>
                    <a:lstStyle/>
                    <a:p>
                      <a:pPr algn="ctr"/>
                      <a:r>
                        <a:rPr lang="en-US" sz="1600" dirty="0"/>
                        <a:t>1%</a:t>
                      </a:r>
                    </a:p>
                  </a:txBody>
                  <a:tcPr/>
                </a:tc>
                <a:extLst>
                  <a:ext uri="{0D108BD9-81ED-4DB2-BD59-A6C34878D82A}">
                    <a16:rowId xmlns:a16="http://schemas.microsoft.com/office/drawing/2014/main" val="2418878209"/>
                  </a:ext>
                </a:extLst>
              </a:tr>
              <a:tr h="341704">
                <a:tc>
                  <a:txBody>
                    <a:bodyPr/>
                    <a:lstStyle/>
                    <a:p>
                      <a:pPr marL="288925" indent="0"/>
                      <a:r>
                        <a:rPr lang="en-US" sz="1600" dirty="0"/>
                        <a:t>Elevated</a:t>
                      </a:r>
                      <a:r>
                        <a:rPr lang="en-US" sz="1600" baseline="0" dirty="0"/>
                        <a:t> Transaminase</a:t>
                      </a:r>
                      <a:endParaRPr lang="en-US" sz="1600" dirty="0"/>
                    </a:p>
                  </a:txBody>
                  <a:tcPr/>
                </a:tc>
                <a:tc>
                  <a:txBody>
                    <a:bodyPr/>
                    <a:lstStyle/>
                    <a:p>
                      <a:pPr algn="ctr"/>
                      <a:r>
                        <a:rPr lang="en-US" sz="1600" dirty="0"/>
                        <a:t>1</a:t>
                      </a:r>
                    </a:p>
                  </a:txBody>
                  <a:tcPr/>
                </a:tc>
                <a:tc>
                  <a:txBody>
                    <a:bodyPr/>
                    <a:lstStyle/>
                    <a:p>
                      <a:pPr algn="ctr"/>
                      <a:r>
                        <a:rPr lang="en-US" sz="1600" dirty="0"/>
                        <a:t>1%</a:t>
                      </a:r>
                    </a:p>
                  </a:txBody>
                  <a:tcPr/>
                </a:tc>
                <a:extLst>
                  <a:ext uri="{0D108BD9-81ED-4DB2-BD59-A6C34878D82A}">
                    <a16:rowId xmlns:a16="http://schemas.microsoft.com/office/drawing/2014/main" val="955194571"/>
                  </a:ext>
                </a:extLst>
              </a:tr>
            </a:tbl>
          </a:graphicData>
        </a:graphic>
      </p:graphicFrame>
      <p:sp>
        <p:nvSpPr>
          <p:cNvPr id="4" name="Title 3"/>
          <p:cNvSpPr>
            <a:spLocks noGrp="1"/>
          </p:cNvSpPr>
          <p:nvPr>
            <p:ph type="title" idx="4294967295"/>
          </p:nvPr>
        </p:nvSpPr>
        <p:spPr>
          <a:xfrm>
            <a:off x="408373" y="174595"/>
            <a:ext cx="10563225" cy="606425"/>
          </a:xfrm>
        </p:spPr>
        <p:txBody>
          <a:bodyPr>
            <a:normAutofit/>
          </a:bodyPr>
          <a:lstStyle/>
          <a:p>
            <a:r>
              <a:rPr lang="en-US" sz="3200" b="1" dirty="0">
                <a:solidFill>
                  <a:schemeClr val="accent2"/>
                </a:solidFill>
                <a:latin typeface="+mn-lt"/>
              </a:rPr>
              <a:t>rem</a:t>
            </a:r>
            <a:r>
              <a:rPr lang="en-US" sz="3200" dirty="0">
                <a:solidFill>
                  <a:schemeClr val="accent2"/>
                </a:solidFill>
                <a:latin typeface="+mn-lt"/>
              </a:rPr>
              <a:t>edē</a:t>
            </a:r>
            <a:r>
              <a:rPr lang="en-US" sz="3200" b="1" dirty="0">
                <a:solidFill>
                  <a:schemeClr val="accent2"/>
                </a:solidFill>
                <a:latin typeface="+mn-lt"/>
              </a:rPr>
              <a:t> System Pivotal Trial Safety Events</a:t>
            </a:r>
          </a:p>
        </p:txBody>
      </p:sp>
      <p:grpSp>
        <p:nvGrpSpPr>
          <p:cNvPr id="23" name="Group 22"/>
          <p:cNvGrpSpPr/>
          <p:nvPr/>
        </p:nvGrpSpPr>
        <p:grpSpPr>
          <a:xfrm>
            <a:off x="1771650" y="972438"/>
            <a:ext cx="8437177" cy="5104512"/>
            <a:chOff x="3091249" y="1358355"/>
            <a:chExt cx="6862090" cy="4553231"/>
          </a:xfrm>
        </p:grpSpPr>
        <p:grpSp>
          <p:nvGrpSpPr>
            <p:cNvPr id="22" name="Group 21"/>
            <p:cNvGrpSpPr/>
            <p:nvPr/>
          </p:nvGrpSpPr>
          <p:grpSpPr>
            <a:xfrm>
              <a:off x="3091249" y="1358355"/>
              <a:ext cx="6862090" cy="1100679"/>
              <a:chOff x="3091249" y="1358355"/>
              <a:chExt cx="6862090" cy="1100679"/>
            </a:xfrm>
          </p:grpSpPr>
          <p:sp>
            <p:nvSpPr>
              <p:cNvPr id="7" name="Rectangle 6"/>
              <p:cNvSpPr/>
              <p:nvPr/>
            </p:nvSpPr>
            <p:spPr>
              <a:xfrm>
                <a:off x="3095339" y="1473224"/>
                <a:ext cx="4261104" cy="868826"/>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pPr>
                <a:r>
                  <a:rPr lang="en-US" b="1" dirty="0"/>
                  <a:t>Primary Safety Endpoint:</a:t>
                </a:r>
              </a:p>
              <a:p>
                <a:pPr>
                  <a:lnSpc>
                    <a:spcPct val="90000"/>
                  </a:lnSpc>
                </a:pPr>
                <a:r>
                  <a:rPr lang="en-US" sz="1600" b="1" dirty="0"/>
                  <a:t>Serious Adverse Events Related to Implant, Procedure, remedē System, and/or Delivered Therapy through 12 Months</a:t>
                </a:r>
                <a:endParaRPr lang="en-US" sz="1400" b="1" dirty="0"/>
              </a:p>
            </p:txBody>
          </p:sp>
          <p:sp>
            <p:nvSpPr>
              <p:cNvPr id="8" name="Rectangle 7"/>
              <p:cNvSpPr/>
              <p:nvPr/>
            </p:nvSpPr>
            <p:spPr>
              <a:xfrm>
                <a:off x="7361498" y="1473224"/>
                <a:ext cx="2580266" cy="5485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solidFill>
                      <a:schemeClr val="tx2">
                        <a:lumMod val="75000"/>
                      </a:schemeClr>
                    </a:solidFill>
                  </a:rPr>
                  <a:t>Intention to Treat</a:t>
                </a:r>
              </a:p>
              <a:p>
                <a:pPr algn="ctr"/>
                <a:r>
                  <a:rPr lang="en-US" sz="1600" b="1" dirty="0">
                    <a:solidFill>
                      <a:schemeClr val="tx2">
                        <a:lumMod val="75000"/>
                      </a:schemeClr>
                    </a:solidFill>
                  </a:rPr>
                  <a:t>(N=151)</a:t>
                </a:r>
                <a:endParaRPr lang="en-US" sz="1200" b="1" dirty="0">
                  <a:solidFill>
                    <a:schemeClr val="tx2">
                      <a:lumMod val="75000"/>
                    </a:schemeClr>
                  </a:solidFill>
                </a:endParaRPr>
              </a:p>
            </p:txBody>
          </p:sp>
          <p:sp>
            <p:nvSpPr>
              <p:cNvPr id="9" name="TextBox 8"/>
              <p:cNvSpPr txBox="1"/>
              <p:nvPr/>
            </p:nvSpPr>
            <p:spPr>
              <a:xfrm>
                <a:off x="7361498" y="1999051"/>
                <a:ext cx="1298448" cy="338554"/>
              </a:xfrm>
              <a:prstGeom prst="rect">
                <a:avLst/>
              </a:prstGeom>
              <a:solidFill>
                <a:schemeClr val="bg1"/>
              </a:solidFill>
            </p:spPr>
            <p:txBody>
              <a:bodyPr wrap="square" rtlCol="0">
                <a:spAutoFit/>
              </a:bodyPr>
              <a:lstStyle/>
              <a:p>
                <a:pPr algn="ctr"/>
                <a:r>
                  <a:rPr lang="en-US" dirty="0"/>
                  <a:t>n </a:t>
                </a:r>
                <a:r>
                  <a:rPr lang="en-US" sz="1400" dirty="0"/>
                  <a:t>(Events)</a:t>
                </a:r>
              </a:p>
            </p:txBody>
          </p:sp>
          <p:sp>
            <p:nvSpPr>
              <p:cNvPr id="12" name="TextBox 11"/>
              <p:cNvSpPr txBox="1"/>
              <p:nvPr/>
            </p:nvSpPr>
            <p:spPr>
              <a:xfrm>
                <a:off x="8657863" y="1999051"/>
                <a:ext cx="1295476" cy="338554"/>
              </a:xfrm>
              <a:prstGeom prst="rect">
                <a:avLst/>
              </a:prstGeom>
              <a:solidFill>
                <a:schemeClr val="bg1"/>
              </a:solidFill>
            </p:spPr>
            <p:txBody>
              <a:bodyPr wrap="square" rtlCol="0">
                <a:spAutoFit/>
              </a:bodyPr>
              <a:lstStyle/>
              <a:p>
                <a:pPr algn="ctr"/>
                <a:r>
                  <a:rPr lang="en-US" dirty="0"/>
                  <a:t>% </a:t>
                </a:r>
                <a:r>
                  <a:rPr lang="en-US" sz="1400" dirty="0"/>
                  <a:t>(Patients)</a:t>
                </a:r>
              </a:p>
            </p:txBody>
          </p:sp>
          <p:cxnSp>
            <p:nvCxnSpPr>
              <p:cNvPr id="14" name="Straight Connector 13"/>
              <p:cNvCxnSpPr/>
              <p:nvPr/>
            </p:nvCxnSpPr>
            <p:spPr>
              <a:xfrm flipH="1">
                <a:off x="7356443" y="2021748"/>
                <a:ext cx="2596896" cy="727"/>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16" name="Rectangle 15"/>
              <p:cNvSpPr/>
              <p:nvPr/>
            </p:nvSpPr>
            <p:spPr>
              <a:xfrm>
                <a:off x="3095339" y="1358355"/>
                <a:ext cx="6858000" cy="11887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p>
            </p:txBody>
          </p:sp>
          <p:sp>
            <p:nvSpPr>
              <p:cNvPr id="17" name="Rectangle 16"/>
              <p:cNvSpPr/>
              <p:nvPr/>
            </p:nvSpPr>
            <p:spPr>
              <a:xfrm>
                <a:off x="3091249" y="2340162"/>
                <a:ext cx="6858000" cy="118872"/>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p>
            </p:txBody>
          </p:sp>
        </p:grpSp>
        <p:sp>
          <p:nvSpPr>
            <p:cNvPr id="20" name="Rectangle 19"/>
            <p:cNvSpPr/>
            <p:nvPr/>
          </p:nvSpPr>
          <p:spPr>
            <a:xfrm>
              <a:off x="3091249" y="5792714"/>
              <a:ext cx="6858000" cy="118872"/>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p>
          </p:txBody>
        </p:sp>
      </p:grpSp>
      <p:sp>
        <p:nvSpPr>
          <p:cNvPr id="24" name="TextBox 23">
            <a:extLst>
              <a:ext uri="{FF2B5EF4-FFF2-40B4-BE49-F238E27FC236}">
                <a16:creationId xmlns:a16="http://schemas.microsoft.com/office/drawing/2014/main" id="{28332E2F-4E4E-4239-AFA9-DDAEB934450A}"/>
              </a:ext>
            </a:extLst>
          </p:cNvPr>
          <p:cNvSpPr txBox="1"/>
          <p:nvPr/>
        </p:nvSpPr>
        <p:spPr>
          <a:xfrm>
            <a:off x="296619" y="6101351"/>
            <a:ext cx="3909844" cy="246221"/>
          </a:xfrm>
          <a:prstGeom prst="rect">
            <a:avLst/>
          </a:prstGeom>
          <a:noFill/>
        </p:spPr>
        <p:txBody>
          <a:bodyPr wrap="square" rtlCol="0">
            <a:spAutoFit/>
          </a:bodyPr>
          <a:lstStyle/>
          <a:p>
            <a:r>
              <a:rPr lang="en-US" sz="1000" dirty="0"/>
              <a:t>Costanzo MR, et al.  The Lancet 2016;388:974-82</a:t>
            </a:r>
          </a:p>
        </p:txBody>
      </p:sp>
      <p:sp>
        <p:nvSpPr>
          <p:cNvPr id="3" name="Slide Number Placeholder 2">
            <a:extLst>
              <a:ext uri="{FF2B5EF4-FFF2-40B4-BE49-F238E27FC236}">
                <a16:creationId xmlns:a16="http://schemas.microsoft.com/office/drawing/2014/main" id="{DFF79A7E-BB05-F563-345B-AD9AB930F207}"/>
              </a:ext>
            </a:extLst>
          </p:cNvPr>
          <p:cNvSpPr>
            <a:spLocks noGrp="1"/>
          </p:cNvSpPr>
          <p:nvPr>
            <p:ph type="sldNum" sz="quarter" idx="12"/>
          </p:nvPr>
        </p:nvSpPr>
        <p:spPr/>
        <p:txBody>
          <a:bodyPr/>
          <a:lstStyle/>
          <a:p>
            <a:fld id="{21D51F98-DEF0-4E23-AE94-24E7CFC19B28}" type="slidenum">
              <a:rPr lang="en-US" smtClean="0"/>
              <a:t>54</a:t>
            </a:fld>
            <a:endParaRPr lang="en-US"/>
          </a:p>
        </p:txBody>
      </p:sp>
      <p:sp>
        <p:nvSpPr>
          <p:cNvPr id="6" name="Footer Placeholder 5">
            <a:extLst>
              <a:ext uri="{FF2B5EF4-FFF2-40B4-BE49-F238E27FC236}">
                <a16:creationId xmlns:a16="http://schemas.microsoft.com/office/drawing/2014/main" id="{1F0D2C89-FD52-53EC-10AA-0F4B7253F4D7}"/>
              </a:ext>
            </a:extLst>
          </p:cNvPr>
          <p:cNvSpPr>
            <a:spLocks noGrp="1"/>
          </p:cNvSpPr>
          <p:nvPr>
            <p:ph type="ftr" sz="quarter" idx="11"/>
          </p:nvPr>
        </p:nvSpPr>
        <p:spPr>
          <a:xfrm>
            <a:off x="3684598" y="6459785"/>
            <a:ext cx="4822804" cy="365125"/>
          </a:xfrm>
        </p:spPr>
        <p:txBody>
          <a:bodyPr/>
          <a:lstStyle/>
          <a:p>
            <a:r>
              <a:rPr lang="en-US" dirty="0"/>
              <a:t>MAF1937 Rev E</a:t>
            </a:r>
          </a:p>
        </p:txBody>
      </p:sp>
    </p:spTree>
    <p:extLst>
      <p:ext uri="{BB962C8B-B14F-4D97-AF65-F5344CB8AC3E}">
        <p14:creationId xmlns:p14="http://schemas.microsoft.com/office/powerpoint/2010/main" val="1489022593"/>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DC74100D-5C92-16D4-C0A2-DD52AFFD33F9}"/>
              </a:ext>
            </a:extLst>
          </p:cNvPr>
          <p:cNvSpPr>
            <a:spLocks noGrp="1"/>
          </p:cNvSpPr>
          <p:nvPr>
            <p:ph type="sldNum" sz="quarter" idx="12"/>
          </p:nvPr>
        </p:nvSpPr>
        <p:spPr/>
        <p:txBody>
          <a:bodyPr/>
          <a:lstStyle/>
          <a:p>
            <a:fld id="{21D51F98-DEF0-4E23-AE94-24E7CFC19B28}" type="slidenum">
              <a:rPr lang="en-US" smtClean="0"/>
              <a:t>55</a:t>
            </a:fld>
            <a:endParaRPr lang="en-US"/>
          </a:p>
        </p:txBody>
      </p:sp>
      <p:sp>
        <p:nvSpPr>
          <p:cNvPr id="2" name="Content Placeholder 1">
            <a:extLst>
              <a:ext uri="{FF2B5EF4-FFF2-40B4-BE49-F238E27FC236}">
                <a16:creationId xmlns:a16="http://schemas.microsoft.com/office/drawing/2014/main" id="{8617D644-985C-46D8-9C29-8404E8C64C00}"/>
              </a:ext>
            </a:extLst>
          </p:cNvPr>
          <p:cNvSpPr>
            <a:spLocks noGrp="1"/>
          </p:cNvSpPr>
          <p:nvPr>
            <p:ph idx="4294967295"/>
          </p:nvPr>
        </p:nvSpPr>
        <p:spPr>
          <a:xfrm>
            <a:off x="681453" y="1567295"/>
            <a:ext cx="10972800" cy="4214812"/>
          </a:xfrm>
        </p:spPr>
        <p:txBody>
          <a:bodyPr>
            <a:normAutofit/>
          </a:bodyPr>
          <a:lstStyle/>
          <a:p>
            <a:pPr>
              <a:buFont typeface="Wingdings" panose="05000000000000000000" pitchFamily="2" charset="2"/>
              <a:buChar char="§"/>
            </a:pPr>
            <a:r>
              <a:rPr lang="en-US" sz="2800" dirty="0">
                <a:latin typeface="+mn-lt"/>
                <a:cs typeface="Times New Roman" panose="02020603050405020304" pitchFamily="18" charset="0"/>
              </a:rPr>
              <a:t>   Multi-center, prospective,  non-randomized study </a:t>
            </a:r>
          </a:p>
          <a:p>
            <a:pPr>
              <a:buFont typeface="Wingdings" panose="05000000000000000000" pitchFamily="2" charset="2"/>
              <a:buChar char="§"/>
            </a:pPr>
            <a:r>
              <a:rPr lang="en-US" sz="2800" dirty="0">
                <a:latin typeface="+mn-lt"/>
                <a:cs typeface="Times New Roman" panose="02020603050405020304" pitchFamily="18" charset="0"/>
              </a:rPr>
              <a:t>   Safety and effectiveness data in subjects implanted with the </a:t>
            </a:r>
            <a:r>
              <a:rPr lang="en-US" sz="2800" b="1" dirty="0">
                <a:latin typeface="+mn-lt"/>
                <a:cs typeface="Times New Roman" panose="02020603050405020304" pitchFamily="18" charset="0"/>
              </a:rPr>
              <a:t>rem</a:t>
            </a:r>
            <a:r>
              <a:rPr lang="en-US" sz="2800" dirty="0">
                <a:latin typeface="+mn-lt"/>
                <a:cs typeface="Times New Roman" panose="02020603050405020304" pitchFamily="18" charset="0"/>
              </a:rPr>
              <a:t>edē         </a:t>
            </a:r>
          </a:p>
          <a:p>
            <a:pPr marL="0" indent="0">
              <a:spcBef>
                <a:spcPts val="0"/>
              </a:spcBef>
              <a:spcAft>
                <a:spcPts val="0"/>
              </a:spcAft>
              <a:buNone/>
            </a:pPr>
            <a:r>
              <a:rPr lang="en-US" sz="2800" dirty="0">
                <a:cs typeface="Times New Roman" panose="02020603050405020304" pitchFamily="18" charset="0"/>
              </a:rPr>
              <a:t>     </a:t>
            </a:r>
            <a:r>
              <a:rPr lang="en-US" sz="2800" dirty="0">
                <a:latin typeface="+mn-lt"/>
                <a:cs typeface="Times New Roman" panose="02020603050405020304" pitchFamily="18" charset="0"/>
              </a:rPr>
              <a:t>System</a:t>
            </a:r>
          </a:p>
          <a:p>
            <a:pPr>
              <a:buFont typeface="Wingdings" panose="05000000000000000000" pitchFamily="2" charset="2"/>
              <a:buChar char="§"/>
            </a:pPr>
            <a:r>
              <a:rPr lang="en-US" sz="2800" dirty="0">
                <a:latin typeface="+mn-lt"/>
                <a:cs typeface="Times New Roman" panose="02020603050405020304" pitchFamily="18" charset="0"/>
              </a:rPr>
              <a:t>   Approximately 500 subjects and 50 sites in the United States and the  </a:t>
            </a:r>
          </a:p>
          <a:p>
            <a:pPr marL="0" indent="0">
              <a:spcBef>
                <a:spcPts val="0"/>
              </a:spcBef>
              <a:buNone/>
            </a:pPr>
            <a:r>
              <a:rPr lang="en-US" sz="2800" dirty="0">
                <a:cs typeface="Times New Roman" panose="02020603050405020304" pitchFamily="18" charset="0"/>
              </a:rPr>
              <a:t>     </a:t>
            </a:r>
            <a:r>
              <a:rPr lang="en-US" sz="2800" dirty="0">
                <a:latin typeface="+mn-lt"/>
                <a:cs typeface="Times New Roman" panose="02020603050405020304" pitchFamily="18" charset="0"/>
              </a:rPr>
              <a:t>Europe </a:t>
            </a:r>
          </a:p>
          <a:p>
            <a:pPr>
              <a:buFont typeface="Wingdings" panose="05000000000000000000" pitchFamily="2" charset="2"/>
              <a:buChar char="§"/>
            </a:pPr>
            <a:r>
              <a:rPr lang="en-US" sz="2800" dirty="0">
                <a:latin typeface="+mn-lt"/>
                <a:cs typeface="Times New Roman" panose="02020603050405020304" pitchFamily="18" charset="0"/>
              </a:rPr>
              <a:t>   Participation is expected to continue through five years</a:t>
            </a:r>
          </a:p>
          <a:p>
            <a:pPr>
              <a:buFont typeface="Wingdings" panose="05000000000000000000" pitchFamily="2" charset="2"/>
              <a:buChar char="§"/>
            </a:pPr>
            <a:r>
              <a:rPr lang="en-US" sz="2800" dirty="0">
                <a:latin typeface="+mn-lt"/>
                <a:cs typeface="Times New Roman" panose="02020603050405020304" pitchFamily="18" charset="0"/>
              </a:rPr>
              <a:t>   Enhanced assessments in HF subjects</a:t>
            </a:r>
          </a:p>
          <a:p>
            <a:pPr>
              <a:buFont typeface="Wingdings" panose="05000000000000000000" pitchFamily="2" charset="2"/>
              <a:buChar char="§"/>
            </a:pPr>
            <a:endParaRPr lang="en-US" sz="2800" dirty="0">
              <a:latin typeface="+mn-lt"/>
              <a:cs typeface="Times New Roman" panose="02020603050405020304" pitchFamily="18" charset="0"/>
            </a:endParaRPr>
          </a:p>
          <a:p>
            <a:pPr>
              <a:buFont typeface="Wingdings" panose="05000000000000000000" pitchFamily="2" charset="2"/>
              <a:buChar char="§"/>
            </a:pPr>
            <a:endParaRPr lang="en-US" sz="2800" dirty="0"/>
          </a:p>
          <a:p>
            <a:pPr>
              <a:buFont typeface="Wingdings" panose="05000000000000000000" pitchFamily="2" charset="2"/>
              <a:buChar char="§"/>
            </a:pPr>
            <a:endParaRPr lang="en-US" sz="2800" dirty="0"/>
          </a:p>
        </p:txBody>
      </p:sp>
      <p:sp>
        <p:nvSpPr>
          <p:cNvPr id="3" name="Title 2">
            <a:extLst>
              <a:ext uri="{FF2B5EF4-FFF2-40B4-BE49-F238E27FC236}">
                <a16:creationId xmlns:a16="http://schemas.microsoft.com/office/drawing/2014/main" id="{7F1264B0-CEC4-4354-9670-A06545FB8D84}"/>
              </a:ext>
            </a:extLst>
          </p:cNvPr>
          <p:cNvSpPr>
            <a:spLocks noGrp="1"/>
          </p:cNvSpPr>
          <p:nvPr>
            <p:ph type="title" idx="4294967295"/>
          </p:nvPr>
        </p:nvSpPr>
        <p:spPr>
          <a:xfrm>
            <a:off x="541537" y="271779"/>
            <a:ext cx="10761863" cy="811297"/>
          </a:xfrm>
        </p:spPr>
        <p:txBody>
          <a:bodyPr>
            <a:noAutofit/>
          </a:bodyPr>
          <a:lstStyle/>
          <a:p>
            <a:r>
              <a:rPr lang="en-US" sz="4000" b="1" dirty="0">
                <a:solidFill>
                  <a:srgbClr val="0487C9"/>
                </a:solidFill>
                <a:latin typeface="+mn-lt"/>
              </a:rPr>
              <a:t>rem</a:t>
            </a:r>
            <a:r>
              <a:rPr lang="en-US" sz="4000" dirty="0">
                <a:solidFill>
                  <a:srgbClr val="0487C9"/>
                </a:solidFill>
                <a:latin typeface="+mn-lt"/>
              </a:rPr>
              <a:t>edē</a:t>
            </a:r>
            <a:r>
              <a:rPr lang="en-US" sz="4000" b="1" dirty="0">
                <a:solidFill>
                  <a:srgbClr val="0487C9"/>
                </a:solidFill>
                <a:latin typeface="+mn-lt"/>
              </a:rPr>
              <a:t> System Therapy Study (</a:t>
            </a:r>
            <a:r>
              <a:rPr lang="en-US" sz="4000" b="1" dirty="0" err="1">
                <a:solidFill>
                  <a:srgbClr val="0487C9"/>
                </a:solidFill>
                <a:latin typeface="+mn-lt"/>
              </a:rPr>
              <a:t>rēST</a:t>
            </a:r>
            <a:r>
              <a:rPr lang="en-US" sz="4000" b="1" dirty="0">
                <a:solidFill>
                  <a:srgbClr val="0487C9"/>
                </a:solidFill>
                <a:latin typeface="+mn-lt"/>
              </a:rPr>
              <a:t> Study) Design</a:t>
            </a:r>
          </a:p>
        </p:txBody>
      </p:sp>
      <p:sp>
        <p:nvSpPr>
          <p:cNvPr id="7" name="Footer Placeholder 5">
            <a:extLst>
              <a:ext uri="{FF2B5EF4-FFF2-40B4-BE49-F238E27FC236}">
                <a16:creationId xmlns:a16="http://schemas.microsoft.com/office/drawing/2014/main" id="{10648C54-B4CC-71D4-136F-C11EE7426F7C}"/>
              </a:ext>
            </a:extLst>
          </p:cNvPr>
          <p:cNvSpPr>
            <a:spLocks noGrp="1"/>
          </p:cNvSpPr>
          <p:nvPr>
            <p:ph type="ftr" sz="quarter" idx="11"/>
          </p:nvPr>
        </p:nvSpPr>
        <p:spPr>
          <a:xfrm>
            <a:off x="3684598" y="6459785"/>
            <a:ext cx="4822804" cy="365125"/>
          </a:xfrm>
        </p:spPr>
        <p:txBody>
          <a:bodyPr/>
          <a:lstStyle/>
          <a:p>
            <a:r>
              <a:rPr lang="en-US" dirty="0"/>
              <a:t>MAF1937 Rev E</a:t>
            </a:r>
          </a:p>
        </p:txBody>
      </p:sp>
    </p:spTree>
    <p:extLst>
      <p:ext uri="{BB962C8B-B14F-4D97-AF65-F5344CB8AC3E}">
        <p14:creationId xmlns:p14="http://schemas.microsoft.com/office/powerpoint/2010/main" val="2723137526"/>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A82BF5-3DC7-5448-93D3-AD086A280C99}"/>
              </a:ext>
            </a:extLst>
          </p:cNvPr>
          <p:cNvSpPr>
            <a:spLocks noGrp="1"/>
          </p:cNvSpPr>
          <p:nvPr>
            <p:ph type="title" idx="4294967295"/>
          </p:nvPr>
        </p:nvSpPr>
        <p:spPr>
          <a:xfrm>
            <a:off x="533400" y="312737"/>
            <a:ext cx="10972800" cy="714375"/>
          </a:xfrm>
        </p:spPr>
        <p:txBody>
          <a:bodyPr>
            <a:normAutofit fontScale="90000"/>
          </a:bodyPr>
          <a:lstStyle/>
          <a:p>
            <a:r>
              <a:rPr lang="en-US" b="1" dirty="0" err="1">
                <a:solidFill>
                  <a:srgbClr val="0487C9"/>
                </a:solidFill>
                <a:latin typeface="+mn-lt"/>
              </a:rPr>
              <a:t>reST</a:t>
            </a:r>
            <a:r>
              <a:rPr lang="en-US" b="1" dirty="0">
                <a:solidFill>
                  <a:srgbClr val="0487C9"/>
                </a:solidFill>
                <a:latin typeface="+mn-lt"/>
              </a:rPr>
              <a:t> Study Key Objectives</a:t>
            </a:r>
          </a:p>
        </p:txBody>
      </p:sp>
      <p:sp>
        <p:nvSpPr>
          <p:cNvPr id="3" name="Content Placeholder 2">
            <a:extLst>
              <a:ext uri="{FF2B5EF4-FFF2-40B4-BE49-F238E27FC236}">
                <a16:creationId xmlns:a16="http://schemas.microsoft.com/office/drawing/2014/main" id="{C31880C2-5BF9-FE46-89CE-A4C198967C15}"/>
              </a:ext>
            </a:extLst>
          </p:cNvPr>
          <p:cNvSpPr>
            <a:spLocks noGrp="1"/>
          </p:cNvSpPr>
          <p:nvPr>
            <p:ph sz="half" idx="4294967295"/>
          </p:nvPr>
        </p:nvSpPr>
        <p:spPr>
          <a:xfrm>
            <a:off x="533400" y="1123950"/>
            <a:ext cx="10972800" cy="5064125"/>
          </a:xfrm>
        </p:spPr>
        <p:txBody>
          <a:bodyPr>
            <a:normAutofit lnSpcReduction="10000"/>
          </a:bodyPr>
          <a:lstStyle/>
          <a:p>
            <a:pPr marL="457200" indent="-457200">
              <a:buFont typeface="+mj-lt"/>
              <a:buAutoNum type="arabicPeriod"/>
            </a:pPr>
            <a:r>
              <a:rPr lang="en-US" sz="2800" dirty="0">
                <a:latin typeface="+mn-lt"/>
                <a:cs typeface="Times New Roman" panose="02020603050405020304" pitchFamily="18" charset="0"/>
              </a:rPr>
              <a:t>Changes in sleep metrics</a:t>
            </a:r>
          </a:p>
          <a:p>
            <a:pPr lvl="2"/>
            <a:r>
              <a:rPr lang="en-US" sz="2800" dirty="0">
                <a:latin typeface="+mn-lt"/>
                <a:cs typeface="Times New Roman" panose="02020603050405020304" pitchFamily="18" charset="0"/>
              </a:rPr>
              <a:t>At 12, 36 and 60 months </a:t>
            </a:r>
          </a:p>
          <a:p>
            <a:pPr marL="457200" indent="-457200">
              <a:buFont typeface="+mj-lt"/>
              <a:buAutoNum type="arabicPeriod"/>
            </a:pPr>
            <a:r>
              <a:rPr lang="en-US" sz="2800" dirty="0">
                <a:latin typeface="+mn-lt"/>
                <a:cs typeface="Times New Roman" panose="02020603050405020304" pitchFamily="18" charset="0"/>
              </a:rPr>
              <a:t>Evaluate changes in daytime sleepiness from baseline using the Epworth Sleepiness Scale (ESS) </a:t>
            </a:r>
          </a:p>
          <a:p>
            <a:pPr marL="457200" indent="-457200">
              <a:buFont typeface="+mj-lt"/>
              <a:buAutoNum type="arabicPeriod"/>
            </a:pPr>
            <a:r>
              <a:rPr lang="en-US" sz="2800" dirty="0">
                <a:latin typeface="+mn-lt"/>
                <a:cs typeface="Times New Roman" panose="02020603050405020304" pitchFamily="18" charset="0"/>
              </a:rPr>
              <a:t>Evaluate impact on quality of life (QOL) using the </a:t>
            </a:r>
            <a:endParaRPr lang="en-US" sz="3200" dirty="0">
              <a:latin typeface="+mn-lt"/>
              <a:cs typeface="Times New Roman" panose="02020603050405020304" pitchFamily="18" charset="0"/>
            </a:endParaRPr>
          </a:p>
          <a:p>
            <a:pPr lvl="2"/>
            <a:r>
              <a:rPr lang="en-US" sz="1800" dirty="0">
                <a:latin typeface="+mn-lt"/>
                <a:cs typeface="Times New Roman" panose="02020603050405020304" pitchFamily="18" charset="0"/>
              </a:rPr>
              <a:t>PROMIS-29 questionnaire, and </a:t>
            </a:r>
          </a:p>
          <a:p>
            <a:pPr lvl="2"/>
            <a:r>
              <a:rPr lang="en-US" sz="1800" dirty="0">
                <a:latin typeface="+mn-lt"/>
                <a:cs typeface="Times New Roman" panose="02020603050405020304" pitchFamily="18" charset="0"/>
              </a:rPr>
              <a:t>Patient Global Assessment (PGA)</a:t>
            </a:r>
          </a:p>
          <a:p>
            <a:pPr marL="457200" indent="-457200">
              <a:buFont typeface="+mj-lt"/>
              <a:buAutoNum type="arabicPeriod"/>
            </a:pPr>
            <a:r>
              <a:rPr lang="en-US" sz="2800" dirty="0">
                <a:latin typeface="+mn-lt"/>
                <a:cs typeface="Times New Roman" panose="02020603050405020304" pitchFamily="18" charset="0"/>
              </a:rPr>
              <a:t>HF patients will undergo additional assessments</a:t>
            </a:r>
          </a:p>
          <a:p>
            <a:pPr lvl="2"/>
            <a:r>
              <a:rPr lang="en-US" sz="1800" dirty="0">
                <a:latin typeface="+mn-lt"/>
                <a:cs typeface="Times New Roman" panose="02020603050405020304" pitchFamily="18" charset="0"/>
              </a:rPr>
              <a:t>Changes in LVEF at 12 months</a:t>
            </a:r>
          </a:p>
          <a:p>
            <a:pPr lvl="2"/>
            <a:r>
              <a:rPr lang="en-US" sz="1800" dirty="0">
                <a:latin typeface="+mn-lt"/>
                <a:cs typeface="Times New Roman" panose="02020603050405020304" pitchFamily="18" charset="0"/>
              </a:rPr>
              <a:t>BNP</a:t>
            </a:r>
          </a:p>
          <a:p>
            <a:pPr lvl="2"/>
            <a:r>
              <a:rPr lang="en-US" sz="1800" dirty="0">
                <a:latin typeface="+mn-lt"/>
                <a:cs typeface="Times New Roman" panose="02020603050405020304" pitchFamily="18" charset="0"/>
              </a:rPr>
              <a:t>Disease specific QOL (KCCQ)</a:t>
            </a:r>
          </a:p>
          <a:p>
            <a:pPr lvl="2"/>
            <a:r>
              <a:rPr lang="en-US" sz="1800" dirty="0">
                <a:latin typeface="+mn-lt"/>
                <a:cs typeface="Times New Roman" panose="02020603050405020304" pitchFamily="18" charset="0"/>
              </a:rPr>
              <a:t>Exercise tolerance</a:t>
            </a:r>
          </a:p>
          <a:p>
            <a:pPr lvl="2"/>
            <a:r>
              <a:rPr lang="en-US" sz="1800" dirty="0">
                <a:latin typeface="+mn-lt"/>
                <a:cs typeface="Times New Roman" panose="02020603050405020304" pitchFamily="18" charset="0"/>
              </a:rPr>
              <a:t>HF hospitalizations</a:t>
            </a:r>
          </a:p>
          <a:p>
            <a:pPr marL="514350" indent="-514350">
              <a:buFont typeface="+mj-lt"/>
              <a:buAutoNum type="arabicPeriod"/>
            </a:pPr>
            <a:endParaRPr lang="en-US" sz="2800" dirty="0">
              <a:latin typeface="+mn-lt"/>
              <a:cs typeface="Times New Roman" panose="02020603050405020304" pitchFamily="18" charset="0"/>
            </a:endParaRPr>
          </a:p>
          <a:p>
            <a:pPr marL="457200" indent="-457200">
              <a:buFont typeface="+mj-lt"/>
              <a:buAutoNum type="arabicPeriod"/>
            </a:pPr>
            <a:endParaRPr lang="en-US" sz="2800" dirty="0">
              <a:latin typeface="Times New Roman" panose="02020603050405020304" pitchFamily="18" charset="0"/>
              <a:cs typeface="Times New Roman" panose="02020603050405020304" pitchFamily="18" charset="0"/>
            </a:endParaRPr>
          </a:p>
          <a:p>
            <a:pPr marL="514350" indent="-514350">
              <a:buFont typeface="+mj-lt"/>
              <a:buAutoNum type="arabicPeriod"/>
            </a:pPr>
            <a:endParaRPr lang="en-US" sz="2800" dirty="0">
              <a:latin typeface="Times New Roman" panose="02020603050405020304" pitchFamily="18" charset="0"/>
              <a:cs typeface="Times New Roman" panose="02020603050405020304" pitchFamily="18" charset="0"/>
            </a:endParaRPr>
          </a:p>
        </p:txBody>
      </p:sp>
      <p:sp>
        <p:nvSpPr>
          <p:cNvPr id="5" name="Slide Number Placeholder 4">
            <a:extLst>
              <a:ext uri="{FF2B5EF4-FFF2-40B4-BE49-F238E27FC236}">
                <a16:creationId xmlns:a16="http://schemas.microsoft.com/office/drawing/2014/main" id="{9BE51693-F93B-DC80-F27C-E59905A923D7}"/>
              </a:ext>
            </a:extLst>
          </p:cNvPr>
          <p:cNvSpPr>
            <a:spLocks noGrp="1"/>
          </p:cNvSpPr>
          <p:nvPr>
            <p:ph type="sldNum" sz="quarter" idx="12"/>
          </p:nvPr>
        </p:nvSpPr>
        <p:spPr/>
        <p:txBody>
          <a:bodyPr/>
          <a:lstStyle/>
          <a:p>
            <a:fld id="{21D51F98-DEF0-4E23-AE94-24E7CFC19B28}" type="slidenum">
              <a:rPr lang="en-US" smtClean="0"/>
              <a:t>56</a:t>
            </a:fld>
            <a:endParaRPr lang="en-US"/>
          </a:p>
        </p:txBody>
      </p:sp>
      <p:sp>
        <p:nvSpPr>
          <p:cNvPr id="8" name="Footer Placeholder 5">
            <a:extLst>
              <a:ext uri="{FF2B5EF4-FFF2-40B4-BE49-F238E27FC236}">
                <a16:creationId xmlns:a16="http://schemas.microsoft.com/office/drawing/2014/main" id="{73C21553-4CB9-4753-49B9-DF150B77F028}"/>
              </a:ext>
            </a:extLst>
          </p:cNvPr>
          <p:cNvSpPr>
            <a:spLocks noGrp="1"/>
          </p:cNvSpPr>
          <p:nvPr>
            <p:ph type="ftr" sz="quarter" idx="11"/>
          </p:nvPr>
        </p:nvSpPr>
        <p:spPr>
          <a:xfrm>
            <a:off x="3684598" y="6459785"/>
            <a:ext cx="4822804" cy="365125"/>
          </a:xfrm>
        </p:spPr>
        <p:txBody>
          <a:bodyPr/>
          <a:lstStyle/>
          <a:p>
            <a:r>
              <a:rPr lang="en-US" dirty="0"/>
              <a:t>MAF1937 Rev E</a:t>
            </a:r>
          </a:p>
        </p:txBody>
      </p:sp>
    </p:spTree>
    <p:extLst>
      <p:ext uri="{BB962C8B-B14F-4D97-AF65-F5344CB8AC3E}">
        <p14:creationId xmlns:p14="http://schemas.microsoft.com/office/powerpoint/2010/main" val="394728657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CustomShape 1"/>
          <p:cNvSpPr/>
          <p:nvPr/>
        </p:nvSpPr>
        <p:spPr>
          <a:xfrm>
            <a:off x="5653560" y="79200"/>
            <a:ext cx="884880" cy="307080"/>
          </a:xfrm>
          <a:prstGeom prst="rect">
            <a:avLst/>
          </a:prstGeom>
          <a:noFill/>
          <a:ln>
            <a:noFill/>
          </a:ln>
        </p:spPr>
        <p:style>
          <a:lnRef idx="0">
            <a:scrgbClr r="0" g="0" b="0"/>
          </a:lnRef>
          <a:fillRef idx="0">
            <a:scrgbClr r="0" g="0" b="0"/>
          </a:fillRef>
          <a:effectRef idx="0">
            <a:scrgbClr r="0" g="0" b="0"/>
          </a:effectRef>
          <a:fontRef idx="minor"/>
        </p:style>
        <p:txBody>
          <a:bodyPr wrap="none" lIns="90000" tIns="46800" rIns="90000" bIns="46800">
            <a:spAutoFit/>
          </a:bodyPr>
          <a:lstStyle/>
          <a:p>
            <a:r>
              <a:rPr lang="en-US" sz="1400" spc="-1" dirty="0">
                <a:solidFill>
                  <a:srgbClr val="FFFFFF"/>
                </a:solidFill>
                <a:latin typeface="Arial"/>
              </a:rPr>
              <a:t>Figure 3 </a:t>
            </a:r>
          </a:p>
        </p:txBody>
      </p:sp>
      <p:pic>
        <p:nvPicPr>
          <p:cNvPr id="58" name="Main graphic"/>
          <p:cNvPicPr/>
          <p:nvPr/>
        </p:nvPicPr>
        <p:blipFill>
          <a:blip r:embed="rId3"/>
          <a:stretch/>
        </p:blipFill>
        <p:spPr>
          <a:xfrm>
            <a:off x="2326814" y="952848"/>
            <a:ext cx="7538371" cy="5244819"/>
          </a:xfrm>
          <a:prstGeom prst="rect">
            <a:avLst/>
          </a:prstGeom>
          <a:ln>
            <a:noFill/>
          </a:ln>
        </p:spPr>
      </p:pic>
      <p:sp>
        <p:nvSpPr>
          <p:cNvPr id="59" name="TextShape 2"/>
          <p:cNvSpPr txBox="1"/>
          <p:nvPr/>
        </p:nvSpPr>
        <p:spPr>
          <a:xfrm>
            <a:off x="254189" y="6082107"/>
            <a:ext cx="8254800" cy="231120"/>
          </a:xfrm>
          <a:prstGeom prst="rect">
            <a:avLst/>
          </a:prstGeom>
          <a:noFill/>
          <a:ln>
            <a:noFill/>
          </a:ln>
        </p:spPr>
        <p:txBody>
          <a:bodyPr lIns="90000" tIns="45000" rIns="90000" bIns="45000">
            <a:spAutoFit/>
          </a:bodyPr>
          <a:lstStyle/>
          <a:p>
            <a:r>
              <a:rPr lang="en-US" sz="900" i="1" spc="-1" dirty="0">
                <a:latin typeface="Arial"/>
              </a:rPr>
              <a:t>Heart Rhythm</a:t>
            </a:r>
            <a:r>
              <a:rPr lang="en-US" sz="900" spc="-1" dirty="0">
                <a:latin typeface="Arial"/>
              </a:rPr>
              <a:t> 2020 17195-202DOI: (10.1016/j.hrthm.2019.09.001) </a:t>
            </a:r>
          </a:p>
        </p:txBody>
      </p:sp>
      <p:sp>
        <p:nvSpPr>
          <p:cNvPr id="3" name="Slide Number Placeholder 2">
            <a:extLst>
              <a:ext uri="{FF2B5EF4-FFF2-40B4-BE49-F238E27FC236}">
                <a16:creationId xmlns:a16="http://schemas.microsoft.com/office/drawing/2014/main" id="{C3BEFBE7-7AA9-9468-D138-126D7F02534F}"/>
              </a:ext>
            </a:extLst>
          </p:cNvPr>
          <p:cNvSpPr>
            <a:spLocks noGrp="1"/>
          </p:cNvSpPr>
          <p:nvPr>
            <p:ph type="sldNum" sz="quarter" idx="12"/>
          </p:nvPr>
        </p:nvSpPr>
        <p:spPr/>
        <p:txBody>
          <a:bodyPr/>
          <a:lstStyle/>
          <a:p>
            <a:fld id="{21D51F98-DEF0-4E23-AE94-24E7CFC19B28}" type="slidenum">
              <a:rPr lang="en-US" smtClean="0"/>
              <a:t>6</a:t>
            </a:fld>
            <a:endParaRPr lang="en-US" dirty="0"/>
          </a:p>
        </p:txBody>
      </p:sp>
      <p:sp>
        <p:nvSpPr>
          <p:cNvPr id="5" name="Title 4">
            <a:extLst>
              <a:ext uri="{FF2B5EF4-FFF2-40B4-BE49-F238E27FC236}">
                <a16:creationId xmlns:a16="http://schemas.microsoft.com/office/drawing/2014/main" id="{16BDE33B-FD15-4DBB-A678-C15EA4E1B2DD}"/>
              </a:ext>
            </a:extLst>
          </p:cNvPr>
          <p:cNvSpPr>
            <a:spLocks noGrp="1"/>
          </p:cNvSpPr>
          <p:nvPr>
            <p:ph type="title" idx="4294967295"/>
          </p:nvPr>
        </p:nvSpPr>
        <p:spPr>
          <a:xfrm>
            <a:off x="254189" y="57464"/>
            <a:ext cx="9234641" cy="715466"/>
          </a:xfrm>
        </p:spPr>
        <p:txBody>
          <a:bodyPr>
            <a:normAutofit/>
          </a:bodyPr>
          <a:lstStyle/>
          <a:p>
            <a:r>
              <a:rPr lang="en-US" sz="3600" b="1" dirty="0">
                <a:solidFill>
                  <a:schemeClr val="accent2"/>
                </a:solidFill>
                <a:latin typeface="+mn-lt"/>
              </a:rPr>
              <a:t>Sleep Apnea Predicts Atrial Fibrillation</a:t>
            </a:r>
          </a:p>
        </p:txBody>
      </p:sp>
      <p:sp>
        <p:nvSpPr>
          <p:cNvPr id="6" name="Content Placeholder 5">
            <a:extLst>
              <a:ext uri="{FF2B5EF4-FFF2-40B4-BE49-F238E27FC236}">
                <a16:creationId xmlns:a16="http://schemas.microsoft.com/office/drawing/2014/main" id="{0BE300E4-A37E-4DF5-9C1D-43F0A9A28473}"/>
              </a:ext>
            </a:extLst>
          </p:cNvPr>
          <p:cNvSpPr>
            <a:spLocks noGrp="1"/>
          </p:cNvSpPr>
          <p:nvPr>
            <p:ph idx="4294967295"/>
          </p:nvPr>
        </p:nvSpPr>
        <p:spPr>
          <a:xfrm>
            <a:off x="307514" y="626795"/>
            <a:ext cx="4038600" cy="451222"/>
          </a:xfrm>
        </p:spPr>
        <p:txBody>
          <a:bodyPr/>
          <a:lstStyle/>
          <a:p>
            <a:r>
              <a:rPr lang="en-US" dirty="0"/>
              <a:t>Data from REVIVE pacemaker study</a:t>
            </a:r>
          </a:p>
          <a:p>
            <a:endParaRPr lang="en-US" dirty="0"/>
          </a:p>
        </p:txBody>
      </p:sp>
      <p:sp>
        <p:nvSpPr>
          <p:cNvPr id="7" name="TextBox 6">
            <a:extLst>
              <a:ext uri="{FF2B5EF4-FFF2-40B4-BE49-F238E27FC236}">
                <a16:creationId xmlns:a16="http://schemas.microsoft.com/office/drawing/2014/main" id="{AF114B8C-B68B-4FBA-859C-A1396A5B2B56}"/>
              </a:ext>
            </a:extLst>
          </p:cNvPr>
          <p:cNvSpPr txBox="1"/>
          <p:nvPr/>
        </p:nvSpPr>
        <p:spPr>
          <a:xfrm>
            <a:off x="8080464" y="1211182"/>
            <a:ext cx="1669311" cy="369332"/>
          </a:xfrm>
          <a:prstGeom prst="rect">
            <a:avLst/>
          </a:prstGeom>
          <a:noFill/>
        </p:spPr>
        <p:txBody>
          <a:bodyPr wrap="square" rtlCol="0">
            <a:spAutoFit/>
          </a:bodyPr>
          <a:lstStyle/>
          <a:p>
            <a:r>
              <a:rPr lang="en-US" dirty="0"/>
              <a:t>CI 3.7-18.4%</a:t>
            </a:r>
          </a:p>
        </p:txBody>
      </p:sp>
      <p:sp>
        <p:nvSpPr>
          <p:cNvPr id="8" name="Footer Placeholder 5">
            <a:extLst>
              <a:ext uri="{FF2B5EF4-FFF2-40B4-BE49-F238E27FC236}">
                <a16:creationId xmlns:a16="http://schemas.microsoft.com/office/drawing/2014/main" id="{1D1FEFA7-252F-7F84-37C4-2D5782C34767}"/>
              </a:ext>
            </a:extLst>
          </p:cNvPr>
          <p:cNvSpPr>
            <a:spLocks noGrp="1"/>
          </p:cNvSpPr>
          <p:nvPr>
            <p:ph type="ftr" sz="quarter" idx="11"/>
          </p:nvPr>
        </p:nvSpPr>
        <p:spPr>
          <a:xfrm>
            <a:off x="3684598" y="6459785"/>
            <a:ext cx="4822804" cy="365125"/>
          </a:xfrm>
        </p:spPr>
        <p:txBody>
          <a:bodyPr/>
          <a:lstStyle/>
          <a:p>
            <a:r>
              <a:rPr lang="en-US" dirty="0"/>
              <a:t>MAF1937 Rev E</a:t>
            </a:r>
          </a:p>
        </p:txBody>
      </p:sp>
    </p:spTree>
  </p:cSld>
  <p:clrMapOvr>
    <a:masterClrMapping/>
  </p:clrMapOvr>
  <p:transition spd="slow">
    <p:wipe dir="r"/>
  </p:transition>
  <p:timing>
    <p:tnLst>
      <p:par>
        <p:cTn id="1" dur="indefinite" restart="never" nodeType="tmRoot">
          <p:childTnLst>
            <p:seq>
              <p:cTn id="2" dur="indefinite" nodeType="mainSeq"/>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6DCA5D0-9801-4975-BA2A-C125BF79F33C}"/>
              </a:ext>
            </a:extLst>
          </p:cNvPr>
          <p:cNvSpPr>
            <a:spLocks noGrp="1"/>
          </p:cNvSpPr>
          <p:nvPr>
            <p:ph type="title"/>
          </p:nvPr>
        </p:nvSpPr>
        <p:spPr>
          <a:xfrm>
            <a:off x="430851" y="210684"/>
            <a:ext cx="10874457" cy="912944"/>
          </a:xfrm>
        </p:spPr>
        <p:txBody>
          <a:bodyPr>
            <a:normAutofit fontScale="90000"/>
          </a:bodyPr>
          <a:lstStyle/>
          <a:p>
            <a:r>
              <a:rPr lang="en-US" sz="3200" b="1" dirty="0">
                <a:solidFill>
                  <a:srgbClr val="0070C0"/>
                </a:solidFill>
              </a:rPr>
              <a:t>Much lower rates of </a:t>
            </a:r>
            <a:r>
              <a:rPr lang="en-US" sz="3200" b="1" dirty="0" err="1">
                <a:solidFill>
                  <a:srgbClr val="0070C0"/>
                </a:solidFill>
              </a:rPr>
              <a:t>Afib</a:t>
            </a:r>
            <a:r>
              <a:rPr lang="en-US" sz="3200" b="1" dirty="0">
                <a:solidFill>
                  <a:srgbClr val="0070C0"/>
                </a:solidFill>
              </a:rPr>
              <a:t> after cardioversion for patients that continued PAP  treatment at 1 year</a:t>
            </a:r>
            <a:endParaRPr lang="en-US" dirty="0"/>
          </a:p>
        </p:txBody>
      </p:sp>
      <p:graphicFrame>
        <p:nvGraphicFramePr>
          <p:cNvPr id="4" name="Chart 3">
            <a:extLst>
              <a:ext uri="{FF2B5EF4-FFF2-40B4-BE49-F238E27FC236}">
                <a16:creationId xmlns:a16="http://schemas.microsoft.com/office/drawing/2014/main" id="{1CE44978-4A6B-4581-8316-E91F63489B20}"/>
              </a:ext>
            </a:extLst>
          </p:cNvPr>
          <p:cNvGraphicFramePr>
            <a:graphicFrameLocks/>
          </p:cNvGraphicFramePr>
          <p:nvPr>
            <p:extLst>
              <p:ext uri="{D42A27DB-BD31-4B8C-83A1-F6EECF244321}">
                <p14:modId xmlns:p14="http://schemas.microsoft.com/office/powerpoint/2010/main" val="1314637502"/>
              </p:ext>
            </p:extLst>
          </p:nvPr>
        </p:nvGraphicFramePr>
        <p:xfrm>
          <a:off x="-97906" y="1392127"/>
          <a:ext cx="6535652" cy="436255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5" name="Chart 4">
            <a:extLst>
              <a:ext uri="{FF2B5EF4-FFF2-40B4-BE49-F238E27FC236}">
                <a16:creationId xmlns:a16="http://schemas.microsoft.com/office/drawing/2014/main" id="{10FA8893-FBB7-49E4-ABBB-FF9AC5E87BD3}"/>
              </a:ext>
            </a:extLst>
          </p:cNvPr>
          <p:cNvGraphicFramePr>
            <a:graphicFrameLocks/>
          </p:cNvGraphicFramePr>
          <p:nvPr>
            <p:extLst>
              <p:ext uri="{D42A27DB-BD31-4B8C-83A1-F6EECF244321}">
                <p14:modId xmlns:p14="http://schemas.microsoft.com/office/powerpoint/2010/main" val="3454693368"/>
              </p:ext>
            </p:extLst>
          </p:nvPr>
        </p:nvGraphicFramePr>
        <p:xfrm>
          <a:off x="5630057" y="1361035"/>
          <a:ext cx="6898640" cy="4524905"/>
        </p:xfrm>
        <a:graphic>
          <a:graphicData uri="http://schemas.openxmlformats.org/drawingml/2006/chart">
            <c:chart xmlns:c="http://schemas.openxmlformats.org/drawingml/2006/chart" xmlns:r="http://schemas.openxmlformats.org/officeDocument/2006/relationships" r:id="rId3"/>
          </a:graphicData>
        </a:graphic>
      </p:graphicFrame>
      <p:sp>
        <p:nvSpPr>
          <p:cNvPr id="6" name="TextBox 5">
            <a:extLst>
              <a:ext uri="{FF2B5EF4-FFF2-40B4-BE49-F238E27FC236}">
                <a16:creationId xmlns:a16="http://schemas.microsoft.com/office/drawing/2014/main" id="{85823490-2AB9-4446-8F12-70DB72087B41}"/>
              </a:ext>
            </a:extLst>
          </p:cNvPr>
          <p:cNvSpPr txBox="1"/>
          <p:nvPr/>
        </p:nvSpPr>
        <p:spPr>
          <a:xfrm>
            <a:off x="242104" y="6017204"/>
            <a:ext cx="9863092" cy="246221"/>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Calibri" panose="020F0502020204030204"/>
                <a:ea typeface="ＭＳ Ｐゴシック" pitchFamily="-106" charset="-128"/>
                <a:cs typeface="+mn-cs"/>
              </a:rPr>
              <a:t>Adapted from </a:t>
            </a:r>
            <a:r>
              <a:rPr kumimoji="0" lang="en-US" sz="1000" b="0" i="0" u="none" strike="noStrike" kern="1200" cap="none" spc="0" normalizeH="0" baseline="0" noProof="0" dirty="0" err="1">
                <a:ln>
                  <a:noFill/>
                </a:ln>
                <a:solidFill>
                  <a:srgbClr val="000000"/>
                </a:solidFill>
                <a:effectLst/>
                <a:uLnTx/>
                <a:uFillTx/>
                <a:latin typeface="Calibri" panose="020F0502020204030204"/>
                <a:ea typeface="ＭＳ Ｐゴシック" pitchFamily="-106" charset="-128"/>
                <a:cs typeface="+mn-cs"/>
              </a:rPr>
              <a:t>Grigoriu</a:t>
            </a:r>
            <a:r>
              <a:rPr kumimoji="0" lang="en-US" sz="1000" b="0" i="0" u="none" strike="noStrike" kern="1200" cap="none" spc="0" normalizeH="0" baseline="0" noProof="0" dirty="0">
                <a:ln>
                  <a:noFill/>
                </a:ln>
                <a:solidFill>
                  <a:srgbClr val="000000"/>
                </a:solidFill>
                <a:effectLst/>
                <a:uLnTx/>
                <a:uFillTx/>
                <a:latin typeface="Calibri" panose="020F0502020204030204"/>
                <a:ea typeface="ＭＳ Ｐゴシック" pitchFamily="-106" charset="-128"/>
                <a:cs typeface="+mn-cs"/>
              </a:rPr>
              <a:t> et al. </a:t>
            </a:r>
            <a:r>
              <a:rPr kumimoji="0" lang="en-US" sz="1000" b="0" i="0" u="none" strike="noStrike" kern="1200" cap="none" spc="0" normalizeH="0" baseline="0" noProof="0" dirty="0" err="1">
                <a:ln>
                  <a:noFill/>
                </a:ln>
                <a:solidFill>
                  <a:srgbClr val="000000"/>
                </a:solidFill>
                <a:effectLst/>
                <a:uLnTx/>
                <a:uFillTx/>
                <a:latin typeface="Calibri" panose="020F0502020204030204"/>
                <a:ea typeface="ＭＳ Ｐゴシック" pitchFamily="-106" charset="-128"/>
                <a:cs typeface="+mn-cs"/>
              </a:rPr>
              <a:t>Pneumologia</a:t>
            </a:r>
            <a:r>
              <a:rPr kumimoji="0" lang="en-US" sz="1000" b="0" i="0" u="none" strike="noStrike" kern="1200" cap="none" spc="0" normalizeH="0" baseline="0" noProof="0" dirty="0">
                <a:ln>
                  <a:noFill/>
                </a:ln>
                <a:solidFill>
                  <a:srgbClr val="000000"/>
                </a:solidFill>
                <a:effectLst/>
                <a:uLnTx/>
                <a:uFillTx/>
                <a:latin typeface="Calibri" panose="020F0502020204030204"/>
                <a:ea typeface="ＭＳ Ｐゴシック" pitchFamily="-106" charset="-128"/>
                <a:cs typeface="+mn-cs"/>
              </a:rPr>
              <a:t>; 69, 2020</a:t>
            </a:r>
          </a:p>
        </p:txBody>
      </p:sp>
      <p:sp>
        <p:nvSpPr>
          <p:cNvPr id="7" name="Footer Placeholder 5">
            <a:extLst>
              <a:ext uri="{FF2B5EF4-FFF2-40B4-BE49-F238E27FC236}">
                <a16:creationId xmlns:a16="http://schemas.microsoft.com/office/drawing/2014/main" id="{3F1CE9BD-0BC4-12CE-F5E8-90A9099EE26B}"/>
              </a:ext>
            </a:extLst>
          </p:cNvPr>
          <p:cNvSpPr>
            <a:spLocks noGrp="1"/>
          </p:cNvSpPr>
          <p:nvPr>
            <p:ph type="ftr" sz="quarter" idx="11"/>
          </p:nvPr>
        </p:nvSpPr>
        <p:spPr>
          <a:xfrm>
            <a:off x="3684598" y="6459785"/>
            <a:ext cx="4822804" cy="365125"/>
          </a:xfrm>
        </p:spPr>
        <p:txBody>
          <a:bodyPr/>
          <a:lstStyle/>
          <a:p>
            <a:r>
              <a:rPr lang="en-US" dirty="0"/>
              <a:t>MAF1937 Rev E</a:t>
            </a:r>
          </a:p>
        </p:txBody>
      </p:sp>
    </p:spTree>
    <p:extLst>
      <p:ext uri="{BB962C8B-B14F-4D97-AF65-F5344CB8AC3E}">
        <p14:creationId xmlns:p14="http://schemas.microsoft.com/office/powerpoint/2010/main" val="117170623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DDB8DD3F-5FA1-B09A-F9B6-471729363779}"/>
              </a:ext>
            </a:extLst>
          </p:cNvPr>
          <p:cNvSpPr>
            <a:spLocks noGrp="1"/>
          </p:cNvSpPr>
          <p:nvPr>
            <p:ph type="sldNum" sz="quarter" idx="12"/>
          </p:nvPr>
        </p:nvSpPr>
        <p:spPr/>
        <p:txBody>
          <a:bodyPr/>
          <a:lstStyle/>
          <a:p>
            <a:fld id="{21D51F98-DEF0-4E23-AE94-24E7CFC19B28}" type="slidenum">
              <a:rPr lang="en-US" smtClean="0"/>
              <a:t>8</a:t>
            </a:fld>
            <a:endParaRPr lang="en-US"/>
          </a:p>
        </p:txBody>
      </p:sp>
      <p:sp>
        <p:nvSpPr>
          <p:cNvPr id="11" name="Title 10">
            <a:extLst>
              <a:ext uri="{FF2B5EF4-FFF2-40B4-BE49-F238E27FC236}">
                <a16:creationId xmlns:a16="http://schemas.microsoft.com/office/drawing/2014/main" id="{70717F65-6EC0-46C0-B8F0-6875A3177E04}"/>
              </a:ext>
            </a:extLst>
          </p:cNvPr>
          <p:cNvSpPr>
            <a:spLocks noGrp="1"/>
          </p:cNvSpPr>
          <p:nvPr>
            <p:ph type="title" idx="4294967295"/>
          </p:nvPr>
        </p:nvSpPr>
        <p:spPr>
          <a:xfrm>
            <a:off x="375821" y="216086"/>
            <a:ext cx="10895860" cy="546043"/>
          </a:xfrm>
          <a:solidFill>
            <a:schemeClr val="bg1"/>
          </a:solidFill>
        </p:spPr>
        <p:txBody>
          <a:bodyPr>
            <a:normAutofit/>
          </a:bodyPr>
          <a:lstStyle/>
          <a:p>
            <a:r>
              <a:rPr lang="en-US" sz="3200" b="1" dirty="0">
                <a:solidFill>
                  <a:schemeClr val="accent2"/>
                </a:solidFill>
                <a:latin typeface="+mn-lt"/>
              </a:rPr>
              <a:t>Sleep Apnea Predicts Appropriate ICD Therapies</a:t>
            </a:r>
          </a:p>
        </p:txBody>
      </p:sp>
      <p:sp>
        <p:nvSpPr>
          <p:cNvPr id="15" name="Content Placeholder 14">
            <a:extLst>
              <a:ext uri="{FF2B5EF4-FFF2-40B4-BE49-F238E27FC236}">
                <a16:creationId xmlns:a16="http://schemas.microsoft.com/office/drawing/2014/main" id="{4F478A7B-1434-49CA-B994-F0A3423878F3}"/>
              </a:ext>
            </a:extLst>
          </p:cNvPr>
          <p:cNvSpPr>
            <a:spLocks noGrp="1"/>
          </p:cNvSpPr>
          <p:nvPr>
            <p:ph idx="4294967295"/>
          </p:nvPr>
        </p:nvSpPr>
        <p:spPr>
          <a:xfrm>
            <a:off x="9197266" y="936710"/>
            <a:ext cx="2814207" cy="956185"/>
          </a:xfrm>
        </p:spPr>
        <p:txBody>
          <a:bodyPr>
            <a:normAutofit/>
          </a:bodyPr>
          <a:lstStyle/>
          <a:p>
            <a:r>
              <a:rPr lang="en-US" dirty="0"/>
              <a:t>Kaplan–Meier plot on appropriate cardioverter-defibrillator therapies</a:t>
            </a:r>
          </a:p>
          <a:p>
            <a:endParaRPr lang="en-US" dirty="0"/>
          </a:p>
          <a:p>
            <a:endParaRPr lang="en-US" dirty="0"/>
          </a:p>
          <a:p>
            <a:endParaRPr lang="en-US" dirty="0"/>
          </a:p>
        </p:txBody>
      </p:sp>
      <p:pic>
        <p:nvPicPr>
          <p:cNvPr id="7" name="Content Placeholder 6">
            <a:extLst>
              <a:ext uri="{FF2B5EF4-FFF2-40B4-BE49-F238E27FC236}">
                <a16:creationId xmlns:a16="http://schemas.microsoft.com/office/drawing/2014/main" id="{19D4672C-F76A-4A90-ABB1-B3211D19B634}"/>
              </a:ext>
            </a:extLst>
          </p:cNvPr>
          <p:cNvPicPr>
            <a:picLocks noChangeAspect="1"/>
          </p:cNvPicPr>
          <p:nvPr/>
        </p:nvPicPr>
        <p:blipFill rotWithShape="1">
          <a:blip r:embed="rId2"/>
          <a:srcRect l="15991" t="7134" r="16530" b="3373"/>
          <a:stretch/>
        </p:blipFill>
        <p:spPr>
          <a:xfrm>
            <a:off x="2450237" y="1023349"/>
            <a:ext cx="6747029" cy="5175216"/>
          </a:xfrm>
          <a:prstGeom prst="rect">
            <a:avLst/>
          </a:prstGeom>
        </p:spPr>
      </p:pic>
      <p:sp>
        <p:nvSpPr>
          <p:cNvPr id="5" name="Footer Placeholder 3">
            <a:extLst>
              <a:ext uri="{FF2B5EF4-FFF2-40B4-BE49-F238E27FC236}">
                <a16:creationId xmlns:a16="http://schemas.microsoft.com/office/drawing/2014/main" id="{15CAC05E-DC74-BD77-A70B-ADE7C97FC588}"/>
              </a:ext>
            </a:extLst>
          </p:cNvPr>
          <p:cNvSpPr txBox="1">
            <a:spLocks/>
          </p:cNvSpPr>
          <p:nvPr/>
        </p:nvSpPr>
        <p:spPr>
          <a:xfrm>
            <a:off x="99606" y="5964050"/>
            <a:ext cx="3078600" cy="365125"/>
          </a:xfrm>
          <a:prstGeom prst="rect">
            <a:avLst/>
          </a:prstGeom>
        </p:spPr>
        <p:txBody>
          <a:bodyPr vert="horz" lIns="91440" tIns="45720" rIns="91440" bIns="45720" rtlCol="0" anchor="ctr">
            <a:normAutofit/>
          </a:bodyPr>
          <a:lstStyle>
            <a:defPPr>
              <a:defRPr lang="en-US"/>
            </a:defPPr>
            <a:lvl1pPr marL="0" algn="ctr" defTabSz="457200" rtl="0" eaLnBrk="1" latinLnBrk="0" hangingPunct="1">
              <a:defRPr sz="900" kern="1200" cap="all" baseline="0">
                <a:solidFill>
                  <a:srgbClr val="FFFFFF"/>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spcAft>
                <a:spcPts val="600"/>
              </a:spcAft>
            </a:pPr>
            <a:r>
              <a:rPr lang="en-US">
                <a:solidFill>
                  <a:schemeClr val="tx1"/>
                </a:solidFill>
              </a:rPr>
              <a:t>Bitter et al. European Heart Journal, 2011;32: 61–74, </a:t>
            </a:r>
          </a:p>
        </p:txBody>
      </p:sp>
      <p:sp>
        <p:nvSpPr>
          <p:cNvPr id="6" name="Footer Placeholder 5">
            <a:extLst>
              <a:ext uri="{FF2B5EF4-FFF2-40B4-BE49-F238E27FC236}">
                <a16:creationId xmlns:a16="http://schemas.microsoft.com/office/drawing/2014/main" id="{D4FFD3BD-D2A3-825B-5795-16570DFDF143}"/>
              </a:ext>
            </a:extLst>
          </p:cNvPr>
          <p:cNvSpPr>
            <a:spLocks noGrp="1"/>
          </p:cNvSpPr>
          <p:nvPr>
            <p:ph type="ftr" sz="quarter" idx="11"/>
          </p:nvPr>
        </p:nvSpPr>
        <p:spPr>
          <a:xfrm>
            <a:off x="3684598" y="6459785"/>
            <a:ext cx="4822804" cy="365125"/>
          </a:xfrm>
        </p:spPr>
        <p:txBody>
          <a:bodyPr/>
          <a:lstStyle/>
          <a:p>
            <a:r>
              <a:rPr lang="en-US" dirty="0"/>
              <a:t>MAF1937 Rev E</a:t>
            </a:r>
          </a:p>
        </p:txBody>
      </p:sp>
    </p:spTree>
    <p:extLst>
      <p:ext uri="{BB962C8B-B14F-4D97-AF65-F5344CB8AC3E}">
        <p14:creationId xmlns:p14="http://schemas.microsoft.com/office/powerpoint/2010/main" val="401391871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BD030C0-4B69-43DA-A893-DBEEA64A59C2}"/>
              </a:ext>
            </a:extLst>
          </p:cNvPr>
          <p:cNvPicPr>
            <a:picLocks noChangeAspect="1"/>
          </p:cNvPicPr>
          <p:nvPr/>
        </p:nvPicPr>
        <p:blipFill>
          <a:blip r:embed="rId2"/>
          <a:stretch>
            <a:fillRect/>
          </a:stretch>
        </p:blipFill>
        <p:spPr>
          <a:xfrm>
            <a:off x="956755" y="589783"/>
            <a:ext cx="10533880" cy="4239669"/>
          </a:xfrm>
          <a:prstGeom prst="rect">
            <a:avLst/>
          </a:prstGeom>
        </p:spPr>
      </p:pic>
      <p:sp>
        <p:nvSpPr>
          <p:cNvPr id="4" name="TextBox 3">
            <a:extLst>
              <a:ext uri="{FF2B5EF4-FFF2-40B4-BE49-F238E27FC236}">
                <a16:creationId xmlns:a16="http://schemas.microsoft.com/office/drawing/2014/main" id="{FAD26380-2422-409E-9061-8F5C356F9306}"/>
              </a:ext>
            </a:extLst>
          </p:cNvPr>
          <p:cNvSpPr txBox="1"/>
          <p:nvPr/>
        </p:nvSpPr>
        <p:spPr>
          <a:xfrm>
            <a:off x="956755" y="5059176"/>
            <a:ext cx="9839325" cy="892552"/>
          </a:xfrm>
          <a:prstGeom prst="rect">
            <a:avLst/>
          </a:prstGeom>
          <a:noFill/>
        </p:spPr>
        <p:txBody>
          <a:bodyPr wrap="square" rtlCol="0">
            <a:spAutoFit/>
          </a:bodyPr>
          <a:lstStyle/>
          <a:p>
            <a:pPr algn="l"/>
            <a:r>
              <a:rPr lang="en-US" sz="1400" dirty="0">
                <a:latin typeface="+mj-lt"/>
              </a:rPr>
              <a:t>From the following centers:  UCSF, Baylor, Houston VA, U </a:t>
            </a:r>
            <a:r>
              <a:rPr lang="en-US" sz="1400" dirty="0" err="1">
                <a:latin typeface="+mj-lt"/>
              </a:rPr>
              <a:t>Mich</a:t>
            </a:r>
            <a:r>
              <a:rPr lang="en-US" sz="1400" dirty="0">
                <a:latin typeface="+mj-lt"/>
              </a:rPr>
              <a:t>, Downstate Medical Center, Cleveland Clinic, Hopkins, Brigham and </a:t>
            </a:r>
            <a:r>
              <a:rPr lang="en-US" sz="1400" dirty="0" err="1">
                <a:latin typeface="+mj-lt"/>
              </a:rPr>
              <a:t>Womens</a:t>
            </a:r>
            <a:r>
              <a:rPr lang="en-US" sz="1400" dirty="0">
                <a:latin typeface="+mj-lt"/>
              </a:rPr>
              <a:t>, Mayo Rochester</a:t>
            </a:r>
          </a:p>
          <a:p>
            <a:pPr algn="l"/>
            <a:endParaRPr lang="en-US" sz="2400" dirty="0">
              <a:latin typeface="+mj-lt"/>
            </a:endParaRPr>
          </a:p>
        </p:txBody>
      </p:sp>
      <p:sp>
        <p:nvSpPr>
          <p:cNvPr id="2" name="TextBox 1">
            <a:extLst>
              <a:ext uri="{FF2B5EF4-FFF2-40B4-BE49-F238E27FC236}">
                <a16:creationId xmlns:a16="http://schemas.microsoft.com/office/drawing/2014/main" id="{7CE766D6-4476-00EF-A47D-C2402C6F2CAF}"/>
              </a:ext>
            </a:extLst>
          </p:cNvPr>
          <p:cNvSpPr txBox="1"/>
          <p:nvPr/>
        </p:nvSpPr>
        <p:spPr>
          <a:xfrm>
            <a:off x="229433" y="5991218"/>
            <a:ext cx="7239000" cy="276999"/>
          </a:xfrm>
          <a:prstGeom prst="rect">
            <a:avLst/>
          </a:prstGeom>
          <a:noFill/>
        </p:spPr>
        <p:txBody>
          <a:bodyPr wrap="square" rtlCol="0">
            <a:spAutoFit/>
          </a:bodyPr>
          <a:lstStyle/>
          <a:p>
            <a:pPr algn="l"/>
            <a:r>
              <a:rPr lang="en-US" sz="1200" dirty="0">
                <a:latin typeface="+mj-lt"/>
              </a:rPr>
              <a:t>AHA Scientific Statement OSA and CVD 2021</a:t>
            </a:r>
          </a:p>
        </p:txBody>
      </p:sp>
      <p:sp>
        <p:nvSpPr>
          <p:cNvPr id="6" name="Slide Number Placeholder 5">
            <a:extLst>
              <a:ext uri="{FF2B5EF4-FFF2-40B4-BE49-F238E27FC236}">
                <a16:creationId xmlns:a16="http://schemas.microsoft.com/office/drawing/2014/main" id="{CBBF5968-93E4-AADD-70EB-813056CF1DA8}"/>
              </a:ext>
            </a:extLst>
          </p:cNvPr>
          <p:cNvSpPr>
            <a:spLocks noGrp="1"/>
          </p:cNvSpPr>
          <p:nvPr>
            <p:ph type="sldNum" sz="quarter" idx="12"/>
          </p:nvPr>
        </p:nvSpPr>
        <p:spPr/>
        <p:txBody>
          <a:bodyPr/>
          <a:lstStyle/>
          <a:p>
            <a:fld id="{21D51F98-DEF0-4E23-AE94-24E7CFC19B28}" type="slidenum">
              <a:rPr lang="en-US" smtClean="0"/>
              <a:t>9</a:t>
            </a:fld>
            <a:endParaRPr lang="en-US"/>
          </a:p>
        </p:txBody>
      </p:sp>
      <p:sp>
        <p:nvSpPr>
          <p:cNvPr id="8" name="Footer Placeholder 5">
            <a:extLst>
              <a:ext uri="{FF2B5EF4-FFF2-40B4-BE49-F238E27FC236}">
                <a16:creationId xmlns:a16="http://schemas.microsoft.com/office/drawing/2014/main" id="{C0BB54B6-C87C-7295-81ED-95ED5D1DDF58}"/>
              </a:ext>
            </a:extLst>
          </p:cNvPr>
          <p:cNvSpPr>
            <a:spLocks noGrp="1"/>
          </p:cNvSpPr>
          <p:nvPr>
            <p:ph type="ftr" sz="quarter" idx="11"/>
          </p:nvPr>
        </p:nvSpPr>
        <p:spPr>
          <a:xfrm>
            <a:off x="3684598" y="6459785"/>
            <a:ext cx="4822804" cy="365125"/>
          </a:xfrm>
        </p:spPr>
        <p:txBody>
          <a:bodyPr/>
          <a:lstStyle/>
          <a:p>
            <a:r>
              <a:rPr lang="en-US" dirty="0"/>
              <a:t>MAF1937 Rev E</a:t>
            </a:r>
          </a:p>
        </p:txBody>
      </p:sp>
    </p:spTree>
    <p:extLst>
      <p:ext uri="{BB962C8B-B14F-4D97-AF65-F5344CB8AC3E}">
        <p14:creationId xmlns:p14="http://schemas.microsoft.com/office/powerpoint/2010/main" val="12188875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LWx_9meHTVKojU6z2JDRc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6eE4wDGP9iyVXcNjrMYvS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2w8IuTCwR.quCc2KmakJr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CjODktDTmuMXaX325Fb7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gyjjGVlZRMuoVwiUHsyLk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XODc.LCtQa2nU37nGavlu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WJv3Z7iUSrSsbfC8mfIdA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Gg_TfrSLSGmpQvx8fwYki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yvXIRvh_SWan9TlA1obtT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Eqr5W12rSuWbemjZxT46G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Na8Wyrp6TSOCzazeDTil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JUivbOsfS2SjvdJBzRUL9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Y7GtFaCMQY6eQaV.GVnQA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7xyEvSO7R82.tP6PyyJZl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0AknSUDdSBSLWYz..O9pS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_wzM7nilRM.pq0nBFyh8a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KjVsyWewRpm_tmK5gEHw_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SwPSUSR6SFWNbTt1MbJSN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x4dR.verRAiPXbYz0lL6f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W1QgdTGYQ66T0qnt4wC_k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1zNIKweJQkOZrmIgDeNQn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Jvqur4C2Q3CEgAe3NO_g.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Z1.3fw8IT5qDQkwJkimLp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6eE4wDGP9iyVXcNjrMYvS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u9CZ3A8SQ7iqUUDYF19EA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bIHVXgk5Sj2k8I0DKgqLK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Xqp1uVNTROxFYMOTSy4m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jGoy0rC5TK._KpXcyjIUO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bbufHojJSsikAyT.qIKlP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oZd9bAb_S1arVCPBEqUia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Retrospect">
  <a:themeElements>
    <a:clrScheme name="Retrospect">
      <a:dk1>
        <a:sysClr val="windowText" lastClr="000000"/>
      </a:dk1>
      <a:lt1>
        <a:sysClr val="window" lastClr="FFFFFF"/>
      </a:lt1>
      <a:dk2>
        <a:srgbClr val="344068"/>
      </a:dk2>
      <a:lt2>
        <a:srgbClr val="D9E0E6"/>
      </a:lt2>
      <a:accent1>
        <a:srgbClr val="1CADE4"/>
      </a:accent1>
      <a:accent2>
        <a:srgbClr val="2683C6"/>
      </a:accent2>
      <a:accent3>
        <a:srgbClr val="28C4CC"/>
      </a:accent3>
      <a:accent4>
        <a:srgbClr val="42BA97"/>
      </a:accent4>
      <a:accent5>
        <a:srgbClr val="3E8853"/>
      </a:accent5>
      <a:accent6>
        <a:srgbClr val="62A39F"/>
      </a:accent6>
      <a:hlink>
        <a:srgbClr val="6EAC1C"/>
      </a:hlink>
      <a:folHlink>
        <a:srgbClr val="B26B02"/>
      </a:folHlink>
    </a:clrScheme>
    <a:fontScheme name="Retrospect">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Retrospect">
      <a:fillStyleLst>
        <a:solidFill>
          <a:schemeClr val="phClr"/>
        </a:solidFill>
        <a:gradFill rotWithShape="1">
          <a:gsLst>
            <a:gs pos="0">
              <a:schemeClr val="phClr">
                <a:tint val="65000"/>
                <a:shade val="92000"/>
                <a:satMod val="130000"/>
              </a:schemeClr>
            </a:gs>
            <a:gs pos="45000">
              <a:schemeClr val="phClr">
                <a:tint val="60000"/>
                <a:shade val="99000"/>
                <a:satMod val="120000"/>
              </a:schemeClr>
            </a:gs>
            <a:gs pos="100000">
              <a:schemeClr val="phClr">
                <a:tint val="55000"/>
                <a:satMod val="140000"/>
              </a:schemeClr>
            </a:gs>
          </a:gsLst>
          <a:path path="circle">
            <a:fillToRect l="100000" t="100000" r="100000" b="100000"/>
          </a:path>
        </a:gradFill>
        <a:gradFill rotWithShape="1">
          <a:gsLst>
            <a:gs pos="0">
              <a:schemeClr val="phClr">
                <a:shade val="85000"/>
                <a:satMod val="130000"/>
              </a:schemeClr>
            </a:gs>
            <a:gs pos="34000">
              <a:schemeClr val="phClr">
                <a:shade val="87000"/>
                <a:satMod val="125000"/>
              </a:schemeClr>
            </a:gs>
            <a:gs pos="70000">
              <a:schemeClr val="phClr">
                <a:tint val="100000"/>
                <a:shade val="90000"/>
                <a:satMod val="130000"/>
              </a:schemeClr>
            </a:gs>
            <a:gs pos="100000">
              <a:schemeClr val="phClr">
                <a:tint val="100000"/>
                <a:shade val="100000"/>
                <a:satMod val="110000"/>
              </a:schemeClr>
            </a:gs>
          </a:gsLst>
          <a:path path="circle">
            <a:fillToRect l="100000" t="100000" r="100000" b="100000"/>
          </a:path>
        </a:gradFill>
      </a:fillStyleLst>
      <a:lnStyleLst>
        <a:ln w="12700" cap="flat" cmpd="sng" algn="ctr">
          <a:solidFill>
            <a:schemeClr val="phClr"/>
          </a:solidFill>
          <a:prstDash val="solid"/>
        </a:ln>
        <a:ln w="15875" cap="flat" cmpd="sng" algn="ctr">
          <a:solidFill>
            <a:schemeClr val="phClr"/>
          </a:solidFill>
          <a:prstDash val="solid"/>
        </a:ln>
        <a:ln w="25400" cap="flat" cmpd="sng" algn="ctr">
          <a:solidFill>
            <a:schemeClr val="phClr"/>
          </a:solidFill>
          <a:prstDash val="solid"/>
        </a:ln>
      </a:lnStyleLst>
      <a:effectStyleLst>
        <a:effectStyle>
          <a:effectLst/>
        </a:effectStyle>
        <a:effectStyle>
          <a:effectLst>
            <a:outerShdw blurRad="38100" dist="25400" dir="2700000" algn="br" rotWithShape="0">
              <a:srgbClr val="000000">
                <a:alpha val="60000"/>
              </a:srgbClr>
            </a:outerShdw>
          </a:effectLst>
        </a:effectStyle>
        <a:effectStyle>
          <a:effectLst>
            <a:outerShdw blurRad="44450" dist="25400" dir="2700000" algn="br" rotWithShape="0">
              <a:srgbClr val="000000">
                <a:alpha val="60000"/>
              </a:srgbClr>
            </a:outerShdw>
          </a:effectLst>
          <a:scene3d>
            <a:camera prst="orthographicFront">
              <a:rot lat="0" lon="0" rev="0"/>
            </a:camera>
            <a:lightRig rig="threePt" dir="t">
              <a:rot lat="0" lon="0" rev="19800000"/>
            </a:lightRig>
          </a:scene3d>
          <a:sp3d prstMaterial="flat">
            <a:bevelT w="25400" h="31750"/>
          </a:sp3d>
        </a:effectStyle>
      </a:effectStyleLst>
      <a:bgFillStyleLst>
        <a:solidFill>
          <a:schemeClr val="phClr"/>
        </a:solidFill>
        <a:solidFill>
          <a:schemeClr val="phClr">
            <a:tint val="90000"/>
            <a:shade val="97000"/>
            <a:satMod val="130000"/>
          </a:schemeClr>
        </a:solidFill>
        <a:gradFill rotWithShape="1">
          <a:gsLst>
            <a:gs pos="0">
              <a:schemeClr val="phClr">
                <a:tint val="96000"/>
                <a:shade val="99000"/>
                <a:satMod val="140000"/>
              </a:schemeClr>
            </a:gs>
            <a:gs pos="65000">
              <a:schemeClr val="phClr">
                <a:tint val="100000"/>
                <a:shade val="80000"/>
                <a:satMod val="130000"/>
              </a:schemeClr>
            </a:gs>
            <a:gs pos="100000">
              <a:schemeClr val="phClr">
                <a:tint val="100000"/>
                <a:shade val="48000"/>
                <a:satMod val="120000"/>
              </a:schemeClr>
            </a:gs>
          </a:gsLst>
          <a:lin ang="16200000" scaled="0"/>
        </a:gradFill>
      </a:bgFillStyleLst>
    </a:fmtScheme>
  </a:themeElements>
  <a:objectDefaults/>
  <a:extraClrSchemeLst/>
  <a:extLst>
    <a:ext uri="{05A4C25C-085E-4340-85A3-A5531E510DB2}">
      <thm15:themeFamily xmlns:thm15="http://schemas.microsoft.com/office/thememl/2012/main" name="Retrospect" id="{5F128B03-DCCA-4EEB-AB3B-CF2899314A46}" vid="{9CC26709-368C-4D72-9060-94E5B3FF3CD6}"/>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2013 - 2022"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emplate>Retrospect</Template>
  <TotalTime>10225</TotalTime>
  <Words>6507</Words>
  <Application>Microsoft Macintosh PowerPoint</Application>
  <PresentationFormat>Widescreen</PresentationFormat>
  <Paragraphs>1039</Paragraphs>
  <Slides>56</Slides>
  <Notes>28</Notes>
  <HiddenSlides>0</HiddenSlides>
  <MMClips>0</MMClips>
  <ScaleCrop>false</ScaleCrop>
  <HeadingPairs>
    <vt:vector size="8" baseType="variant">
      <vt:variant>
        <vt:lpstr>Fonts Used</vt:lpstr>
      </vt:variant>
      <vt:variant>
        <vt:i4>10</vt:i4>
      </vt:variant>
      <vt:variant>
        <vt:lpstr>Theme</vt:lpstr>
      </vt:variant>
      <vt:variant>
        <vt:i4>1</vt:i4>
      </vt:variant>
      <vt:variant>
        <vt:lpstr>Embedded OLE Servers</vt:lpstr>
      </vt:variant>
      <vt:variant>
        <vt:i4>1</vt:i4>
      </vt:variant>
      <vt:variant>
        <vt:lpstr>Slide Titles</vt:lpstr>
      </vt:variant>
      <vt:variant>
        <vt:i4>56</vt:i4>
      </vt:variant>
    </vt:vector>
  </HeadingPairs>
  <TitlesOfParts>
    <vt:vector size="68" baseType="lpstr">
      <vt:lpstr>Arial</vt:lpstr>
      <vt:lpstr>Calibri</vt:lpstr>
      <vt:lpstr>Calibri Light</vt:lpstr>
      <vt:lpstr>Century Gothic</vt:lpstr>
      <vt:lpstr>Courier New</vt:lpstr>
      <vt:lpstr>inherit</vt:lpstr>
      <vt:lpstr>museo-sans</vt:lpstr>
      <vt:lpstr>Times New Roman</vt:lpstr>
      <vt:lpstr>Verdana</vt:lpstr>
      <vt:lpstr>Wingdings</vt:lpstr>
      <vt:lpstr>Retrospect</vt:lpstr>
      <vt:lpstr>think-cell Slide</vt:lpstr>
      <vt:lpstr>Central Sleep Apnea and Cardiovascular Disease</vt:lpstr>
      <vt:lpstr>Agenda</vt:lpstr>
      <vt:lpstr>Sleep Apnea is an Interruption in Breathing During Sleep</vt:lpstr>
      <vt:lpstr>Each Sleep Apnea Episode Results in  Significant Downstream Effects</vt:lpstr>
      <vt:lpstr>Sleep Disordered Breathing and Days with Atrial Fibrillation</vt:lpstr>
      <vt:lpstr>Sleep Apnea Predicts Atrial Fibrillation</vt:lpstr>
      <vt:lpstr>Much lower rates of Afib after cardioversion for patients that continued PAP  treatment at 1 year</vt:lpstr>
      <vt:lpstr>Sleep Apnea Predicts Appropriate ICD Therapies</vt:lpstr>
      <vt:lpstr>PowerPoint Presentation</vt:lpstr>
      <vt:lpstr>Recommendations for Screening for Obstructive Sleep Apnea</vt:lpstr>
      <vt:lpstr>Agenda</vt:lpstr>
      <vt:lpstr>Central Sleep Apnea </vt:lpstr>
      <vt:lpstr>Pathophysiology of Central Sleep Apnea </vt:lpstr>
      <vt:lpstr>The Difference Between OSA and CSA is Evident in Sleep Studies</vt:lpstr>
      <vt:lpstr>Most Patients with CSA also have Concomitant Cardiovascular Conditions</vt:lpstr>
      <vt:lpstr>Sleep Disordered Breathing is Common in Heart Failure Untreated CSA symptoms can overlap HF symptoms</vt:lpstr>
      <vt:lpstr>PowerPoint Presentation</vt:lpstr>
      <vt:lpstr>Untreated CSA causes life altering levels of fatigue as well as increased health risks for patients with heart failure and atrial fibrillation</vt:lpstr>
      <vt:lpstr>Sleep Disordered Breathing is a Predictor of Mortality in HF Patients</vt:lpstr>
      <vt:lpstr>Central Sleep Apnea Increases the Risk of Heart Failure Readmission</vt:lpstr>
      <vt:lpstr>Limited Treatment Options for Central Sleep Apnea</vt:lpstr>
      <vt:lpstr>Positive Airway Pressure (PAP) Devices were Designed to Treat OSA In CSA, PAP has limited effectiveness data, compliance and tolerance issues</vt:lpstr>
      <vt:lpstr>Agenda</vt:lpstr>
      <vt:lpstr>The remedē® System brief statement</vt:lpstr>
      <vt:lpstr>Transvenous Phrenic Nerve Stimulation with the remedē® System</vt:lpstr>
      <vt:lpstr>The remedē® EL System</vt:lpstr>
      <vt:lpstr>remedē® System Therapy Activates Automatically Each Night</vt:lpstr>
      <vt:lpstr>Breathing stabilizes and apnea events are significantly reduced when phrenic nerve simulation is being delivered in this example1</vt:lpstr>
      <vt:lpstr>TPNS Utilizes a Step-wise Increase in Stimulation to Capture Ventilation and Stabilize the Breathing Pattern</vt:lpstr>
      <vt:lpstr>remedē® System Therapy Programming and Follow-up</vt:lpstr>
      <vt:lpstr>remedē® System Reports Provide Programming Guidance </vt:lpstr>
      <vt:lpstr>Agenda</vt:lpstr>
      <vt:lpstr>The remedē® System Pivotal Trial   Study design</vt:lpstr>
      <vt:lpstr>In the pivotal RCT, the remedē System demonstrated clinically meaningful improvements in sleep, sleep apnea and quality of life</vt:lpstr>
      <vt:lpstr>PSG Results at 24 months of Therapy Demonstrated Effective and Durable Results </vt:lpstr>
      <vt:lpstr>Sustained Improvement in Sleep Disordered Breathing Through 5 Years with TPNS</vt:lpstr>
      <vt:lpstr>Sustained Improvement in Sleep Architecture Through 5 Years  with TPNS</vt:lpstr>
      <vt:lpstr>Significant improvements in symptoms and quality of life after  6 months of treatment with TPNS1</vt:lpstr>
      <vt:lpstr>The remedē System pivotal trial demonstrated a strong safety profile</vt:lpstr>
      <vt:lpstr>Conclusions</vt:lpstr>
      <vt:lpstr>Questions…</vt:lpstr>
      <vt:lpstr>Back Up Slides</vt:lpstr>
      <vt:lpstr>In heart failure, CSA can accelerate cardiac disease progression</vt:lpstr>
      <vt:lpstr>The remedē System – left stimulation lead placement</vt:lpstr>
      <vt:lpstr>The remedē System – right stimulation lead placement</vt:lpstr>
      <vt:lpstr>remedē® System therapy uses stimulation pulses to mimic normal breathing</vt:lpstr>
      <vt:lpstr>Consistent AHI reduction with phrenic nerve stimulation across  multiple studies</vt:lpstr>
      <vt:lpstr>The remedē® System Pivotal Trial  Study design</vt:lpstr>
      <vt:lpstr>The remedē System Pivotal Trial  Baseline demographics</vt:lpstr>
      <vt:lpstr>The majority of treated patients demonstrated a decrease in AHI at 6 months and 12 months</vt:lpstr>
      <vt:lpstr>Post hoc analysis of the heart failure cohort  demonstrated similar benefit in sleep and quality of life</vt:lpstr>
      <vt:lpstr>PowerPoint Presentation</vt:lpstr>
      <vt:lpstr>Therapy response was consistent across subgroups</vt:lpstr>
      <vt:lpstr>remedē System Pivotal Trial Safety Events</vt:lpstr>
      <vt:lpstr>remedē System Therapy Study (rēST Study) Design</vt:lpstr>
      <vt:lpstr>reST Study Key Objective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entral Sleep Apnea in the Cardiovascular Patient Population</dc:title>
  <dc:creator>Missy Jensen</dc:creator>
  <cp:lastModifiedBy>Sonia Bjork</cp:lastModifiedBy>
  <cp:revision>3</cp:revision>
  <dcterms:created xsi:type="dcterms:W3CDTF">2023-03-02T17:59:42Z</dcterms:created>
  <dcterms:modified xsi:type="dcterms:W3CDTF">2023-09-21T19:09:35Z</dcterms:modified>
</cp:coreProperties>
</file>